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0.xml" ContentType="application/vnd.openxmlformats-officedocument.presentationml.notesSlide+xml"/>
  <Override PartName="/ppt/tags/tag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566" r:id="rId2"/>
    <p:sldId id="615" r:id="rId3"/>
    <p:sldId id="614" r:id="rId4"/>
    <p:sldId id="612" r:id="rId5"/>
    <p:sldId id="613" r:id="rId6"/>
    <p:sldId id="499" r:id="rId7"/>
    <p:sldId id="426" r:id="rId8"/>
    <p:sldId id="290" r:id="rId9"/>
    <p:sldId id="600" r:id="rId10"/>
    <p:sldId id="258" r:id="rId11"/>
    <p:sldId id="261" r:id="rId12"/>
    <p:sldId id="263" r:id="rId13"/>
    <p:sldId id="601" r:id="rId14"/>
    <p:sldId id="602" r:id="rId15"/>
    <p:sldId id="597" r:id="rId16"/>
    <p:sldId id="270" r:id="rId17"/>
    <p:sldId id="271" r:id="rId18"/>
    <p:sldId id="539" r:id="rId19"/>
    <p:sldId id="603" r:id="rId20"/>
    <p:sldId id="268" r:id="rId21"/>
    <p:sldId id="269" r:id="rId22"/>
    <p:sldId id="582" r:id="rId23"/>
    <p:sldId id="599" r:id="rId24"/>
    <p:sldId id="608" r:id="rId25"/>
    <p:sldId id="609" r:id="rId26"/>
    <p:sldId id="596" r:id="rId27"/>
    <p:sldId id="598" r:id="rId28"/>
    <p:sldId id="605" r:id="rId29"/>
    <p:sldId id="607" r:id="rId30"/>
    <p:sldId id="606" r:id="rId31"/>
    <p:sldId id="604" r:id="rId32"/>
    <p:sldId id="428" r:id="rId33"/>
    <p:sldId id="567" r:id="rId34"/>
    <p:sldId id="429" r:id="rId35"/>
    <p:sldId id="589" r:id="rId36"/>
    <p:sldId id="590" r:id="rId37"/>
    <p:sldId id="591" r:id="rId38"/>
    <p:sldId id="592" r:id="rId39"/>
    <p:sldId id="593" r:id="rId40"/>
    <p:sldId id="556" r:id="rId41"/>
    <p:sldId id="569" r:id="rId42"/>
    <p:sldId id="570" r:id="rId43"/>
    <p:sldId id="571" r:id="rId44"/>
    <p:sldId id="572" r:id="rId45"/>
    <p:sldId id="573" r:id="rId46"/>
    <p:sldId id="580" r:id="rId47"/>
    <p:sldId id="574" r:id="rId48"/>
    <p:sldId id="576" r:id="rId49"/>
    <p:sldId id="581" r:id="rId50"/>
    <p:sldId id="575" r:id="rId51"/>
    <p:sldId id="433" r:id="rId52"/>
    <p:sldId id="594" r:id="rId53"/>
    <p:sldId id="558" r:id="rId54"/>
    <p:sldId id="586" r:id="rId55"/>
    <p:sldId id="587" r:id="rId56"/>
    <p:sldId id="585" r:id="rId57"/>
    <p:sldId id="557" r:id="rId58"/>
    <p:sldId id="583" r:id="rId59"/>
    <p:sldId id="584" r:id="rId6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C42FA5-0573-478C-AE2B-D428E27EC252}">
          <p14:sldIdLst>
            <p14:sldId id="566"/>
            <p14:sldId id="615"/>
            <p14:sldId id="614"/>
            <p14:sldId id="612"/>
            <p14:sldId id="613"/>
          </p14:sldIdLst>
        </p14:section>
        <p14:section name="AI - In the hype" id="{36C0A75F-9FCF-494A-BD00-00A32524802B}">
          <p14:sldIdLst>
            <p14:sldId id="499"/>
          </p14:sldIdLst>
        </p14:section>
        <p14:section name="Intelligence" id="{6B924F21-8EBF-49B3-8720-9CA238DDBB0D}">
          <p14:sldIdLst>
            <p14:sldId id="426"/>
            <p14:sldId id="290"/>
            <p14:sldId id="600"/>
            <p14:sldId id="258"/>
            <p14:sldId id="261"/>
            <p14:sldId id="263"/>
            <p14:sldId id="601"/>
            <p14:sldId id="602"/>
            <p14:sldId id="597"/>
            <p14:sldId id="270"/>
            <p14:sldId id="271"/>
          </p14:sldIdLst>
        </p14:section>
        <p14:section name="Data" id="{129E31EB-6A78-4BFB-BE5E-6F3155C557D1}">
          <p14:sldIdLst>
            <p14:sldId id="539"/>
            <p14:sldId id="603"/>
            <p14:sldId id="268"/>
            <p14:sldId id="269"/>
          </p14:sldIdLst>
        </p14:section>
        <p14:section name="AI NN" id="{96127499-8B75-448E-9A65-0898A356CBF4}">
          <p14:sldIdLst>
            <p14:sldId id="582"/>
            <p14:sldId id="599"/>
            <p14:sldId id="608"/>
            <p14:sldId id="609"/>
          </p14:sldIdLst>
        </p14:section>
        <p14:section name="Python" id="{9B89D132-4487-460C-9FE3-10B640247C5B}">
          <p14:sldIdLst>
            <p14:sldId id="596"/>
            <p14:sldId id="598"/>
            <p14:sldId id="605"/>
            <p14:sldId id="607"/>
            <p14:sldId id="606"/>
            <p14:sldId id="604"/>
            <p14:sldId id="428"/>
            <p14:sldId id="567"/>
            <p14:sldId id="429"/>
            <p14:sldId id="589"/>
            <p14:sldId id="590"/>
            <p14:sldId id="591"/>
            <p14:sldId id="592"/>
            <p14:sldId id="593"/>
            <p14:sldId id="556"/>
            <p14:sldId id="569"/>
            <p14:sldId id="570"/>
            <p14:sldId id="571"/>
            <p14:sldId id="572"/>
            <p14:sldId id="573"/>
            <p14:sldId id="580"/>
            <p14:sldId id="574"/>
            <p14:sldId id="576"/>
            <p14:sldId id="581"/>
            <p14:sldId id="575"/>
            <p14:sldId id="433"/>
            <p14:sldId id="594"/>
            <p14:sldId id="558"/>
            <p14:sldId id="586"/>
            <p14:sldId id="587"/>
            <p14:sldId id="585"/>
            <p14:sldId id="557"/>
            <p14:sldId id="583"/>
            <p14:sldId id="58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973" autoAdjust="0"/>
    <p:restoredTop sz="94660"/>
  </p:normalViewPr>
  <p:slideViewPr>
    <p:cSldViewPr snapToGrid="0">
      <p:cViewPr varScale="1">
        <p:scale>
          <a:sx n="63" d="100"/>
          <a:sy n="63" d="100"/>
        </p:scale>
        <p:origin x="90" y="9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487829632"/>
        <c:axId val="48783002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87829632"/>
        <c:axId val="487830024"/>
      </c:lineChart>
      <c:catAx>
        <c:axId val="487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7830024"/>
        <c:crosses val="autoZero"/>
        <c:auto val="1"/>
        <c:lblAlgn val="ctr"/>
        <c:lblOffset val="100"/>
        <c:noMultiLvlLbl val="0"/>
      </c:catAx>
      <c:valAx>
        <c:axId val="487830024"/>
        <c:scaling>
          <c:orientation val="minMax"/>
        </c:scaling>
        <c:delete val="1"/>
        <c:axPos val="l"/>
        <c:numFmt formatCode="0%" sourceLinked="1"/>
        <c:majorTickMark val="none"/>
        <c:minorTickMark val="none"/>
        <c:tickLblPos val="nextTo"/>
        <c:crossAx val="4878296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90006864000176E-2"/>
          <c:y val="3.59307802354202E-2"/>
          <c:w val="0.96220212359874424"/>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3"/>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6778000"/>
        <c:axId val="126734192"/>
      </c:barChart>
      <c:lineChart>
        <c:grouping val="standard"/>
        <c:varyColors val="0"/>
        <c:ser>
          <c:idx val="2"/>
          <c:order val="2"/>
          <c:tx>
            <c:strRef>
              <c:f>Sheet1!$D$1</c:f>
              <c:strCache>
                <c:ptCount val="1"/>
                <c:pt idx="0">
                  <c:v>Category 3</c:v>
                </c:pt>
              </c:strCache>
            </c:strRef>
          </c:tx>
          <c:spPr>
            <a:ln w="38100" cap="rnd">
              <a:solidFill>
                <a:schemeClr val="accent1"/>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6778000"/>
        <c:axId val="126734192"/>
      </c:lineChart>
      <c:catAx>
        <c:axId val="28677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126734192"/>
        <c:crosses val="autoZero"/>
        <c:auto val="1"/>
        <c:lblAlgn val="ctr"/>
        <c:lblOffset val="100"/>
        <c:noMultiLvlLbl val="0"/>
      </c:catAx>
      <c:valAx>
        <c:axId val="126734192"/>
        <c:scaling>
          <c:orientation val="minMax"/>
        </c:scaling>
        <c:delete val="1"/>
        <c:axPos val="l"/>
        <c:numFmt formatCode="0%" sourceLinked="1"/>
        <c:majorTickMark val="none"/>
        <c:minorTickMark val="none"/>
        <c:tickLblPos val="nextTo"/>
        <c:crossAx val="286778000"/>
        <c:crosses val="autoZero"/>
        <c:crossBetween val="between"/>
      </c:valAx>
      <c:spPr>
        <a:noFill/>
        <a:ln w="25400">
          <a:noFill/>
        </a:ln>
        <a:effectLst/>
      </c:spPr>
    </c:plotArea>
    <c:legend>
      <c:legendPos val="b"/>
      <c:layout>
        <c:manualLayout>
          <c:xMode val="edge"/>
          <c:yMode val="edge"/>
          <c:x val="8.6629543991993532E-2"/>
          <c:y val="0.86661974681284892"/>
          <c:w val="0.86541318430129055"/>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5182-4110-8AA5-AC38BDC97CAC}"/>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82-4110-8AA5-AC38BDC97CAC}"/>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82-4110-8AA5-AC38BDC97CAC}"/>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5182-4110-8AA5-AC38BDC97CAC}"/>
            </c:ext>
          </c:extLst>
        </c:ser>
        <c:dLbls>
          <c:dLblPos val="outEnd"/>
          <c:showLegendKey val="0"/>
          <c:showVal val="1"/>
          <c:showCatName val="0"/>
          <c:showSerName val="0"/>
          <c:showPercent val="0"/>
          <c:showBubbleSize val="0"/>
        </c:dLbls>
        <c:gapWidth val="219"/>
        <c:axId val="488447072"/>
        <c:axId val="48844746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2-4110-8AA5-AC38BDC97CAC}"/>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82-4110-8AA5-AC38BDC97CAC}"/>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82-4110-8AA5-AC38BDC97CAC}"/>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82-4110-8AA5-AC38BDC97C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5182-4110-8AA5-AC38BDC97CAC}"/>
            </c:ext>
          </c:extLst>
        </c:ser>
        <c:dLbls>
          <c:showLegendKey val="0"/>
          <c:showVal val="0"/>
          <c:showCatName val="0"/>
          <c:showSerName val="0"/>
          <c:showPercent val="0"/>
          <c:showBubbleSize val="0"/>
        </c:dLbls>
        <c:marker val="1"/>
        <c:smooth val="0"/>
        <c:axId val="488447072"/>
        <c:axId val="488447464"/>
      </c:lineChart>
      <c:catAx>
        <c:axId val="4884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8447464"/>
        <c:crosses val="autoZero"/>
        <c:auto val="1"/>
        <c:lblAlgn val="ctr"/>
        <c:lblOffset val="100"/>
        <c:noMultiLvlLbl val="0"/>
      </c:catAx>
      <c:valAx>
        <c:axId val="488447464"/>
        <c:scaling>
          <c:orientation val="minMax"/>
        </c:scaling>
        <c:delete val="1"/>
        <c:axPos val="l"/>
        <c:numFmt formatCode="0%" sourceLinked="1"/>
        <c:majorTickMark val="none"/>
        <c:minorTickMark val="none"/>
        <c:tickLblPos val="nextTo"/>
        <c:crossAx val="4884470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2287789919021801"/>
          <c:w val="0.94491392258217699"/>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dLblPos val="outEnd"/>
          <c:showLegendKey val="0"/>
          <c:showVal val="1"/>
          <c:showCatName val="0"/>
          <c:showSerName val="0"/>
          <c:showPercent val="0"/>
          <c:showBubbleSize val="0"/>
        </c:dLbls>
        <c:gapWidth val="219"/>
        <c:overlap val="-27"/>
        <c:axId val="488448248"/>
        <c:axId val="472377928"/>
      </c:barChart>
      <c:catAx>
        <c:axId val="488448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7928"/>
        <c:crosses val="autoZero"/>
        <c:auto val="1"/>
        <c:lblAlgn val="ctr"/>
        <c:lblOffset val="100"/>
        <c:noMultiLvlLbl val="0"/>
      </c:catAx>
      <c:valAx>
        <c:axId val="472377928"/>
        <c:scaling>
          <c:orientation val="minMax"/>
        </c:scaling>
        <c:delete val="1"/>
        <c:axPos val="l"/>
        <c:numFmt formatCode="General" sourceLinked="1"/>
        <c:majorTickMark val="none"/>
        <c:minorTickMark val="none"/>
        <c:tickLblPos val="nextTo"/>
        <c:crossAx val="488448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2287789919021801"/>
          <c:w val="0.94491393344286101"/>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72378712"/>
        <c:axId val="472379104"/>
      </c:barChart>
      <c:catAx>
        <c:axId val="472378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9104"/>
        <c:crosses val="autoZero"/>
        <c:auto val="1"/>
        <c:lblAlgn val="ctr"/>
        <c:lblOffset val="100"/>
        <c:noMultiLvlLbl val="0"/>
      </c:catAx>
      <c:valAx>
        <c:axId val="472379104"/>
        <c:scaling>
          <c:orientation val="minMax"/>
        </c:scaling>
        <c:delete val="1"/>
        <c:axPos val="l"/>
        <c:numFmt formatCode="General" sourceLinked="1"/>
        <c:majorTickMark val="none"/>
        <c:minorTickMark val="none"/>
        <c:tickLblPos val="nextTo"/>
        <c:crossAx val="472378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dLblPos val="outEnd"/>
          <c:showLegendKey val="0"/>
          <c:showVal val="1"/>
          <c:showCatName val="0"/>
          <c:showSerName val="0"/>
          <c:showPercent val="0"/>
          <c:showBubbleSize val="0"/>
        </c:dLbls>
        <c:gapWidth val="219"/>
        <c:overlap val="-27"/>
        <c:axId val="506324064"/>
        <c:axId val="506324456"/>
      </c:barChart>
      <c:catAx>
        <c:axId val="50632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4456"/>
        <c:crosses val="autoZero"/>
        <c:auto val="1"/>
        <c:lblAlgn val="ctr"/>
        <c:lblOffset val="100"/>
        <c:noMultiLvlLbl val="0"/>
      </c:catAx>
      <c:valAx>
        <c:axId val="506324456"/>
        <c:scaling>
          <c:orientation val="minMax"/>
        </c:scaling>
        <c:delete val="1"/>
        <c:axPos val="l"/>
        <c:numFmt formatCode="General" sourceLinked="1"/>
        <c:majorTickMark val="none"/>
        <c:minorTickMark val="none"/>
        <c:tickLblPos val="nextTo"/>
        <c:crossAx val="506324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4874700634555399"/>
          <c:w val="0.94491392258217699"/>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dLblPos val="outEnd"/>
          <c:showLegendKey val="0"/>
          <c:showVal val="1"/>
          <c:showCatName val="0"/>
          <c:showSerName val="0"/>
          <c:showPercent val="0"/>
          <c:showBubbleSize val="0"/>
        </c:dLbls>
        <c:gapWidth val="219"/>
        <c:overlap val="-27"/>
        <c:axId val="506325240"/>
        <c:axId val="506325632"/>
      </c:barChart>
      <c:catAx>
        <c:axId val="50632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5632"/>
        <c:crosses val="autoZero"/>
        <c:auto val="1"/>
        <c:lblAlgn val="ctr"/>
        <c:lblOffset val="100"/>
        <c:noMultiLvlLbl val="0"/>
      </c:catAx>
      <c:valAx>
        <c:axId val="506325632"/>
        <c:scaling>
          <c:orientation val="minMax"/>
        </c:scaling>
        <c:delete val="1"/>
        <c:axPos val="l"/>
        <c:numFmt formatCode="General" sourceLinked="1"/>
        <c:majorTickMark val="none"/>
        <c:minorTickMark val="none"/>
        <c:tickLblPos val="nextTo"/>
        <c:crossAx val="506325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199E-2"/>
          <c:w val="0.54478865758310102"/>
          <c:h val="0.74417476441399"/>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chemeClr val="accent5"/>
              </a:solidFill>
              <a:ln w="19050">
                <a:noFill/>
              </a:ln>
              <a:effectLst/>
            </c:spPr>
            <c:extLst>
              <c:ext xmlns:c16="http://schemas.microsoft.com/office/drawing/2014/chart" uri="{C3380CC4-5D6E-409C-BE32-E72D297353CC}">
                <c16:uniqueId val="{00000003-F84F-482A-AD01-0014661C825B}"/>
              </c:ext>
            </c:extLst>
          </c:dPt>
          <c:dPt>
            <c:idx val="2"/>
            <c:bubble3D val="0"/>
            <c:spPr>
              <a:solidFill>
                <a:schemeClr val="accent4"/>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tx2"/>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300321995833001"/>
          <c:y val="0.78074595938665603"/>
          <c:w val="0.31378737451632999"/>
          <c:h val="0.197475456221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01E-2"/>
          <c:w val="0.55255001722944996"/>
          <c:h val="0.75445698056456301"/>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C36-4FD4-BEC6-AC0745608DC2}"/>
              </c:ext>
            </c:extLst>
          </c:dPt>
          <c:dPt>
            <c:idx val="1"/>
            <c:bubble3D val="0"/>
            <c:spPr>
              <a:solidFill>
                <a:schemeClr val="accent5"/>
              </a:solidFill>
              <a:ln w="19050">
                <a:noFill/>
              </a:ln>
              <a:effectLst/>
            </c:spPr>
            <c:extLst>
              <c:ext xmlns:c16="http://schemas.microsoft.com/office/drawing/2014/chart" uri="{C3380CC4-5D6E-409C-BE32-E72D297353CC}">
                <c16:uniqueId val="{00000004-4C36-4FD4-BEC6-AC0745608DC2}"/>
              </c:ext>
            </c:extLst>
          </c:dPt>
          <c:dPt>
            <c:idx val="2"/>
            <c:bubble3D val="0"/>
            <c:spPr>
              <a:solidFill>
                <a:schemeClr val="accent4"/>
              </a:solidFill>
              <a:ln w="19050">
                <a:noFill/>
              </a:ln>
              <a:effectLst/>
            </c:spPr>
            <c:extLst>
              <c:ext xmlns:c16="http://schemas.microsoft.com/office/drawing/2014/chart" uri="{C3380CC4-5D6E-409C-BE32-E72D297353CC}">
                <c16:uniqueId val="{00000003-4C36-4FD4-BEC6-AC0745608DC2}"/>
              </c:ext>
            </c:extLst>
          </c:dPt>
          <c:dPt>
            <c:idx val="3"/>
            <c:bubble3D val="0"/>
            <c:spPr>
              <a:solidFill>
                <a:schemeClr val="tx2"/>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manualLayout>
          <c:xMode val="edge"/>
          <c:yMode val="edge"/>
          <c:x val="0.72340413633862799"/>
          <c:y val="0.76259713905997695"/>
          <c:w val="0.26567740888059099"/>
          <c:h val="0.2156242765480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1"/>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7126064"/>
        <c:axId val="287125672"/>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7126064"/>
        <c:axId val="287125672"/>
      </c:lineChart>
      <c:catAx>
        <c:axId val="28712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287125672"/>
        <c:crosses val="autoZero"/>
        <c:auto val="1"/>
        <c:lblAlgn val="ctr"/>
        <c:lblOffset val="100"/>
        <c:noMultiLvlLbl val="0"/>
      </c:catAx>
      <c:valAx>
        <c:axId val="287125672"/>
        <c:scaling>
          <c:orientation val="minMax"/>
        </c:scaling>
        <c:delete val="1"/>
        <c:axPos val="l"/>
        <c:numFmt formatCode="0%" sourceLinked="1"/>
        <c:majorTickMark val="none"/>
        <c:minorTickMark val="none"/>
        <c:tickLblPos val="nextTo"/>
        <c:crossAx val="287126064"/>
        <c:crosses val="autoZero"/>
        <c:crossBetween val="between"/>
      </c:valAx>
      <c:spPr>
        <a:noFill/>
        <a:ln w="25400">
          <a:noFill/>
        </a:ln>
        <a:effectLst/>
      </c:spPr>
    </c:plotArea>
    <c:legend>
      <c:legendPos val="b"/>
      <c:layout>
        <c:manualLayout>
          <c:xMode val="edge"/>
          <c:yMode val="edge"/>
          <c:x val="0.27225648028908694"/>
          <c:y val="0.86661974681284892"/>
          <c:w val="0.45548703942182617"/>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44DBC7-3A2A-4536-917A-1221950D2E55}" type="datetimeFigureOut">
              <a:rPr lang="sv-SE" smtClean="0"/>
              <a:t>2019-05-27</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69A922-8050-4AD8-8ECB-D46C80B0FB99}" type="slidenum">
              <a:rPr lang="sv-SE" smtClean="0"/>
              <a:t>‹#›</a:t>
            </a:fld>
            <a:endParaRPr lang="sv-SE"/>
          </a:p>
        </p:txBody>
      </p:sp>
    </p:spTree>
    <p:extLst>
      <p:ext uri="{BB962C8B-B14F-4D97-AF65-F5344CB8AC3E}">
        <p14:creationId xmlns:p14="http://schemas.microsoft.com/office/powerpoint/2010/main" val="3114808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2726513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1">
            <a:extLst>
              <a:ext uri="{FF2B5EF4-FFF2-40B4-BE49-F238E27FC236}">
                <a16:creationId xmlns:a16="http://schemas.microsoft.com/office/drawing/2014/main" id="{4B2CA20D-3D49-439A-844D-D59D35B888DF}"/>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6627" name="Rectangle 2">
            <a:extLst>
              <a:ext uri="{FF2B5EF4-FFF2-40B4-BE49-F238E27FC236}">
                <a16:creationId xmlns:a16="http://schemas.microsoft.com/office/drawing/2014/main" id="{A88340CB-69BB-4E81-9FAA-4C28DE093E3D}"/>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4668814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Grp="1" noRot="1" noChangeAspect="1"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2840255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Grp="1" noRot="1" noChangeAspect="1"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10000579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Grp="1" noRot="1" noChangeAspect="1"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4021375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Replacing muscles</a:t>
            </a:r>
          </a:p>
          <a:p>
            <a:r>
              <a:rPr lang="sv-SE" dirty="0"/>
              <a:t>Improve productability</a:t>
            </a:r>
          </a:p>
        </p:txBody>
      </p:sp>
      <p:sp>
        <p:nvSpPr>
          <p:cNvPr id="4" name="Slide Number Placeholder 3"/>
          <p:cNvSpPr>
            <a:spLocks noGrp="1"/>
          </p:cNvSpPr>
          <p:nvPr>
            <p:ph type="sldNum" sz="quarter" idx="5"/>
          </p:nvPr>
        </p:nvSpPr>
        <p:spPr/>
        <p:txBody>
          <a:bodyPr/>
          <a:lstStyle/>
          <a:p>
            <a:fld id="{3169A922-8050-4AD8-8ECB-D46C80B0FB99}" type="slidenum">
              <a:rPr lang="sv-SE" smtClean="0"/>
              <a:t>3</a:t>
            </a:fld>
            <a:endParaRPr lang="sv-SE"/>
          </a:p>
        </p:txBody>
      </p:sp>
    </p:spTree>
    <p:extLst>
      <p:ext uri="{BB962C8B-B14F-4D97-AF65-F5344CB8AC3E}">
        <p14:creationId xmlns:p14="http://schemas.microsoft.com/office/powerpoint/2010/main" val="39373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Grp="1" noRot="1" noChangeAspect="1"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225913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2</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3</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4</a:t>
            </a:fld>
            <a:endParaRPr lang="pt-BR"/>
          </a:p>
        </p:txBody>
      </p:sp>
    </p:spTree>
    <p:extLst>
      <p:ext uri="{BB962C8B-B14F-4D97-AF65-F5344CB8AC3E}">
        <p14:creationId xmlns:p14="http://schemas.microsoft.com/office/powerpoint/2010/main" val="34689927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5</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6</a:t>
            </a:fld>
            <a:endParaRPr lang="pt-BR"/>
          </a:p>
        </p:txBody>
      </p:sp>
    </p:spTree>
    <p:extLst>
      <p:ext uri="{BB962C8B-B14F-4D97-AF65-F5344CB8AC3E}">
        <p14:creationId xmlns:p14="http://schemas.microsoft.com/office/powerpoint/2010/main" val="489211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7</a:t>
            </a:fld>
            <a:endParaRPr lang="pt-BR"/>
          </a:p>
        </p:txBody>
      </p:sp>
    </p:spTree>
    <p:extLst>
      <p:ext uri="{BB962C8B-B14F-4D97-AF65-F5344CB8AC3E}">
        <p14:creationId xmlns:p14="http://schemas.microsoft.com/office/powerpoint/2010/main" val="1270754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38</a:t>
            </a:fld>
            <a:endParaRPr lang="pt-BR"/>
          </a:p>
        </p:txBody>
      </p:sp>
    </p:spTree>
    <p:extLst>
      <p:ext uri="{BB962C8B-B14F-4D97-AF65-F5344CB8AC3E}">
        <p14:creationId xmlns:p14="http://schemas.microsoft.com/office/powerpoint/2010/main" val="1833672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39260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For a quite </a:t>
            </a:r>
          </a:p>
        </p:txBody>
      </p:sp>
      <p:sp>
        <p:nvSpPr>
          <p:cNvPr id="4" name="Slide Number Placeholder 3"/>
          <p:cNvSpPr>
            <a:spLocks noGrp="1"/>
          </p:cNvSpPr>
          <p:nvPr>
            <p:ph type="sldNum" sz="quarter" idx="5"/>
          </p:nvPr>
        </p:nvSpPr>
        <p:spPr/>
        <p:txBody>
          <a:bodyPr/>
          <a:lstStyle/>
          <a:p>
            <a:fld id="{3169A922-8050-4AD8-8ECB-D46C80B0FB99}" type="slidenum">
              <a:rPr lang="sv-SE" smtClean="0"/>
              <a:t>4</a:t>
            </a:fld>
            <a:endParaRPr lang="sv-SE"/>
          </a:p>
        </p:txBody>
      </p:sp>
    </p:spTree>
    <p:extLst>
      <p:ext uri="{BB962C8B-B14F-4D97-AF65-F5344CB8AC3E}">
        <p14:creationId xmlns:p14="http://schemas.microsoft.com/office/powerpoint/2010/main" val="767166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1</a:t>
            </a:fld>
            <a:endParaRPr lang="pt-BR"/>
          </a:p>
        </p:txBody>
      </p:sp>
    </p:spTree>
    <p:extLst>
      <p:ext uri="{BB962C8B-B14F-4D97-AF65-F5344CB8AC3E}">
        <p14:creationId xmlns:p14="http://schemas.microsoft.com/office/powerpoint/2010/main" val="9185696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2</a:t>
            </a:fld>
            <a:endParaRPr lang="pt-BR"/>
          </a:p>
        </p:txBody>
      </p:sp>
    </p:spTree>
    <p:extLst>
      <p:ext uri="{BB962C8B-B14F-4D97-AF65-F5344CB8AC3E}">
        <p14:creationId xmlns:p14="http://schemas.microsoft.com/office/powerpoint/2010/main" val="2592794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4</a:t>
            </a:fld>
            <a:endParaRPr lang="pt-BR"/>
          </a:p>
        </p:txBody>
      </p:sp>
    </p:spTree>
    <p:extLst>
      <p:ext uri="{BB962C8B-B14F-4D97-AF65-F5344CB8AC3E}">
        <p14:creationId xmlns:p14="http://schemas.microsoft.com/office/powerpoint/2010/main" val="34546537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5</a:t>
            </a:fld>
            <a:endParaRPr lang="pt-BR"/>
          </a:p>
        </p:txBody>
      </p:sp>
    </p:spTree>
    <p:extLst>
      <p:ext uri="{BB962C8B-B14F-4D97-AF65-F5344CB8AC3E}">
        <p14:creationId xmlns:p14="http://schemas.microsoft.com/office/powerpoint/2010/main" val="31306655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6</a:t>
            </a:fld>
            <a:endParaRPr lang="pt-BR"/>
          </a:p>
        </p:txBody>
      </p:sp>
    </p:spTree>
    <p:extLst>
      <p:ext uri="{BB962C8B-B14F-4D97-AF65-F5344CB8AC3E}">
        <p14:creationId xmlns:p14="http://schemas.microsoft.com/office/powerpoint/2010/main" val="21453131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7</a:t>
            </a:fld>
            <a:endParaRPr lang="pt-BR"/>
          </a:p>
        </p:txBody>
      </p:sp>
    </p:spTree>
    <p:extLst>
      <p:ext uri="{BB962C8B-B14F-4D97-AF65-F5344CB8AC3E}">
        <p14:creationId xmlns:p14="http://schemas.microsoft.com/office/powerpoint/2010/main" val="17068106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9</a:t>
            </a:fld>
            <a:endParaRPr lang="pt-BR"/>
          </a:p>
        </p:txBody>
      </p:sp>
    </p:spTree>
    <p:extLst>
      <p:ext uri="{BB962C8B-B14F-4D97-AF65-F5344CB8AC3E}">
        <p14:creationId xmlns:p14="http://schemas.microsoft.com/office/powerpoint/2010/main" val="141121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2518923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194" name="Rectangle 1">
            <a:extLst>
              <a:ext uri="{FF2B5EF4-FFF2-40B4-BE49-F238E27FC236}">
                <a16:creationId xmlns:a16="http://schemas.microsoft.com/office/drawing/2014/main" id="{E84EDBC8-6148-470F-9D41-0BF2E8A58503}"/>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8195" name="Rectangle 2">
            <a:extLst>
              <a:ext uri="{FF2B5EF4-FFF2-40B4-BE49-F238E27FC236}">
                <a16:creationId xmlns:a16="http://schemas.microsoft.com/office/drawing/2014/main" id="{A8FA0E58-0FA4-4834-9E00-441475E167B8}"/>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1">
            <a:extLst>
              <a:ext uri="{FF2B5EF4-FFF2-40B4-BE49-F238E27FC236}">
                <a16:creationId xmlns:a16="http://schemas.microsoft.com/office/drawing/2014/main" id="{20176D56-4F18-499F-92BC-B6592C930F22}"/>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12291" name="Rectangle 2">
            <a:extLst>
              <a:ext uri="{FF2B5EF4-FFF2-40B4-BE49-F238E27FC236}">
                <a16:creationId xmlns:a16="http://schemas.microsoft.com/office/drawing/2014/main" id="{71836CF2-B7CD-4991-95E6-DB9A86873218}"/>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386" name="Rectangle 1">
            <a:extLst>
              <a:ext uri="{FF2B5EF4-FFF2-40B4-BE49-F238E27FC236}">
                <a16:creationId xmlns:a16="http://schemas.microsoft.com/office/drawing/2014/main" id="{A9209A52-170B-4A76-84C1-6F685648DE18}"/>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16387" name="Rectangle 2">
            <a:extLst>
              <a:ext uri="{FF2B5EF4-FFF2-40B4-BE49-F238E27FC236}">
                <a16:creationId xmlns:a16="http://schemas.microsoft.com/office/drawing/2014/main" id="{C2D727DB-2844-4B30-A53C-79BD536CD55D}"/>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Rectangle 1">
            <a:extLst>
              <a:ext uri="{FF2B5EF4-FFF2-40B4-BE49-F238E27FC236}">
                <a16:creationId xmlns:a16="http://schemas.microsoft.com/office/drawing/2014/main" id="{892FD393-84A9-4E5A-927C-09392F6EEFDE}"/>
              </a:ext>
            </a:extLst>
          </p:cNvPr>
          <p:cNvSpPr>
            <a:spLocks noGrp="1" noRot="1" noChangeAspect="1"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4579" name="Rectangle 2">
            <a:extLst>
              <a:ext uri="{FF2B5EF4-FFF2-40B4-BE49-F238E27FC236}">
                <a16:creationId xmlns:a16="http://schemas.microsoft.com/office/drawing/2014/main" id="{C88FFD1F-09AE-4B7F-A464-0E45D1ED3E23}"/>
              </a:ext>
            </a:extLst>
          </p:cNvPr>
          <p:cNvSpPr>
            <a:spLocks noGrp="1"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9.png"/><Relationship Id="rId3" Type="http://schemas.openxmlformats.org/officeDocument/2006/relationships/hyperlink" Target="http://www.capgemini.com/about/how-we-work/rightshorer" TargetMode="External"/><Relationship Id="rId7" Type="http://schemas.openxmlformats.org/officeDocument/2006/relationships/image" Target="../media/image27.png"/><Relationship Id="rId12" Type="http://schemas.openxmlformats.org/officeDocument/2006/relationships/hyperlink" Target="http://www.youtube.com/capgeminimedia" TargetMode="External"/><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8.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1.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0.png"/><Relationship Id="rId4" Type="http://schemas.openxmlformats.org/officeDocument/2006/relationships/hyperlink" Target="https://www.linkedin.com/company/sogeti/" TargetMode="External"/><Relationship Id="rId9" Type="http://schemas.openxmlformats.org/officeDocument/2006/relationships/image" Target="../media/image32.png"/></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1.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0.png"/><Relationship Id="rId4" Type="http://schemas.openxmlformats.org/officeDocument/2006/relationships/hyperlink" Target="https://www.linkedin.com/company/sogeti/" TargetMode="External"/><Relationship Id="rId9" Type="http://schemas.openxmlformats.org/officeDocument/2006/relationships/image" Target="../media/image3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BD3EE-6032-4347-9013-53F31F1280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C54F23A2-F2A9-49E0-97F7-8814363302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4827DF4A-CE0B-4D0D-8F6E-0FCEA09A9FF1}"/>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A0F202EB-6562-43D4-B6AC-53767EF1D5CC}"/>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60E05318-36A6-4302-8643-8E049E5F903D}"/>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16330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8049C-7E19-4518-9908-A3B80EF57C4C}"/>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CBC050EA-AF31-4339-ACBE-062FEB00F2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1E335D47-0B46-4FC1-96D2-62E008038979}"/>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C2FC2488-3013-4FBE-AEE1-45650C1220C7}"/>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3932514F-7FA6-4351-83E8-3F770A1E4451}"/>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630833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4733BE-18D4-45F2-B31B-82D26C6C903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F4AEA82D-544B-43D8-B369-3B9F0D572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4FD86086-2312-4673-BF56-ADC35E9E60EF}"/>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B3D91B7E-FA05-406E-B683-375E1B4927F4}"/>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7E038FDA-53BE-4B48-9A14-EFF383CBB2F2}"/>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361174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325331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Picture 6">
            <a:extLst>
              <a:ext uri="{FF2B5EF4-FFF2-40B4-BE49-F238E27FC236}">
                <a16:creationId xmlns:a16="http://schemas.microsoft.com/office/drawing/2014/main" id="{05318739-BF6A-445F-9FEE-5EC1CA74E7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687872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17752972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2767690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3" name="Picture 6">
            <a:extLst>
              <a:ext uri="{FF2B5EF4-FFF2-40B4-BE49-F238E27FC236}">
                <a16:creationId xmlns:a16="http://schemas.microsoft.com/office/drawing/2014/main" id="{30480320-F682-4CAE-ABA4-878EAFB417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3712670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577649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331642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07687590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14AF2-7748-4C82-8CED-A0007D37FADF}"/>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ECB63759-DE2A-42C5-B057-0848BDD69C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928CCD8B-1AF1-46DE-9CDF-DED1ED9D2F5D}"/>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9EBB43E5-8FB5-4346-88F2-61376240606E}"/>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94409FDE-1B2B-405A-B060-351DF8E1CF6F}"/>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13081494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175430762"/>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309464210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spTree>
    <p:extLst>
      <p:ext uri="{BB962C8B-B14F-4D97-AF65-F5344CB8AC3E}">
        <p14:creationId xmlns:p14="http://schemas.microsoft.com/office/powerpoint/2010/main" val="6093972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42123837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pic>
        <p:nvPicPr>
          <p:cNvPr id="27" name="Picture 2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pic>
        <p:nvPicPr>
          <p:cNvPr id="14" name="Picture 6">
            <a:extLst>
              <a:ext uri="{FF2B5EF4-FFF2-40B4-BE49-F238E27FC236}">
                <a16:creationId xmlns:a16="http://schemas.microsoft.com/office/drawing/2014/main" id="{CA0BA180-B662-4DE1-8B30-053ECCE476B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1479677285"/>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65350098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2158502896"/>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85073450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263571379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75263897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583B0-E46E-4FA3-9AE8-4D62EE1EBE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92A8430F-F9A0-4CFC-AF6D-1FD2E20757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82B3E4-66D5-417F-ABD4-69F5836376FB}"/>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A0CC45CC-5B4D-4307-A3EB-E0929B048FCE}"/>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4FC3EAB0-ACD0-4E26-A674-901326FC5D25}"/>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469532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3990025192"/>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r>
              <a:rPr lang="en-US"/>
              <a:t>Click icon to add chart</a:t>
            </a:r>
            <a:endParaRPr lang="pt-PT"/>
          </a:p>
        </p:txBody>
      </p:sp>
      <p:pic>
        <p:nvPicPr>
          <p:cNvPr id="17" name="Picture 6">
            <a:extLst>
              <a:ext uri="{FF2B5EF4-FFF2-40B4-BE49-F238E27FC236}">
                <a16:creationId xmlns:a16="http://schemas.microsoft.com/office/drawing/2014/main" id="{85DDC7B3-7C06-46D7-9B9D-205ACB2B800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455399696"/>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r>
              <a:rPr lang="en-US"/>
              <a:t>Click icon to add picture</a:t>
            </a:r>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44015778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r>
              <a:rPr lang="en-US"/>
              <a:t>Click icon to add chart</a:t>
            </a:r>
            <a:endParaRPr lang="pt-PT"/>
          </a:p>
        </p:txBody>
      </p:sp>
    </p:spTree>
    <p:extLst>
      <p:ext uri="{BB962C8B-B14F-4D97-AF65-F5344CB8AC3E}">
        <p14:creationId xmlns:p14="http://schemas.microsoft.com/office/powerpoint/2010/main" val="27038725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02059820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51079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dirty="0"/>
          </a:p>
        </p:txBody>
      </p:sp>
    </p:spTree>
    <p:extLst>
      <p:ext uri="{BB962C8B-B14F-4D97-AF65-F5344CB8AC3E}">
        <p14:creationId xmlns:p14="http://schemas.microsoft.com/office/powerpoint/2010/main" val="1678858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17424272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645340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74900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A66A9-74BC-49FD-992A-6E243E56FF17}"/>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E6DD27B7-4160-4493-8B1D-B0BB8917991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5F24E30B-FE16-48B7-82B0-65E8731445D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A070D733-5ADB-4D35-A4B1-7A4C78449C0C}"/>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6" name="Footer Placeholder 5">
            <a:extLst>
              <a:ext uri="{FF2B5EF4-FFF2-40B4-BE49-F238E27FC236}">
                <a16:creationId xmlns:a16="http://schemas.microsoft.com/office/drawing/2014/main" id="{8EF5A43D-D4D1-463D-AC05-5CDD13E0E3C6}"/>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C46ABA16-7F9F-4ABE-B167-443E1C60D45E}"/>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450539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707308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3BC80-7ADC-4294-AFAF-AE48E4EC01F1}"/>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CD1F501F-90BC-4DCF-B4BC-992303B3E8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222248F-92F1-4CD9-AFA8-F6C4E969FB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1385CC1C-AB62-4102-A10D-00DCCB4A3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42A3B6-DAD4-4BB9-840B-E0936B04D8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7EF1957F-D5B3-473E-AA2B-9C8AEBC70139}"/>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8" name="Footer Placeholder 7">
            <a:extLst>
              <a:ext uri="{FF2B5EF4-FFF2-40B4-BE49-F238E27FC236}">
                <a16:creationId xmlns:a16="http://schemas.microsoft.com/office/drawing/2014/main" id="{020535BC-8DB9-43D0-8A77-C016284E1656}"/>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AE580BC4-6ADD-4A11-8724-68ACD8775EEC}"/>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55349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C35FA-3195-4379-9224-67FDA94D16E5}"/>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3469472F-D841-49D2-8C79-8029C960B349}"/>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4" name="Footer Placeholder 3">
            <a:extLst>
              <a:ext uri="{FF2B5EF4-FFF2-40B4-BE49-F238E27FC236}">
                <a16:creationId xmlns:a16="http://schemas.microsoft.com/office/drawing/2014/main" id="{8BBB1F9D-1E21-4D75-923F-7FFBD9B632B7}"/>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5F33D223-282E-4731-AFB9-AA009DC8FB79}"/>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042493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F7199-E339-4EB4-A245-DFA9A380A411}"/>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3" name="Footer Placeholder 2">
            <a:extLst>
              <a:ext uri="{FF2B5EF4-FFF2-40B4-BE49-F238E27FC236}">
                <a16:creationId xmlns:a16="http://schemas.microsoft.com/office/drawing/2014/main" id="{8F337EBF-87E7-4F97-8C71-D1E517D22CFE}"/>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842D2DC1-02B2-4827-933C-C829ACA4ABB6}"/>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40029498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4F15-53A1-48B2-B271-BF30CA51D3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C08CA47D-57E2-49EB-BA93-1A155D7725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58EA852A-533D-44B1-BE08-94010E99E8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5AD185-31E1-4002-84DB-80F55CB7EED0}"/>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6" name="Footer Placeholder 5">
            <a:extLst>
              <a:ext uri="{FF2B5EF4-FFF2-40B4-BE49-F238E27FC236}">
                <a16:creationId xmlns:a16="http://schemas.microsoft.com/office/drawing/2014/main" id="{DEDA81B2-160B-427B-841D-AD01AFA2AC01}"/>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17E10E94-9B1D-41E7-B3B1-BB4C888CC168}"/>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3710078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B611A-A9D6-4002-AE4A-D2B448AF04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669844FF-F8BF-4604-9B58-11F9690DC0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28182A44-C04D-41C5-8583-4765D12BB2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C26155-8AE2-4EF9-BC60-C00BF1BC9522}"/>
              </a:ext>
            </a:extLst>
          </p:cNvPr>
          <p:cNvSpPr>
            <a:spLocks noGrp="1"/>
          </p:cNvSpPr>
          <p:nvPr>
            <p:ph type="dt" sz="half" idx="10"/>
          </p:nvPr>
        </p:nvSpPr>
        <p:spPr/>
        <p:txBody>
          <a:bodyPr/>
          <a:lstStyle/>
          <a:p>
            <a:fld id="{D063D0A3-6ED0-4898-BB92-024E85CDECD1}" type="datetimeFigureOut">
              <a:rPr lang="sv-SE" smtClean="0"/>
              <a:t>2019-05-27</a:t>
            </a:fld>
            <a:endParaRPr lang="sv-SE"/>
          </a:p>
        </p:txBody>
      </p:sp>
      <p:sp>
        <p:nvSpPr>
          <p:cNvPr id="6" name="Footer Placeholder 5">
            <a:extLst>
              <a:ext uri="{FF2B5EF4-FFF2-40B4-BE49-F238E27FC236}">
                <a16:creationId xmlns:a16="http://schemas.microsoft.com/office/drawing/2014/main" id="{BA78D26E-1649-42C0-874F-3FA128A35221}"/>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A0D5D4E2-C3D4-4E8F-ADDA-285F8E515D93}"/>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327783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A8AD7A-85A1-4869-8A1C-E3A7CC7244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1CC1804E-7586-46B5-8DB8-0269A56DA1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90CAC812-1E08-4163-AE55-EDC36727D2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63D0A3-6ED0-4898-BB92-024E85CDECD1}" type="datetimeFigureOut">
              <a:rPr lang="sv-SE" smtClean="0"/>
              <a:t>2019-05-27</a:t>
            </a:fld>
            <a:endParaRPr lang="sv-SE"/>
          </a:p>
        </p:txBody>
      </p:sp>
      <p:sp>
        <p:nvSpPr>
          <p:cNvPr id="5" name="Footer Placeholder 4">
            <a:extLst>
              <a:ext uri="{FF2B5EF4-FFF2-40B4-BE49-F238E27FC236}">
                <a16:creationId xmlns:a16="http://schemas.microsoft.com/office/drawing/2014/main" id="{6EC04D10-AF8F-4B7B-B087-BE7C6FA5D9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A662F0AD-346A-46C6-8103-EF5F6167B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EEA2F-E598-457E-92E6-B8DC7D6532B2}" type="slidenum">
              <a:rPr lang="sv-SE" smtClean="0"/>
              <a:t>‹#›</a:t>
            </a:fld>
            <a:endParaRPr lang="sv-SE"/>
          </a:p>
        </p:txBody>
      </p:sp>
    </p:spTree>
    <p:extLst>
      <p:ext uri="{BB962C8B-B14F-4D97-AF65-F5344CB8AC3E}">
        <p14:creationId xmlns:p14="http://schemas.microsoft.com/office/powerpoint/2010/main" val="11742592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698" r:id="rId39"/>
    <p:sldLayoutId id="2147483699"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21.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3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chart" Target="../charts/char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2.png"/><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notesSlide" Target="../notesSlides/notesSlide3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image" Target="../media/image46.png"/><Relationship Id="rId21" Type="http://schemas.openxmlformats.org/officeDocument/2006/relationships/image" Target="../media/image64.png"/><Relationship Id="rId34" Type="http://schemas.openxmlformats.org/officeDocument/2006/relationships/image" Target="../media/image77.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2" Type="http://schemas.openxmlformats.org/officeDocument/2006/relationships/notesSlide" Target="../notesSlides/notesSlide32.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image" Target="../media/image72.png"/><Relationship Id="rId1" Type="http://schemas.openxmlformats.org/officeDocument/2006/relationships/slideLayout" Target="../slideLayouts/slideLayout16.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10" Type="http://schemas.openxmlformats.org/officeDocument/2006/relationships/image" Target="../media/image53.png"/><Relationship Id="rId19" Type="http://schemas.openxmlformats.org/officeDocument/2006/relationships/image" Target="../media/image62.png"/><Relationship Id="rId31" Type="http://schemas.openxmlformats.org/officeDocument/2006/relationships/image" Target="../media/image74.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s>
</file>

<file path=ppt/slides/_rels/slide55.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26" Type="http://schemas.openxmlformats.org/officeDocument/2006/relationships/image" Target="../media/image100.png"/><Relationship Id="rId3" Type="http://schemas.openxmlformats.org/officeDocument/2006/relationships/image" Target="../media/image78.png"/><Relationship Id="rId21" Type="http://schemas.openxmlformats.org/officeDocument/2006/relationships/image" Target="../media/image9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99.png"/><Relationship Id="rId2" Type="http://schemas.openxmlformats.org/officeDocument/2006/relationships/notesSlide" Target="../notesSlides/notesSlide33.xml"/><Relationship Id="rId16" Type="http://schemas.openxmlformats.org/officeDocument/2006/relationships/image" Target="../media/image91.png"/><Relationship Id="rId20" Type="http://schemas.openxmlformats.org/officeDocument/2006/relationships/image" Target="../media/image34.png"/><Relationship Id="rId29" Type="http://schemas.openxmlformats.org/officeDocument/2006/relationships/image" Target="../media/image103.png"/><Relationship Id="rId1" Type="http://schemas.openxmlformats.org/officeDocument/2006/relationships/slideLayout" Target="../slideLayouts/slideLayout1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8.png"/><Relationship Id="rId32" Type="http://schemas.openxmlformats.org/officeDocument/2006/relationships/image" Target="../media/image106.pn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7.png"/><Relationship Id="rId28" Type="http://schemas.openxmlformats.org/officeDocument/2006/relationships/image" Target="../media/image102.png"/><Relationship Id="rId10" Type="http://schemas.openxmlformats.org/officeDocument/2006/relationships/image" Target="../media/image85.png"/><Relationship Id="rId19" Type="http://schemas.openxmlformats.org/officeDocument/2006/relationships/image" Target="../media/image94.png"/><Relationship Id="rId31" Type="http://schemas.openxmlformats.org/officeDocument/2006/relationships/image" Target="../media/image10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96.png"/><Relationship Id="rId27" Type="http://schemas.openxmlformats.org/officeDocument/2006/relationships/image" Target="../media/image101.png"/><Relationship Id="rId30" Type="http://schemas.openxmlformats.org/officeDocument/2006/relationships/image" Target="../media/image104.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asic Python and introduction to  neural nets</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pPr algn="l"/>
            <a:r>
              <a:rPr lang="en-US" dirty="0"/>
              <a:t>And a little bit of history</a:t>
            </a:r>
          </a:p>
        </p:txBody>
      </p:sp>
      <p:pic>
        <p:nvPicPr>
          <p:cNvPr id="6" name="Picture 5">
            <a:extLst>
              <a:ext uri="{FF2B5EF4-FFF2-40B4-BE49-F238E27FC236}">
                <a16:creationId xmlns:a16="http://schemas.microsoft.com/office/drawing/2014/main" id="{8D990E01-5E9C-4532-A104-34BC4B8B4F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282" y="833452"/>
            <a:ext cx="673995" cy="805709"/>
          </a:xfrm>
          <a:prstGeom prst="rect">
            <a:avLst/>
          </a:prstGeom>
        </p:spPr>
      </p:pic>
    </p:spTree>
    <p:extLst>
      <p:ext uri="{BB962C8B-B14F-4D97-AF65-F5344CB8AC3E}">
        <p14:creationId xmlns:p14="http://schemas.microsoft.com/office/powerpoint/2010/main" val="1616342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
            <a:extLst>
              <a:ext uri="{FF2B5EF4-FFF2-40B4-BE49-F238E27FC236}">
                <a16:creationId xmlns:a16="http://schemas.microsoft.com/office/drawing/2014/main" id="{AF791F26-636F-4515-B541-743DFFF1FCDA}"/>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Background </a:t>
            </a:r>
            <a:r>
              <a:rPr lang="sv-SE" altLang="sv-SE"/>
              <a:t>(contd.)</a:t>
            </a:r>
            <a:endParaRPr lang="en-GB" altLang="sv-SE"/>
          </a:p>
        </p:txBody>
      </p:sp>
      <p:sp>
        <p:nvSpPr>
          <p:cNvPr id="7171" name="Rectangle 2">
            <a:extLst>
              <a:ext uri="{FF2B5EF4-FFF2-40B4-BE49-F238E27FC236}">
                <a16:creationId xmlns:a16="http://schemas.microsoft.com/office/drawing/2014/main" id="{7363CE72-462C-47D6-B8DB-297F94E98269}"/>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uman brain is amazing!</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ere are a few things that brains can do:</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Recognise someone you haven’t seen for 10 years, even if they have changed</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Guess that a piece of music is by a particular composer from its “style”</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nderstand speech, even if the person speaking has a strong regional dialect</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nstinctively “fill in” missing information  </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
            <a:extLst>
              <a:ext uri="{FF2B5EF4-FFF2-40B4-BE49-F238E27FC236}">
                <a16:creationId xmlns:a16="http://schemas.microsoft.com/office/drawing/2014/main" id="{BB0EB588-F730-405B-AD60-7B84648562F0}"/>
              </a:ext>
            </a:extLst>
          </p:cNvPr>
          <p:cNvSpPr>
            <a:spLocks noGrp="1" noChangeArrowheads="1"/>
          </p:cNvSpPr>
          <p:nvPr>
            <p:ph type="title"/>
          </p:nvPr>
        </p:nvSpPr>
        <p:spPr>
          <a:xfrm>
            <a:off x="1981200" y="190501"/>
            <a:ext cx="8229600" cy="1312863"/>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sz="4000"/>
              <a:t>What is the difference between these tasks?</a:t>
            </a:r>
          </a:p>
        </p:txBody>
      </p:sp>
      <p:sp>
        <p:nvSpPr>
          <p:cNvPr id="11267" name="Rectangle 2">
            <a:extLst>
              <a:ext uri="{FF2B5EF4-FFF2-40B4-BE49-F238E27FC236}">
                <a16:creationId xmlns:a16="http://schemas.microsoft.com/office/drawing/2014/main" id="{F963046E-9450-41AC-A2D2-96E3B0791810}"/>
              </a:ext>
            </a:extLst>
          </p:cNvPr>
          <p:cNvSpPr>
            <a:spLocks noGrp="1" noChangeArrowheads="1"/>
          </p:cNvSpPr>
          <p:nvPr>
            <p:ph type="body" idx="1"/>
          </p:nvPr>
        </p:nvSpPr>
        <p:spPr>
          <a:xfrm>
            <a:off x="1981200" y="1600201"/>
            <a:ext cx="8229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umans are poor at </a:t>
            </a:r>
            <a:r>
              <a:rPr lang="en-GB" altLang="sv-SE" i="1"/>
              <a:t>computation</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Exact, quantitative, inherently serial (although can sometimes be parallelised)</a:t>
            </a:r>
            <a:r>
              <a:rPr lang="ar-SA" altLang="sv-SE">
                <a:cs typeface="Arial" panose="020B0604020202020204" pitchFamily="34" charset="0"/>
              </a:rPr>
              <a:t>‏</a:t>
            </a:r>
            <a:endParaRPr lang="en-GB" altLang="sv-SE"/>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Very few people can compete with a computer for even simple calculation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umans are excellent at </a:t>
            </a:r>
            <a:r>
              <a:rPr lang="en-GB" altLang="sv-SE" i="1"/>
              <a:t>pattern recognition </a:t>
            </a:r>
            <a:r>
              <a:rPr lang="en-GB" altLang="sv-SE"/>
              <a:t>and</a:t>
            </a:r>
            <a:r>
              <a:rPr lang="en-GB" altLang="sv-SE" i="1"/>
              <a:t> association </a:t>
            </a:r>
            <a:r>
              <a:rPr lang="en-GB" altLang="sv-SE"/>
              <a:t>and other higher</a:t>
            </a:r>
            <a:r>
              <a:rPr lang="en-GB" altLang="sv-SE" i="1"/>
              <a:t> cognitive </a:t>
            </a:r>
            <a:r>
              <a:rPr lang="en-GB" altLang="sv-SE"/>
              <a:t>task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nexact, qualitative, inherently parallel</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Enormous effort has been spent trying to get computers to emulate this human performance, with only limited success </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
            <a:extLst>
              <a:ext uri="{FF2B5EF4-FFF2-40B4-BE49-F238E27FC236}">
                <a16:creationId xmlns:a16="http://schemas.microsoft.com/office/drawing/2014/main" id="{AE2E1AE6-D787-44CA-8FFC-B7B5F6D9A76A}"/>
              </a:ext>
            </a:extLst>
          </p:cNvPr>
          <p:cNvSpPr>
            <a:spLocks noGrp="1" noChangeArrowheads="1"/>
          </p:cNvSpPr>
          <p:nvPr>
            <p:ph type="title"/>
          </p:nvPr>
        </p:nvSpPr>
        <p:spPr>
          <a:xfrm>
            <a:off x="1981200" y="190501"/>
            <a:ext cx="8229600" cy="1312863"/>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sz="4000"/>
              <a:t>For what kinds of task is pattern recognition important?</a:t>
            </a:r>
          </a:p>
        </p:txBody>
      </p:sp>
      <p:sp>
        <p:nvSpPr>
          <p:cNvPr id="15363" name="Rectangle 2">
            <a:extLst>
              <a:ext uri="{FF2B5EF4-FFF2-40B4-BE49-F238E27FC236}">
                <a16:creationId xmlns:a16="http://schemas.microsoft.com/office/drawing/2014/main" id="{F702AC6D-0AB7-4836-8C8A-D36045BCBD2E}"/>
              </a:ext>
            </a:extLst>
          </p:cNvPr>
          <p:cNvSpPr>
            <a:spLocks noGrp="1" noChangeArrowheads="1"/>
          </p:cNvSpPr>
          <p:nvPr>
            <p:ph type="body" idx="1"/>
          </p:nvPr>
        </p:nvSpPr>
        <p:spPr>
          <a:xfrm>
            <a:off x="1981200" y="1600201"/>
            <a:ext cx="4038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Computer vis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Electronic “nose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ECG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Biometric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ace recognition</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ingerprint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Handwriting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OCR</a:t>
            </a:r>
          </a:p>
        </p:txBody>
      </p:sp>
      <p:sp>
        <p:nvSpPr>
          <p:cNvPr id="15364" name="Rectangle 3">
            <a:extLst>
              <a:ext uri="{FF2B5EF4-FFF2-40B4-BE49-F238E27FC236}">
                <a16:creationId xmlns:a16="http://schemas.microsoft.com/office/drawing/2014/main" id="{52093998-AD2F-4773-8DF0-966623F70303}"/>
              </a:ext>
            </a:extLst>
          </p:cNvPr>
          <p:cNvSpPr>
            <a:spLocks noGrp="1" noChangeArrowheads="1"/>
          </p:cNvSpPr>
          <p:nvPr>
            <p:ph type="body" idx="2"/>
          </p:nvPr>
        </p:nvSpPr>
        <p:spPr>
          <a:xfrm>
            <a:off x="6172200" y="1600201"/>
            <a:ext cx="4038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peech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ecurity system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orensic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ault detec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eismic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riend/foe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gnal processing</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Touring Test</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429021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Chineese Room</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2441513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Magic of new methods</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r>
              <a:rPr lang="sv-SE" dirty="0"/>
              <a:t>Humans tend to think that everything that new methods for problem solving are magic and therefor they must be intelligent.</a:t>
            </a:r>
          </a:p>
          <a:p>
            <a:endParaRPr lang="sv-SE" dirty="0"/>
          </a:p>
          <a:p>
            <a:r>
              <a:rPr lang="sv-SE" dirty="0"/>
              <a:t>Find a problem? Do not walk straight to NN and ML. Ask youself might someone before have had this generalized problem, who did, how did they solve it.</a:t>
            </a:r>
          </a:p>
        </p:txBody>
      </p:sp>
    </p:spTree>
    <p:extLst>
      <p:ext uri="{BB962C8B-B14F-4D97-AF65-F5344CB8AC3E}">
        <p14:creationId xmlns:p14="http://schemas.microsoft.com/office/powerpoint/2010/main" val="2975708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
            <a:extLst>
              <a:ext uri="{FF2B5EF4-FFF2-40B4-BE49-F238E27FC236}">
                <a16:creationId xmlns:a16="http://schemas.microsoft.com/office/drawing/2014/main" id="{8CDFCA38-3963-45DB-A453-7F47C4AD5FAD}"/>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features to information…</a:t>
            </a:r>
          </a:p>
        </p:txBody>
      </p:sp>
      <p:sp>
        <p:nvSpPr>
          <p:cNvPr id="23555" name="Rectangle 2">
            <a:extLst>
              <a:ext uri="{FF2B5EF4-FFF2-40B4-BE49-F238E27FC236}">
                <a16:creationId xmlns:a16="http://schemas.microsoft.com/office/drawing/2014/main" id="{41E6BD05-43D4-4704-AEAF-FE7019611672}"/>
              </a:ext>
            </a:extLst>
          </p:cNvPr>
          <p:cNvSpPr>
            <a:spLocks noGrp="1" noChangeArrowheads="1"/>
          </p:cNvSpPr>
          <p:nvPr>
            <p:ph type="body" idx="1"/>
          </p:nvPr>
        </p:nvSpPr>
        <p:spPr>
          <a:xfrm>
            <a:off x="1981200" y="1600201"/>
            <a:ext cx="8229600" cy="4981575"/>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inally we have to classify or recognise</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is is the pattern recognition task</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ow can we go about thi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Build an algorithm by hand?</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sing formal syntax, e.g. grammar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se a statistical method?</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e. formulate a hypothesis and fit a model</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Neither of these methods fits how the brain works….they are essentially </a:t>
            </a:r>
            <a:r>
              <a:rPr lang="en-GB" altLang="sv-SE" i="1"/>
              <a:t>computational </a:t>
            </a:r>
            <a:r>
              <a:rPr lang="en-GB" altLang="sv-SE"/>
              <a:t>methods which require some </a:t>
            </a:r>
            <a:r>
              <a:rPr lang="en-GB" altLang="sv-SE" i="1"/>
              <a:t>a priori</a:t>
            </a:r>
            <a:r>
              <a:rPr lang="en-GB" altLang="sv-SE"/>
              <a:t> information</a:t>
            </a:r>
          </a:p>
          <a:p>
            <a:pPr>
              <a:spcBef>
                <a:spcPts val="700"/>
              </a:spcBef>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a:extLst>
              <a:ext uri="{FF2B5EF4-FFF2-40B4-BE49-F238E27FC236}">
                <a16:creationId xmlns:a16="http://schemas.microsoft.com/office/drawing/2014/main" id="{780C2A14-B927-4D6B-89CE-D39DB3C004A3}"/>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using a cognitive approach</a:t>
            </a:r>
          </a:p>
        </p:txBody>
      </p:sp>
      <p:sp>
        <p:nvSpPr>
          <p:cNvPr id="25603" name="Rectangle 2">
            <a:extLst>
              <a:ext uri="{FF2B5EF4-FFF2-40B4-BE49-F238E27FC236}">
                <a16:creationId xmlns:a16="http://schemas.microsoft.com/office/drawing/2014/main" id="{37C5E0B8-0139-4FC5-A3B5-7081442186D2}"/>
              </a:ext>
            </a:extLst>
          </p:cNvPr>
          <p:cNvSpPr>
            <a:spLocks noGrp="1" noChangeArrowheads="1"/>
          </p:cNvSpPr>
          <p:nvPr>
            <p:ph type="body" idx="1"/>
          </p:nvPr>
        </p:nvSpPr>
        <p:spPr>
          <a:xfrm>
            <a:off x="1981200" y="1600201"/>
            <a:ext cx="8229600" cy="5305425"/>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uman brain solves these kind of problems in a cognitive way:</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re is no explicit algorithm</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i="1"/>
              <a:t>A prioi</a:t>
            </a:r>
            <a:r>
              <a:rPr lang="en-GB" altLang="sv-SE"/>
              <a:t> “common sense” information is often used, but in an implict way</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method is clearly adaptive, as we learn over time</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ardware (the brain!) is pretty important and is not like a regular computer</a:t>
            </a:r>
          </a:p>
          <a:p>
            <a:pPr lvl="1">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a:p>
            <a:pPr lvl="1">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Importance of Data</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6C59AF-B806-47B9-9FF2-0EAD0FBEA708}"/>
              </a:ext>
            </a:extLst>
          </p:cNvPr>
          <p:cNvSpPr>
            <a:spLocks noGrp="1"/>
          </p:cNvSpPr>
          <p:nvPr>
            <p:ph type="body" sz="quarter" idx="11"/>
          </p:nvPr>
        </p:nvSpPr>
        <p:spPr/>
        <p:txBody>
          <a:bodyPr/>
          <a:lstStyle/>
          <a:p>
            <a:r>
              <a:rPr lang="sv-SE" dirty="0"/>
              <a:t>Some history might help us to understand the changes of the future</a:t>
            </a:r>
          </a:p>
        </p:txBody>
      </p:sp>
    </p:spTree>
    <p:extLst>
      <p:ext uri="{BB962C8B-B14F-4D97-AF65-F5344CB8AC3E}">
        <p14:creationId xmlns:p14="http://schemas.microsoft.com/office/powerpoint/2010/main" val="2638015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Sensors</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are not going to look at sensors and hardware signal processing in this course</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assume that data has been collected using a camera, microphone or some other apparatus and that analogue information has been digitised</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A raw data set from a sensor is often very large and noisy</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AI and Neural nets</a:t>
            </a:r>
            <a:endParaRPr lang="pt-PT" dirty="0"/>
          </a:p>
        </p:txBody>
      </p:sp>
    </p:spTree>
    <p:extLst>
      <p:ext uri="{BB962C8B-B14F-4D97-AF65-F5344CB8AC3E}">
        <p14:creationId xmlns:p14="http://schemas.microsoft.com/office/powerpoint/2010/main" val="26731965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y we don’t simply simulate humain’s brain ?</a:t>
            </a:r>
          </a:p>
          <a:p>
            <a:pPr lvl="1"/>
            <a:r>
              <a:rPr lang="sv-SE" altLang="sv-SE" dirty="0"/>
              <a:t>Car crash simulations</a:t>
            </a:r>
          </a:p>
          <a:p>
            <a:pPr lvl="1"/>
            <a:r>
              <a:rPr lang="sv-SE" altLang="sv-SE" dirty="0"/>
              <a:t>Aerodynamics of windmills</a:t>
            </a:r>
          </a:p>
          <a:p>
            <a:pPr lvl="1"/>
            <a:r>
              <a:rPr lang="sv-SE" altLang="sv-SE" dirty="0"/>
              <a:t>No governing equations</a:t>
            </a:r>
          </a:p>
        </p:txBody>
      </p:sp>
    </p:spTree>
    <p:extLst>
      <p:ext uri="{BB962C8B-B14F-4D97-AF65-F5344CB8AC3E}">
        <p14:creationId xmlns:p14="http://schemas.microsoft.com/office/powerpoint/2010/main" val="114829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Neural Nets</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Artificial Neural Nets</a:t>
            </a:r>
          </a:p>
          <a:p>
            <a:pPr lvl="1"/>
            <a:r>
              <a:rPr lang="sv-SE" altLang="sv-SE" dirty="0"/>
              <a:t>All nodes connected to all nodes in next layer</a:t>
            </a:r>
          </a:p>
          <a:p>
            <a:pPr lvl="1"/>
            <a:r>
              <a:rPr lang="sv-SE" altLang="sv-SE" dirty="0"/>
              <a:t>Second best solution to every problem</a:t>
            </a:r>
          </a:p>
          <a:p>
            <a:pPr eaLnBrk="1" hangingPunct="1"/>
            <a:r>
              <a:rPr lang="sv-SE" altLang="sv-SE" dirty="0"/>
              <a:t>Recurrent Neural Nets</a:t>
            </a:r>
          </a:p>
          <a:p>
            <a:pPr lvl="1"/>
            <a:r>
              <a:rPr lang="sv-SE" altLang="sv-SE" dirty="0"/>
              <a:t>With stream of data</a:t>
            </a:r>
          </a:p>
          <a:p>
            <a:pPr lvl="1"/>
            <a:r>
              <a:rPr lang="sv-SE" altLang="sv-SE" dirty="0"/>
              <a:t>Voice detection</a:t>
            </a:r>
          </a:p>
          <a:p>
            <a:pPr lvl="1"/>
            <a:r>
              <a:rPr lang="sv-SE" altLang="sv-SE" dirty="0"/>
              <a:t>Prediction of maintanence</a:t>
            </a:r>
          </a:p>
          <a:p>
            <a:pPr lvl="1"/>
            <a:endParaRPr lang="sv-SE" altLang="sv-SE" dirty="0"/>
          </a:p>
          <a:p>
            <a:pPr eaLnBrk="1" hangingPunct="1"/>
            <a:endParaRPr lang="sv-SE" altLang="sv-SE" dirty="0"/>
          </a:p>
        </p:txBody>
      </p:sp>
    </p:spTree>
    <p:extLst>
      <p:ext uri="{BB962C8B-B14F-4D97-AF65-F5344CB8AC3E}">
        <p14:creationId xmlns:p14="http://schemas.microsoft.com/office/powerpoint/2010/main" val="1591856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y we don’t simply simulate humain’s brain ?</a:t>
            </a:r>
          </a:p>
          <a:p>
            <a:pPr lvl="1"/>
            <a:r>
              <a:rPr lang="sv-SE" altLang="sv-SE" dirty="0"/>
              <a:t>Car crash simulations</a:t>
            </a:r>
          </a:p>
          <a:p>
            <a:pPr lvl="1"/>
            <a:r>
              <a:rPr lang="sv-SE" altLang="sv-SE" dirty="0"/>
              <a:t>Aerodynamics of windmills</a:t>
            </a:r>
          </a:p>
          <a:p>
            <a:pPr lvl="1"/>
            <a:r>
              <a:rPr lang="sv-SE" altLang="sv-SE" dirty="0"/>
              <a:t>No governing equations</a:t>
            </a:r>
          </a:p>
        </p:txBody>
      </p:sp>
    </p:spTree>
    <p:extLst>
      <p:ext uri="{BB962C8B-B14F-4D97-AF65-F5344CB8AC3E}">
        <p14:creationId xmlns:p14="http://schemas.microsoft.com/office/powerpoint/2010/main" val="24957192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Python for data scientists</a:t>
            </a:r>
            <a:endParaRPr lang="pt-PT" dirty="0"/>
          </a:p>
        </p:txBody>
      </p:sp>
    </p:spTree>
    <p:extLst>
      <p:ext uri="{BB962C8B-B14F-4D97-AF65-F5344CB8AC3E}">
        <p14:creationId xmlns:p14="http://schemas.microsoft.com/office/powerpoint/2010/main" val="1489958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Why python </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mple to learn</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milar syntax to </a:t>
            </a:r>
            <a:r>
              <a:rPr lang="en-GB" altLang="sv-SE" dirty="0" err="1"/>
              <a:t>Matlab</a:t>
            </a:r>
            <a:r>
              <a:rPr lang="en-GB" altLang="sv-SE" dirty="0"/>
              <a:t> making switch simple for people used to scientific computing</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Well developed libraries</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p:txBody>
      </p:sp>
    </p:spTree>
    <p:extLst>
      <p:ext uri="{BB962C8B-B14F-4D97-AF65-F5344CB8AC3E}">
        <p14:creationId xmlns:p14="http://schemas.microsoft.com/office/powerpoint/2010/main" val="70788112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How python </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Developed with readability in focus</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Indentation important</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Non declarative</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Object oriented, functional or </a:t>
            </a:r>
            <a:r>
              <a:rPr lang="en-GB" altLang="sv-SE" dirty="0" err="1"/>
              <a:t>precedural</a:t>
            </a:r>
            <a:endParaRPr lang="en-GB" altLang="sv-SE" dirty="0"/>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p:txBody>
      </p:sp>
    </p:spTree>
    <p:extLst>
      <p:ext uri="{BB962C8B-B14F-4D97-AF65-F5344CB8AC3E}">
        <p14:creationId xmlns:p14="http://schemas.microsoft.com/office/powerpoint/2010/main" val="105528833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Syntax and naming</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normAutofit fontScale="92500" lnSpcReduction="10000"/>
          </a:bodyPr>
          <a:lstStyle/>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is used for starting a comment line</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Multi line comment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a = 1 # set a to 1</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a += 1 # add 1 to a</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c = a*a + a**2 # multiply and take the square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b = [0,2,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def </a:t>
            </a:r>
            <a:r>
              <a:rPr lang="en-GB" altLang="sv-SE" dirty="0" err="1"/>
              <a:t>func</a:t>
            </a:r>
            <a:r>
              <a:rPr lang="en-GB" altLang="sv-SE" dirty="0"/>
              <a:t>(</a:t>
            </a:r>
            <a:r>
              <a:rPr lang="en-GB" altLang="sv-SE" dirty="0" err="1"/>
              <a:t>val</a:t>
            </a:r>
            <a:r>
              <a:rPr lang="en-GB" altLang="sv-SE" dirty="0"/>
              <a:t>):</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print(</a:t>
            </a:r>
            <a:r>
              <a:rPr lang="en-GB" altLang="sv-SE" dirty="0" err="1"/>
              <a:t>val</a:t>
            </a:r>
            <a:r>
              <a:rPr lang="en-GB" altLang="sv-SE" dirty="0"/>
              <a:t>)</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err="1"/>
              <a:t>func</a:t>
            </a:r>
            <a:r>
              <a:rPr lang="en-GB" altLang="sv-SE" dirty="0"/>
              <a:t>(9)</a:t>
            </a:r>
          </a:p>
        </p:txBody>
      </p:sp>
    </p:spTree>
    <p:extLst>
      <p:ext uri="{BB962C8B-B14F-4D97-AF65-F5344CB8AC3E}">
        <p14:creationId xmlns:p14="http://schemas.microsoft.com/office/powerpoint/2010/main" val="106646802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a:xfrm>
            <a:off x="609601" y="4385066"/>
            <a:ext cx="10923638" cy="1317643"/>
          </a:xfrm>
        </p:spPr>
        <p:txBody>
          <a:bodyPr vert="horz" lIns="91440" tIns="45720" rIns="91440" bIns="45720" rtlCol="0" anchor="b">
            <a:normAutofit/>
          </a:bodyPr>
          <a:lstStyle/>
          <a:p>
            <a:r>
              <a:rPr lang="en-US" altLang="sv-SE" sz="6600" kern="1200" dirty="0">
                <a:solidFill>
                  <a:schemeClr val="tx1"/>
                </a:solidFill>
                <a:latin typeface="+mj-lt"/>
                <a:ea typeface="+mj-ea"/>
                <a:cs typeface="+mj-cs"/>
              </a:rPr>
              <a:t>Industrial revolution	</a:t>
            </a:r>
          </a:p>
        </p:txBody>
      </p:sp>
      <p:pic>
        <p:nvPicPr>
          <p:cNvPr id="3078" name="Picture 6" descr="Picture">
            <a:extLst>
              <a:ext uri="{FF2B5EF4-FFF2-40B4-BE49-F238E27FC236}">
                <a16:creationId xmlns:a16="http://schemas.microsoft.com/office/drawing/2014/main" id="{03440D2D-D0B4-4EBF-A620-1DF28ADBAF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397" r="25261" b="2"/>
          <a:stretch/>
        </p:blipFill>
        <p:spPr bwMode="auto">
          <a:xfrm>
            <a:off x="20" y="10"/>
            <a:ext cx="3008514" cy="425735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icture">
            <a:extLst>
              <a:ext uri="{FF2B5EF4-FFF2-40B4-BE49-F238E27FC236}">
                <a16:creationId xmlns:a16="http://schemas.microsoft.com/office/drawing/2014/main" id="{19887954-E2B2-41F2-9480-AAB0A56BF66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126" r="17136" b="1"/>
          <a:stretch/>
        </p:blipFill>
        <p:spPr bwMode="auto">
          <a:xfrm>
            <a:off x="3061261" y="10"/>
            <a:ext cx="3008534" cy="426109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Picture">
            <a:extLst>
              <a:ext uri="{FF2B5EF4-FFF2-40B4-BE49-F238E27FC236}">
                <a16:creationId xmlns:a16="http://schemas.microsoft.com/office/drawing/2014/main" id="{B2F5D3A2-9EC1-42E5-B070-FF7B11ED310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828" r="27731" b="-2"/>
          <a:stretch/>
        </p:blipFill>
        <p:spPr bwMode="auto">
          <a:xfrm>
            <a:off x="6122522" y="10"/>
            <a:ext cx="3008376" cy="4261094"/>
          </a:xfrm>
          <a:prstGeom prst="rect">
            <a:avLst/>
          </a:prstGeom>
          <a:noFill/>
          <a:extLst>
            <a:ext uri="{909E8E84-426E-40DD-AFC4-6F175D3DCCD1}">
              <a14:hiddenFill xmlns:a14="http://schemas.microsoft.com/office/drawing/2010/main">
                <a:solidFill>
                  <a:srgbClr val="FFFFFF"/>
                </a:solidFill>
              </a14:hiddenFill>
            </a:ext>
          </a:extLst>
        </p:spPr>
      </p:pic>
      <p:cxnSp>
        <p:nvCxnSpPr>
          <p:cNvPr id="6148" name="Straight Connector 74">
            <a:extLst>
              <a:ext uri="{FF2B5EF4-FFF2-40B4-BE49-F238E27FC236}">
                <a16:creationId xmlns:a16="http://schemas.microsoft.com/office/drawing/2014/main" id="{EBAD6A72-88E8-42F7-88B9-CAF744536B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82614" y="-680"/>
            <a:ext cx="0" cy="4242816"/>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pic>
        <p:nvPicPr>
          <p:cNvPr id="3080" name="Picture 8" descr="Picture">
            <a:extLst>
              <a:ext uri="{FF2B5EF4-FFF2-40B4-BE49-F238E27FC236}">
                <a16:creationId xmlns:a16="http://schemas.microsoft.com/office/drawing/2014/main" id="{F6EFA26B-B207-405F-B205-E12F7B9D2E5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992" r="19471" b="1"/>
          <a:stretch/>
        </p:blipFill>
        <p:spPr bwMode="auto">
          <a:xfrm>
            <a:off x="9183624" y="10"/>
            <a:ext cx="3008376" cy="4261094"/>
          </a:xfrm>
          <a:prstGeom prst="rect">
            <a:avLst/>
          </a:prstGeom>
          <a:noFill/>
          <a:extLst>
            <a:ext uri="{909E8E84-426E-40DD-AFC4-6F175D3DCCD1}">
              <a14:hiddenFill xmlns:a14="http://schemas.microsoft.com/office/drawing/2010/main">
                <a:solidFill>
                  <a:srgbClr val="FFFFFF"/>
                </a:solidFill>
              </a14:hiddenFill>
            </a:ext>
          </a:extLst>
        </p:spPr>
      </p:pic>
      <p:cxnSp>
        <p:nvCxnSpPr>
          <p:cNvPr id="6149" name="Straight Connector 76">
            <a:extLst>
              <a:ext uri="{FF2B5EF4-FFF2-40B4-BE49-F238E27FC236}">
                <a16:creationId xmlns:a16="http://schemas.microsoft.com/office/drawing/2014/main" id="{C800968E-0A99-46C4-A9B2-6A63AC66F4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 y="4242136"/>
            <a:ext cx="12192002"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627B73E-D784-4780-AA33-DCDFE7DA16E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027921" y="-680"/>
            <a:ext cx="0" cy="4242816"/>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9FF1850-8D1E-4E84-BD9E-F2E90695850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137307" y="-680"/>
            <a:ext cx="0" cy="4242816"/>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4263634"/>
      </p:ext>
    </p:extLst>
  </p:cSld>
  <p:clrMapOvr>
    <a:overrideClrMapping bg1="dk1" tx1="lt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2799347" y="2286000"/>
            <a:ext cx="8229600" cy="1143000"/>
          </a:xfrm>
        </p:spPr>
        <p:txBody>
          <a:bodyP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Lets do some coding!</a:t>
            </a:r>
          </a:p>
        </p:txBody>
      </p:sp>
    </p:spTree>
    <p:extLst>
      <p:ext uri="{BB962C8B-B14F-4D97-AF65-F5344CB8AC3E}">
        <p14:creationId xmlns:p14="http://schemas.microsoft.com/office/powerpoint/2010/main" val="145480439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sp>
        <p:nvSpPr>
          <p:cNvPr id="2" name="Text Placeholder 1"/>
          <p:cNvSpPr>
            <a:spLocks noGrp="1"/>
          </p:cNvSpPr>
          <p:nvPr>
            <p:ph type="body" sz="quarter" idx="10"/>
          </p:nvPr>
        </p:nvSpPr>
        <p:spPr/>
        <p:txBody>
          <a:body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a:p>
            <a:pPr marL="225425" indent="-225425">
              <a:buClr>
                <a:schemeClr val="tx2"/>
              </a:buClr>
              <a:buFont typeface="Wingdings" panose="05000000000000000000" pitchFamily="2" charset="2"/>
              <a:buChar char="§"/>
            </a:pPr>
            <a:endParaRPr lang="pt-PT" dirty="0"/>
          </a:p>
        </p:txBody>
      </p:sp>
    </p:spTree>
    <p:extLst>
      <p:ext uri="{BB962C8B-B14F-4D97-AF65-F5344CB8AC3E}">
        <p14:creationId xmlns:p14="http://schemas.microsoft.com/office/powerpoint/2010/main" val="30821671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D1BC81-B0CA-49DC-9E5F-F55AA790482A}"/>
              </a:ext>
            </a:extLst>
          </p:cNvPr>
          <p:cNvSpPr>
            <a:spLocks noGrp="1"/>
          </p:cNvSpPr>
          <p:nvPr>
            <p:ph type="body" sz="quarter" idx="10"/>
          </p:nvPr>
        </p:nvSpPr>
        <p:spPr/>
        <p:txBody>
          <a:bodyPr/>
          <a:lstStyle/>
          <a:p>
            <a:r>
              <a:rPr lang="en-US" dirty="0"/>
              <a:t>Click to insert long text</a:t>
            </a:r>
            <a:endParaRPr lang="pt-PT" dirty="0"/>
          </a:p>
        </p:txBody>
      </p:sp>
      <p:sp>
        <p:nvSpPr>
          <p:cNvPr id="6" name="Text Placeholder 5">
            <a:extLst>
              <a:ext uri="{FF2B5EF4-FFF2-40B4-BE49-F238E27FC236}">
                <a16:creationId xmlns:a16="http://schemas.microsoft.com/office/drawing/2014/main" id="{4D0680E3-AA32-4CF6-8F32-34091BD0DD6D}"/>
              </a:ext>
            </a:extLst>
          </p:cNvPr>
          <p:cNvSpPr>
            <a:spLocks noGrp="1"/>
          </p:cNvSpPr>
          <p:nvPr>
            <p:ph type="body" sz="quarter" idx="11"/>
          </p:nvPr>
        </p:nvSpPr>
        <p:spPr/>
        <p:txBody>
          <a:bodyPr/>
          <a:lstStyle/>
          <a:p>
            <a:r>
              <a:rPr lang="en-US" dirty="0"/>
              <a:t>Click to insert long text</a:t>
            </a:r>
            <a:endParaRPr lang="pt-PT" dirty="0"/>
          </a:p>
        </p:txBody>
      </p:sp>
      <p:sp>
        <p:nvSpPr>
          <p:cNvPr id="8" name="Text Placeholder 7">
            <a:extLst>
              <a:ext uri="{FF2B5EF4-FFF2-40B4-BE49-F238E27FC236}">
                <a16:creationId xmlns:a16="http://schemas.microsoft.com/office/drawing/2014/main" id="{685DA84B-712F-4997-B040-EA16BEA93F9C}"/>
              </a:ext>
            </a:extLst>
          </p:cNvPr>
          <p:cNvSpPr>
            <a:spLocks noGrp="1"/>
          </p:cNvSpPr>
          <p:nvPr>
            <p:ph type="body" sz="quarter" idx="12"/>
          </p:nvPr>
        </p:nvSpPr>
        <p:spPr/>
        <p:txBody>
          <a:bodyPr/>
          <a:lstStyle/>
          <a:p>
            <a:r>
              <a:rPr lang="en-US" dirty="0"/>
              <a:t>Click to insert title</a:t>
            </a:r>
            <a:endParaRPr lang="pt-PT" dirty="0"/>
          </a:p>
        </p:txBody>
      </p:sp>
      <p:sp>
        <p:nvSpPr>
          <p:cNvPr id="9" name="Text Placeholder 8">
            <a:extLst>
              <a:ext uri="{FF2B5EF4-FFF2-40B4-BE49-F238E27FC236}">
                <a16:creationId xmlns:a16="http://schemas.microsoft.com/office/drawing/2014/main" id="{B1109344-6411-4EAD-894D-CED220223FAE}"/>
              </a:ext>
            </a:extLst>
          </p:cNvPr>
          <p:cNvSpPr>
            <a:spLocks noGrp="1"/>
          </p:cNvSpPr>
          <p:nvPr>
            <p:ph type="body" sz="quarter" idx="13"/>
          </p:nvPr>
        </p:nvSpPr>
        <p:spPr/>
        <p:txBody>
          <a:bodyPr/>
          <a:lstStyle/>
          <a:p>
            <a:r>
              <a:rPr lang="en-US" dirty="0"/>
              <a:t>Click to insert title</a:t>
            </a:r>
            <a:endParaRPr lang="pt-PT" dirty="0"/>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cxnSp>
        <p:nvCxnSpPr>
          <p:cNvPr id="7"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20991"/>
            <a:ext cx="0" cy="5030987"/>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8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906432-6E9E-476C-8F6E-5171A8733353}"/>
              </a:ext>
            </a:extLst>
          </p:cNvPr>
          <p:cNvSpPr>
            <a:spLocks noGrp="1"/>
          </p:cNvSpPr>
          <p:nvPr>
            <p:ph type="body" sz="quarter" idx="13"/>
          </p:nvPr>
        </p:nvSpPr>
        <p:spPr>
          <a:xfrm>
            <a:off x="407987" y="1423337"/>
            <a:ext cx="3584661" cy="412363"/>
          </a:xfrm>
        </p:spPr>
        <p:txBody>
          <a:bodyPr anchor="t" anchorCtr="0"/>
          <a:lstStyle/>
          <a:p>
            <a:r>
              <a:rPr lang="en-US" dirty="0"/>
              <a:t>Click to insert title</a:t>
            </a:r>
            <a:endParaRPr lang="pt-PT" dirty="0"/>
          </a:p>
        </p:txBody>
      </p:sp>
      <p:sp>
        <p:nvSpPr>
          <p:cNvPr id="10" name="Text Placeholder 9">
            <a:extLst>
              <a:ext uri="{FF2B5EF4-FFF2-40B4-BE49-F238E27FC236}">
                <a16:creationId xmlns:a16="http://schemas.microsoft.com/office/drawing/2014/main" id="{0D603F4E-5E33-4D2E-B276-070E85DFEC06}"/>
              </a:ext>
            </a:extLst>
          </p:cNvPr>
          <p:cNvSpPr>
            <a:spLocks noGrp="1"/>
          </p:cNvSpPr>
          <p:nvPr>
            <p:ph type="body" sz="quarter" idx="27"/>
          </p:nvPr>
        </p:nvSpPr>
        <p:spPr/>
        <p:txBody>
          <a:bodyPr anchor="t" anchorCtr="0"/>
          <a:lstStyle/>
          <a:p>
            <a:r>
              <a:rPr lang="en-US" dirty="0"/>
              <a:t>Click to insert title</a:t>
            </a:r>
            <a:endParaRPr lang="pt-PT" dirty="0"/>
          </a:p>
        </p:txBody>
      </p:sp>
      <p:sp>
        <p:nvSpPr>
          <p:cNvPr id="12" name="Text Placeholder 11">
            <a:extLst>
              <a:ext uri="{FF2B5EF4-FFF2-40B4-BE49-F238E27FC236}">
                <a16:creationId xmlns:a16="http://schemas.microsoft.com/office/drawing/2014/main" id="{D43678CA-BC8E-405A-B719-D87E98C45F07}"/>
              </a:ext>
            </a:extLst>
          </p:cNvPr>
          <p:cNvSpPr>
            <a:spLocks noGrp="1"/>
          </p:cNvSpPr>
          <p:nvPr>
            <p:ph type="body" sz="quarter" idx="29"/>
          </p:nvPr>
        </p:nvSpPr>
        <p:spPr/>
        <p:txBody>
          <a:bodyPr anchor="t" anchorCtr="0"/>
          <a:lstStyle/>
          <a:p>
            <a:r>
              <a:rPr lang="en-US" dirty="0"/>
              <a:t>Click to insert title</a:t>
            </a:r>
            <a:endParaRPr lang="pt-PT" dirty="0"/>
          </a:p>
        </p:txBody>
      </p:sp>
      <p:sp>
        <p:nvSpPr>
          <p:cNvPr id="14" name="Text Placeholder 13">
            <a:extLst>
              <a:ext uri="{FF2B5EF4-FFF2-40B4-BE49-F238E27FC236}">
                <a16:creationId xmlns:a16="http://schemas.microsoft.com/office/drawing/2014/main" id="{8FBA0AFE-320C-4DB4-8199-D0846F3D6602}"/>
              </a:ext>
            </a:extLst>
          </p:cNvPr>
          <p:cNvSpPr>
            <a:spLocks noGrp="1"/>
          </p:cNvSpPr>
          <p:nvPr>
            <p:ph type="body" sz="quarter" idx="31"/>
          </p:nvPr>
        </p:nvSpPr>
        <p:spPr/>
        <p:txBody>
          <a:bodyPr/>
          <a:lstStyle/>
          <a:p>
            <a:r>
              <a:rPr lang="en-US" dirty="0"/>
              <a:t>Click to insert title</a:t>
            </a:r>
            <a:endParaRPr lang="pt-PT" dirty="0"/>
          </a:p>
        </p:txBody>
      </p:sp>
      <p:sp>
        <p:nvSpPr>
          <p:cNvPr id="15" name="Text Placeholder 14">
            <a:extLst>
              <a:ext uri="{FF2B5EF4-FFF2-40B4-BE49-F238E27FC236}">
                <a16:creationId xmlns:a16="http://schemas.microsoft.com/office/drawing/2014/main" id="{AEBDA25C-3B05-4C71-8A88-56071D3CA4C8}"/>
              </a:ext>
            </a:extLst>
          </p:cNvPr>
          <p:cNvSpPr>
            <a:spLocks noGrp="1"/>
          </p:cNvSpPr>
          <p:nvPr>
            <p:ph type="body" sz="quarter" idx="32"/>
          </p:nvPr>
        </p:nvSpPr>
        <p:spPr/>
        <p:txBody>
          <a:bodyPr/>
          <a:lstStyle/>
          <a:p>
            <a:r>
              <a:rPr lang="en-US" dirty="0"/>
              <a:t>Click to insert long text</a:t>
            </a:r>
            <a:endParaRPr lang="pt-PT" dirty="0"/>
          </a:p>
        </p:txBody>
      </p:sp>
      <p:sp>
        <p:nvSpPr>
          <p:cNvPr id="7" name="Title 6">
            <a:extLst>
              <a:ext uri="{FF2B5EF4-FFF2-40B4-BE49-F238E27FC236}">
                <a16:creationId xmlns:a16="http://schemas.microsoft.com/office/drawing/2014/main" id="{117C619B-D65D-49AC-901C-78B4D07C0378}"/>
              </a:ext>
            </a:extLst>
          </p:cNvPr>
          <p:cNvSpPr>
            <a:spLocks noGrp="1"/>
          </p:cNvSpPr>
          <p:nvPr>
            <p:ph type="title"/>
          </p:nvPr>
        </p:nvSpPr>
        <p:spPr/>
        <p:txBody>
          <a:bodyPr/>
          <a:lstStyle/>
          <a:p>
            <a:r>
              <a:rPr lang="en-US" dirty="0"/>
              <a:t>Click to insert title</a:t>
            </a:r>
            <a:endParaRPr lang="pt-PT" dirty="0"/>
          </a:p>
        </p:txBody>
      </p:sp>
      <p:sp>
        <p:nvSpPr>
          <p:cNvPr id="8" name="Text Placeholder 7">
            <a:extLst>
              <a:ext uri="{FF2B5EF4-FFF2-40B4-BE49-F238E27FC236}">
                <a16:creationId xmlns:a16="http://schemas.microsoft.com/office/drawing/2014/main" id="{60F1C059-878A-459E-A04F-65329A6326A0}"/>
              </a:ext>
            </a:extLst>
          </p:cNvPr>
          <p:cNvSpPr>
            <a:spLocks noGrp="1"/>
          </p:cNvSpPr>
          <p:nvPr>
            <p:ph type="body" sz="quarter" idx="33"/>
          </p:nvPr>
        </p:nvSpPr>
        <p:spPr/>
        <p:txBody>
          <a:bodyPr/>
          <a:lstStyle/>
          <a:p>
            <a:r>
              <a:rPr lang="en-US" dirty="0"/>
              <a:t>Click to insert long text</a:t>
            </a:r>
            <a:endParaRPr lang="pt-PT" dirty="0"/>
          </a:p>
        </p:txBody>
      </p:sp>
      <p:sp>
        <p:nvSpPr>
          <p:cNvPr id="11" name="Text Placeholder 10">
            <a:extLst>
              <a:ext uri="{FF2B5EF4-FFF2-40B4-BE49-F238E27FC236}">
                <a16:creationId xmlns:a16="http://schemas.microsoft.com/office/drawing/2014/main" id="{86A983FF-459F-499F-AE41-98CD6CE11677}"/>
              </a:ext>
            </a:extLst>
          </p:cNvPr>
          <p:cNvSpPr>
            <a:spLocks noGrp="1"/>
          </p:cNvSpPr>
          <p:nvPr>
            <p:ph type="body" sz="quarter" idx="34"/>
          </p:nvPr>
        </p:nvSpPr>
        <p:spPr/>
        <p:txBody>
          <a:bodyPr/>
          <a:lstStyle/>
          <a:p>
            <a:r>
              <a:rPr lang="en-US" dirty="0"/>
              <a:t>Click to insert long text</a:t>
            </a:r>
            <a:endParaRPr lang="pt-PT" dirty="0"/>
          </a:p>
        </p:txBody>
      </p:sp>
      <p:sp>
        <p:nvSpPr>
          <p:cNvPr id="13" name="Text Placeholder 12">
            <a:extLst>
              <a:ext uri="{FF2B5EF4-FFF2-40B4-BE49-F238E27FC236}">
                <a16:creationId xmlns:a16="http://schemas.microsoft.com/office/drawing/2014/main" id="{CEC34AD5-482C-464F-B66D-EE9142C8B27D}"/>
              </a:ext>
            </a:extLst>
          </p:cNvPr>
          <p:cNvSpPr>
            <a:spLocks noGrp="1"/>
          </p:cNvSpPr>
          <p:nvPr>
            <p:ph type="body" sz="quarter" idx="35"/>
          </p:nvPr>
        </p:nvSpPr>
        <p:spPr/>
        <p:txBody>
          <a:bodyPr/>
          <a:lstStyle/>
          <a:p>
            <a:r>
              <a:rPr lang="en-US" dirty="0"/>
              <a:t>Click to insert long text</a:t>
            </a:r>
            <a:endParaRPr lang="pt-PT" dirty="0"/>
          </a:p>
        </p:txBody>
      </p:sp>
      <p:cxnSp>
        <p:nvCxnSpPr>
          <p:cNvPr id="16" name="Conector reto 49">
            <a:extLst>
              <a:ext uri="{FF2B5EF4-FFF2-40B4-BE49-F238E27FC236}">
                <a16:creationId xmlns:a16="http://schemas.microsoft.com/office/drawing/2014/main" id="{16805C85-3AE3-4D2D-B17A-C981C36D96E0}"/>
              </a:ext>
            </a:extLst>
          </p:cNvPr>
          <p:cNvCxnSpPr>
            <a:cxnSpLocks/>
          </p:cNvCxnSpPr>
          <p:nvPr/>
        </p:nvCxnSpPr>
        <p:spPr>
          <a:xfrm flipV="1">
            <a:off x="3976915" y="1412875"/>
            <a:ext cx="0" cy="2628901"/>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7" name="Conector reto 49">
            <a:extLst>
              <a:ext uri="{FF2B5EF4-FFF2-40B4-BE49-F238E27FC236}">
                <a16:creationId xmlns:a16="http://schemas.microsoft.com/office/drawing/2014/main" id="{26068403-AC11-4E26-A369-504721311622}"/>
              </a:ext>
            </a:extLst>
          </p:cNvPr>
          <p:cNvCxnSpPr>
            <a:cxnSpLocks/>
          </p:cNvCxnSpPr>
          <p:nvPr/>
        </p:nvCxnSpPr>
        <p:spPr>
          <a:xfrm flipV="1">
            <a:off x="8084458" y="1423337"/>
            <a:ext cx="0" cy="2618439"/>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76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FA1266-C342-4169-A88F-97489206098B}"/>
              </a:ext>
            </a:extLst>
          </p:cNvPr>
          <p:cNvSpPr/>
          <p:nvPr/>
        </p:nvSpPr>
        <p:spPr>
          <a:xfrm>
            <a:off x="1504710" y="4906365"/>
            <a:ext cx="10279302" cy="1128258"/>
          </a:xfrm>
          <a:prstGeom prst="roundRect">
            <a:avLst>
              <a:gd name="adj" fmla="val 203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138D5B75-435E-4E5B-BB10-0F50118C0ADB}"/>
              </a:ext>
            </a:extLst>
          </p:cNvPr>
          <p:cNvSpPr/>
          <p:nvPr/>
        </p:nvSpPr>
        <p:spPr>
          <a:xfrm>
            <a:off x="1504710" y="1910357"/>
            <a:ext cx="10279304" cy="1128258"/>
          </a:xfrm>
          <a:prstGeom prst="roundRect">
            <a:avLst>
              <a:gd name="adj" fmla="val 3361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19E00A7-18D1-4A27-AE7C-87096C821EE4}"/>
              </a:ext>
            </a:extLst>
          </p:cNvPr>
          <p:cNvSpPr>
            <a:spLocks noGrp="1"/>
          </p:cNvSpPr>
          <p:nvPr>
            <p:ph type="body" sz="quarter" idx="16"/>
          </p:nvPr>
        </p:nvSpPr>
        <p:spPr/>
        <p:txBody>
          <a:bodyPr/>
          <a:lstStyle/>
          <a:p>
            <a:r>
              <a:rPr lang="en-US" dirty="0"/>
              <a:t>Click to insert text</a:t>
            </a:r>
            <a:endParaRPr lang="pt-PT" dirty="0"/>
          </a:p>
        </p:txBody>
      </p:sp>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4" name="Table Placeholder 3"/>
          <p:cNvSpPr>
            <a:spLocks noGrp="1"/>
          </p:cNvSpPr>
          <p:nvPr>
            <p:ph type="tbl" sz="quarter" idx="17"/>
          </p:nvPr>
        </p:nvSpPr>
        <p:spPr/>
      </p:sp>
      <p:graphicFrame>
        <p:nvGraphicFramePr>
          <p:cNvPr id="10" name="Table Placeholder 4">
            <a:extLst>
              <a:ext uri="{FF2B5EF4-FFF2-40B4-BE49-F238E27FC236}">
                <a16:creationId xmlns:a16="http://schemas.microsoft.com/office/drawing/2014/main" id="{06023993-9078-470E-80B8-AF177564FBDC}"/>
              </a:ext>
            </a:extLst>
          </p:cNvPr>
          <p:cNvGraphicFramePr>
            <a:graphicFrameLocks/>
          </p:cNvGraphicFramePr>
          <p:nvPr>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US"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lnSpc>
                          <a:spcPts val="1400"/>
                        </a:lnSpc>
                      </a:pPr>
                      <a:r>
                        <a:rPr lang="en-US"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US"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10751184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47F42EC-C83D-4615-BDBC-32991AAFC708}"/>
              </a:ext>
            </a:extLst>
          </p:cNvPr>
          <p:cNvSpPr/>
          <p:nvPr/>
        </p:nvSpPr>
        <p:spPr>
          <a:xfrm>
            <a:off x="407988" y="2006010"/>
            <a:ext cx="5543549"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ED542150-A4D9-403B-985D-A63B1FD4F279}"/>
              </a:ext>
            </a:extLst>
          </p:cNvPr>
          <p:cNvSpPr/>
          <p:nvPr/>
        </p:nvSpPr>
        <p:spPr>
          <a:xfrm>
            <a:off x="6240463" y="2006010"/>
            <a:ext cx="5543550"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9" name="Chart Placeholder 20">
            <a:extLst>
              <a:ext uri="{FF2B5EF4-FFF2-40B4-BE49-F238E27FC236}">
                <a16:creationId xmlns:a16="http://schemas.microsoft.com/office/drawing/2014/main" id="{EAF98D82-0D61-484B-81EA-C031402BA1C0}"/>
              </a:ext>
            </a:extLst>
          </p:cNvPr>
          <p:cNvGraphicFramePr>
            <a:graphicFrameLocks noGrp="1"/>
          </p:cNvGraphicFramePr>
          <p:nvPr>
            <p:ph type="chart" sz="quarter" idx="44"/>
            <p:extLst/>
          </p:nvPr>
        </p:nvGraphicFramePr>
        <p:xfrm>
          <a:off x="407988" y="1873250"/>
          <a:ext cx="5543550" cy="357187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8A17AC-9D1C-4497-A371-0E45C73D2CC1}"/>
              </a:ext>
            </a:extLst>
          </p:cNvPr>
          <p:cNvSpPr>
            <a:spLocks noGrp="1"/>
          </p:cNvSpPr>
          <p:nvPr>
            <p:ph type="body" sz="quarter" idx="41"/>
          </p:nvPr>
        </p:nvSpPr>
        <p:spPr/>
        <p:txBody>
          <a:bodyPr/>
          <a:lstStyle/>
          <a:p>
            <a:r>
              <a:rPr lang="en-US" dirty="0"/>
              <a:t>Click to insert </a:t>
            </a:r>
            <a:r>
              <a:rPr lang="pt-PT"/>
              <a:t>text</a:t>
            </a:r>
            <a:endParaRPr lang="pt-PT" dirty="0"/>
          </a:p>
        </p:txBody>
      </p:sp>
      <p:sp>
        <p:nvSpPr>
          <p:cNvPr id="12" name="Text Placeholder 11">
            <a:extLst>
              <a:ext uri="{FF2B5EF4-FFF2-40B4-BE49-F238E27FC236}">
                <a16:creationId xmlns:a16="http://schemas.microsoft.com/office/drawing/2014/main" id="{850DF0B8-7C85-49FB-A761-A472875F9959}"/>
              </a:ext>
            </a:extLst>
          </p:cNvPr>
          <p:cNvSpPr>
            <a:spLocks noGrp="1"/>
          </p:cNvSpPr>
          <p:nvPr>
            <p:ph type="body" sz="quarter" idx="42"/>
          </p:nvPr>
        </p:nvSpPr>
        <p:spPr/>
        <p:txBody>
          <a:bodyPr/>
          <a:lstStyle/>
          <a:p>
            <a:r>
              <a:rPr lang="en-US" dirty="0"/>
              <a:t>Click to insert </a:t>
            </a:r>
            <a:r>
              <a:rPr lang="pt-PT"/>
              <a:t>text</a:t>
            </a:r>
            <a:endParaRPr lang="pt-PT" dirty="0"/>
          </a:p>
        </p:txBody>
      </p:sp>
      <p:sp>
        <p:nvSpPr>
          <p:cNvPr id="10" name="Text Placeholder 9">
            <a:extLst>
              <a:ext uri="{FF2B5EF4-FFF2-40B4-BE49-F238E27FC236}">
                <a16:creationId xmlns:a16="http://schemas.microsoft.com/office/drawing/2014/main" id="{242D1506-D61B-4D33-A23E-CB233F953BED}"/>
              </a:ext>
            </a:extLst>
          </p:cNvPr>
          <p:cNvSpPr>
            <a:spLocks noGrp="1"/>
          </p:cNvSpPr>
          <p:nvPr>
            <p:ph type="body" sz="quarter" idx="29"/>
          </p:nvPr>
        </p:nvSpPr>
        <p:spPr/>
        <p:txBody>
          <a:bodyPr/>
          <a:lstStyle/>
          <a:p>
            <a:r>
              <a:rPr lang="en-US" dirty="0"/>
              <a:t>Click to insert chart title</a:t>
            </a:r>
            <a:endParaRPr lang="pt-PT" dirty="0"/>
          </a:p>
        </p:txBody>
      </p:sp>
      <p:sp>
        <p:nvSpPr>
          <p:cNvPr id="13" name="Text Placeholder 12">
            <a:extLst>
              <a:ext uri="{FF2B5EF4-FFF2-40B4-BE49-F238E27FC236}">
                <a16:creationId xmlns:a16="http://schemas.microsoft.com/office/drawing/2014/main" id="{8619B0B9-0CA6-4729-90EA-A44559580987}"/>
              </a:ext>
            </a:extLst>
          </p:cNvPr>
          <p:cNvSpPr>
            <a:spLocks noGrp="1"/>
          </p:cNvSpPr>
          <p:nvPr>
            <p:ph type="body" sz="quarter" idx="43"/>
          </p:nvPr>
        </p:nvSpPr>
        <p:spPr/>
        <p:txBody>
          <a:bodyPr/>
          <a:lstStyle/>
          <a:p>
            <a:r>
              <a:rPr lang="en-US" dirty="0"/>
              <a:t>Click to insert chart title</a:t>
            </a:r>
            <a:endParaRPr lang="pt-PT" dirty="0"/>
          </a:p>
        </p:txBody>
      </p:sp>
      <p:graphicFrame>
        <p:nvGraphicFramePr>
          <p:cNvPr id="20" name="Chart Placeholder 20">
            <a:extLst>
              <a:ext uri="{FF2B5EF4-FFF2-40B4-BE49-F238E27FC236}">
                <a16:creationId xmlns:a16="http://schemas.microsoft.com/office/drawing/2014/main" id="{0752A10F-8B85-49D3-BCAC-BC75C447766A}"/>
              </a:ext>
            </a:extLst>
          </p:cNvPr>
          <p:cNvGraphicFramePr>
            <a:graphicFrameLocks noGrp="1"/>
          </p:cNvGraphicFramePr>
          <p:nvPr>
            <p:ph type="chart" sz="quarter" idx="45"/>
            <p:extLst/>
          </p:nvPr>
        </p:nvGraphicFramePr>
        <p:xfrm>
          <a:off x="6240463" y="1873250"/>
          <a:ext cx="5543550" cy="3571875"/>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21">
            <a:extLst>
              <a:ext uri="{FF2B5EF4-FFF2-40B4-BE49-F238E27FC236}">
                <a16:creationId xmlns:a16="http://schemas.microsoft.com/office/drawing/2014/main" id="{5C4E9BE6-5CFD-4182-9276-FFA72B130032}"/>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en-US" dirty="0"/>
          </a:p>
        </p:txBody>
      </p:sp>
    </p:spTree>
    <p:extLst>
      <p:ext uri="{BB962C8B-B14F-4D97-AF65-F5344CB8AC3E}">
        <p14:creationId xmlns:p14="http://schemas.microsoft.com/office/powerpoint/2010/main" val="42765142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A8002E6-B484-40B4-B9A4-62F5567F6687}"/>
              </a:ext>
            </a:extLst>
          </p:cNvPr>
          <p:cNvSpPr/>
          <p:nvPr/>
        </p:nvSpPr>
        <p:spPr>
          <a:xfrm>
            <a:off x="407987" y="1902619"/>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0A8002E6-B484-40B4-B9A4-62F5567F6687}"/>
              </a:ext>
            </a:extLst>
          </p:cNvPr>
          <p:cNvSpPr/>
          <p:nvPr/>
        </p:nvSpPr>
        <p:spPr>
          <a:xfrm>
            <a:off x="6240463" y="1902619"/>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0A8002E6-B484-40B4-B9A4-62F5567F6687}"/>
              </a:ext>
            </a:extLst>
          </p:cNvPr>
          <p:cNvSpPr/>
          <p:nvPr/>
        </p:nvSpPr>
        <p:spPr>
          <a:xfrm>
            <a:off x="407987" y="4511676"/>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a:extLst>
              <a:ext uri="{FF2B5EF4-FFF2-40B4-BE49-F238E27FC236}">
                <a16:creationId xmlns:a16="http://schemas.microsoft.com/office/drawing/2014/main" id="{0A8002E6-B484-40B4-B9A4-62F5567F6687}"/>
              </a:ext>
            </a:extLst>
          </p:cNvPr>
          <p:cNvSpPr/>
          <p:nvPr/>
        </p:nvSpPr>
        <p:spPr>
          <a:xfrm>
            <a:off x="6240463" y="4511676"/>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0" name="Chart Placeholder 19">
            <a:extLst>
              <a:ext uri="{FF2B5EF4-FFF2-40B4-BE49-F238E27FC236}">
                <a16:creationId xmlns:a16="http://schemas.microsoft.com/office/drawing/2014/main" id="{C2617C2C-E871-4571-BEA2-0FBBBC7AA286}"/>
              </a:ext>
            </a:extLst>
          </p:cNvPr>
          <p:cNvGraphicFramePr>
            <a:graphicFrameLocks noGrp="1"/>
          </p:cNvGraphicFramePr>
          <p:nvPr>
            <p:ph type="chart" sz="quarter" idx="10"/>
            <p:extLst/>
          </p:nvPr>
        </p:nvGraphicFramePr>
        <p:xfrm>
          <a:off x="407988" y="1824038"/>
          <a:ext cx="5543550" cy="196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23">
            <a:extLst>
              <a:ext uri="{FF2B5EF4-FFF2-40B4-BE49-F238E27FC236}">
                <a16:creationId xmlns:a16="http://schemas.microsoft.com/office/drawing/2014/main" id="{DE4D4E53-9940-4284-9B58-96FEE49EFA5B}"/>
              </a:ext>
            </a:extLst>
          </p:cNvPr>
          <p:cNvGraphicFramePr>
            <a:graphicFrameLocks noGrp="1"/>
          </p:cNvGraphicFramePr>
          <p:nvPr>
            <p:ph type="chart" sz="quarter" idx="11"/>
            <p:extLst/>
          </p:nvPr>
        </p:nvGraphicFramePr>
        <p:xfrm>
          <a:off x="6240463" y="1824038"/>
          <a:ext cx="5543550" cy="19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Placeholder 29">
            <a:extLst>
              <a:ext uri="{FF2B5EF4-FFF2-40B4-BE49-F238E27FC236}">
                <a16:creationId xmlns:a16="http://schemas.microsoft.com/office/drawing/2014/main" id="{40DFD1D5-79A3-4624-9BE8-E922FA1F60FA}"/>
              </a:ext>
            </a:extLst>
          </p:cNvPr>
          <p:cNvGraphicFramePr>
            <a:graphicFrameLocks noGrp="1"/>
          </p:cNvGraphicFramePr>
          <p:nvPr>
            <p:ph type="chart" sz="quarter" idx="17"/>
            <p:extLst/>
          </p:nvPr>
        </p:nvGraphicFramePr>
        <p:xfrm>
          <a:off x="407988" y="4478338"/>
          <a:ext cx="5543550" cy="19637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Placeholder 33">
            <a:extLst>
              <a:ext uri="{FF2B5EF4-FFF2-40B4-BE49-F238E27FC236}">
                <a16:creationId xmlns:a16="http://schemas.microsoft.com/office/drawing/2014/main" id="{17F82733-4D34-47E4-951E-70E0D903D187}"/>
              </a:ext>
            </a:extLst>
          </p:cNvPr>
          <p:cNvGraphicFramePr>
            <a:graphicFrameLocks noGrp="1"/>
          </p:cNvGraphicFramePr>
          <p:nvPr>
            <p:ph type="chart" sz="quarter" idx="18"/>
            <p:extLst/>
          </p:nvPr>
        </p:nvGraphicFramePr>
        <p:xfrm>
          <a:off x="6240463" y="4478338"/>
          <a:ext cx="5543550" cy="1963737"/>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3">
            <a:extLst>
              <a:ext uri="{FF2B5EF4-FFF2-40B4-BE49-F238E27FC236}">
                <a16:creationId xmlns:a16="http://schemas.microsoft.com/office/drawing/2014/main" id="{BAFBF1BB-4988-42D7-89C4-204C23AA6353}"/>
              </a:ext>
            </a:extLst>
          </p:cNvPr>
          <p:cNvSpPr>
            <a:spLocks noGrp="1"/>
          </p:cNvSpPr>
          <p:nvPr>
            <p:ph type="body" sz="quarter" idx="14"/>
          </p:nvPr>
        </p:nvSpPr>
        <p:spPr/>
        <p:txBody>
          <a:bodyPr/>
          <a:lstStyle/>
          <a:p>
            <a:r>
              <a:rPr lang="en-US" dirty="0"/>
              <a:t>Click to insert chart title</a:t>
            </a:r>
            <a:endParaRPr lang="pt-PT" dirty="0"/>
          </a:p>
        </p:txBody>
      </p:sp>
      <p:sp>
        <p:nvSpPr>
          <p:cNvPr id="15" name="Text Placeholder 14">
            <a:extLst>
              <a:ext uri="{FF2B5EF4-FFF2-40B4-BE49-F238E27FC236}">
                <a16:creationId xmlns:a16="http://schemas.microsoft.com/office/drawing/2014/main" id="{4BE36402-790C-4165-BE4F-3CA3E262617D}"/>
              </a:ext>
            </a:extLst>
          </p:cNvPr>
          <p:cNvSpPr>
            <a:spLocks noGrp="1"/>
          </p:cNvSpPr>
          <p:nvPr>
            <p:ph type="body" sz="quarter" idx="15"/>
          </p:nvPr>
        </p:nvSpPr>
        <p:spPr/>
        <p:txBody>
          <a:bodyPr/>
          <a:lstStyle/>
          <a:p>
            <a:r>
              <a:rPr lang="en-US" dirty="0"/>
              <a:t>Click to insert chart title</a:t>
            </a:r>
            <a:endParaRPr lang="pt-PT" dirty="0"/>
          </a:p>
        </p:txBody>
      </p:sp>
      <p:sp>
        <p:nvSpPr>
          <p:cNvPr id="9" name="Title 8">
            <a:extLst>
              <a:ext uri="{FF2B5EF4-FFF2-40B4-BE49-F238E27FC236}">
                <a16:creationId xmlns:a16="http://schemas.microsoft.com/office/drawing/2014/main" id="{0E087E88-121F-42D5-A3B2-B88C332155D7}"/>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16" name="Text Placeholder 15">
            <a:extLst>
              <a:ext uri="{FF2B5EF4-FFF2-40B4-BE49-F238E27FC236}">
                <a16:creationId xmlns:a16="http://schemas.microsoft.com/office/drawing/2014/main" id="{4E7142AA-9B1D-4D00-A1B7-09FA27DBCFFA}"/>
              </a:ext>
            </a:extLst>
          </p:cNvPr>
          <p:cNvSpPr>
            <a:spLocks noGrp="1"/>
          </p:cNvSpPr>
          <p:nvPr>
            <p:ph type="body" sz="quarter" idx="16"/>
          </p:nvPr>
        </p:nvSpPr>
        <p:spPr/>
        <p:txBody>
          <a:bodyPr/>
          <a:lstStyle/>
          <a:p>
            <a:r>
              <a:rPr lang="en-US" dirty="0"/>
              <a:t>Click to insert chart title</a:t>
            </a:r>
            <a:endParaRPr lang="pt-PT" dirty="0"/>
          </a:p>
        </p:txBody>
      </p:sp>
      <p:sp>
        <p:nvSpPr>
          <p:cNvPr id="17" name="Text Placeholder 16">
            <a:extLst>
              <a:ext uri="{FF2B5EF4-FFF2-40B4-BE49-F238E27FC236}">
                <a16:creationId xmlns:a16="http://schemas.microsoft.com/office/drawing/2014/main" id="{12C43DA4-4965-4C22-BE11-8889653272C8}"/>
              </a:ext>
            </a:extLst>
          </p:cNvPr>
          <p:cNvSpPr>
            <a:spLocks noGrp="1"/>
          </p:cNvSpPr>
          <p:nvPr>
            <p:ph type="body" sz="quarter" idx="19"/>
          </p:nvPr>
        </p:nvSpPr>
        <p:spPr/>
        <p:txBody>
          <a:bodyPr/>
          <a:lstStyle/>
          <a:p>
            <a:r>
              <a:rPr lang="en-US" dirty="0"/>
              <a:t>Click to insert chart title</a:t>
            </a:r>
            <a:endParaRPr lang="pt-PT" dirty="0"/>
          </a:p>
        </p:txBody>
      </p:sp>
    </p:spTree>
    <p:extLst>
      <p:ext uri="{BB962C8B-B14F-4D97-AF65-F5344CB8AC3E}">
        <p14:creationId xmlns:p14="http://schemas.microsoft.com/office/powerpoint/2010/main" val="1879674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271D366-DAD6-443B-B28E-15C58219AEC2}"/>
              </a:ext>
            </a:extLst>
          </p:cNvPr>
          <p:cNvSpPr>
            <a:spLocks noGrp="1"/>
          </p:cNvSpPr>
          <p:nvPr>
            <p:ph type="body" sz="quarter" idx="29"/>
          </p:nvPr>
        </p:nvSpPr>
        <p:spPr/>
        <p:txBody>
          <a:bodyPr/>
          <a:lstStyle/>
          <a:p>
            <a:r>
              <a:rPr lang="en-US" dirty="0"/>
              <a:t>Click to insert chart title</a:t>
            </a:r>
            <a:endParaRPr lang="pt-PT" dirty="0"/>
          </a:p>
        </p:txBody>
      </p:sp>
      <p:graphicFrame>
        <p:nvGraphicFramePr>
          <p:cNvPr id="19" name="Chart Placeholder 18">
            <a:extLst>
              <a:ext uri="{FF2B5EF4-FFF2-40B4-BE49-F238E27FC236}">
                <a16:creationId xmlns:a16="http://schemas.microsoft.com/office/drawing/2014/main" id="{EDF07F57-EB7C-4C5B-A845-FD24BA6647EB}"/>
              </a:ext>
            </a:extLst>
          </p:cNvPr>
          <p:cNvGraphicFramePr>
            <a:graphicFrameLocks noGrp="1"/>
          </p:cNvGraphicFramePr>
          <p:nvPr>
            <p:ph type="chart" sz="quarter" idx="32"/>
            <p:extLst/>
          </p:nvPr>
        </p:nvGraphicFramePr>
        <p:xfrm>
          <a:off x="6309912" y="2494611"/>
          <a:ext cx="5543550" cy="34988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E74868AC-BF9D-4C56-8CA4-40935EB8A511}"/>
              </a:ext>
            </a:extLst>
          </p:cNvPr>
          <p:cNvSpPr>
            <a:spLocks noGrp="1"/>
          </p:cNvSpPr>
          <p:nvPr>
            <p:ph type="title"/>
          </p:nvPr>
        </p:nvSpPr>
        <p:spPr/>
        <p:txBody>
          <a:bodyPr/>
          <a:lstStyle/>
          <a:p>
            <a:r>
              <a:rPr lang="en-US" dirty="0"/>
              <a:t>Click to insert text</a:t>
            </a:r>
            <a:br>
              <a:rPr lang="en-US" dirty="0"/>
            </a:br>
            <a:r>
              <a:rPr lang="en-US" sz="1800" dirty="0"/>
              <a:t>(Work for 1 or 2 lines of title)</a:t>
            </a:r>
            <a:endParaRPr lang="pt-PT" dirty="0"/>
          </a:p>
        </p:txBody>
      </p:sp>
      <p:sp>
        <p:nvSpPr>
          <p:cNvPr id="6" name="Text Placeholder 5">
            <a:extLst>
              <a:ext uri="{FF2B5EF4-FFF2-40B4-BE49-F238E27FC236}">
                <a16:creationId xmlns:a16="http://schemas.microsoft.com/office/drawing/2014/main" id="{24B98095-57B7-46B7-9CCA-A894F31CC343}"/>
              </a:ext>
            </a:extLst>
          </p:cNvPr>
          <p:cNvSpPr>
            <a:spLocks noGrp="1"/>
          </p:cNvSpPr>
          <p:nvPr>
            <p:ph type="body" sz="quarter" idx="33"/>
          </p:nvPr>
        </p:nvSpPr>
        <p:spPr/>
        <p:txBody>
          <a:bodyPr/>
          <a:lstStyle/>
          <a:p>
            <a:r>
              <a:rPr lang="en-US" dirty="0"/>
              <a:t>Click to insert chart title</a:t>
            </a:r>
            <a:endParaRPr lang="pt-PT" dirty="0"/>
          </a:p>
        </p:txBody>
      </p:sp>
      <p:graphicFrame>
        <p:nvGraphicFramePr>
          <p:cNvPr id="14" name="Chart Placeholder 13">
            <a:extLst>
              <a:ext uri="{FF2B5EF4-FFF2-40B4-BE49-F238E27FC236}">
                <a16:creationId xmlns:a16="http://schemas.microsoft.com/office/drawing/2014/main" id="{1B8EBEFD-D01C-4602-B12A-FD6804B55AB2}"/>
              </a:ext>
            </a:extLst>
          </p:cNvPr>
          <p:cNvGraphicFramePr>
            <a:graphicFrameLocks noGrp="1"/>
          </p:cNvGraphicFramePr>
          <p:nvPr>
            <p:ph type="chart" sz="quarter" idx="34"/>
            <p:extLst/>
          </p:nvPr>
        </p:nvGraphicFramePr>
        <p:xfrm>
          <a:off x="425050" y="2494611"/>
          <a:ext cx="5543550" cy="3498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04896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531F63-CA00-42EC-B08D-919D48D70987}"/>
              </a:ext>
            </a:extLst>
          </p:cNvPr>
          <p:cNvSpPr>
            <a:spLocks noGrp="1"/>
          </p:cNvSpPr>
          <p:nvPr>
            <p:ph type="body" sz="quarter" idx="38"/>
          </p:nvPr>
        </p:nvSpPr>
        <p:spPr>
          <a:solidFill>
            <a:schemeClr val="bg1"/>
          </a:solidFill>
          <a:ln>
            <a:solidFill>
              <a:schemeClr val="accent4"/>
            </a:solidFill>
          </a:ln>
        </p:spPr>
        <p:txBody>
          <a:bodyPr/>
          <a:lstStyle/>
          <a:p>
            <a:r>
              <a:rPr lang="en-US" dirty="0"/>
              <a:t>Click to insert text</a:t>
            </a:r>
            <a:endParaRPr lang="pt-PT" dirty="0"/>
          </a:p>
        </p:txBody>
      </p:sp>
      <p:sp>
        <p:nvSpPr>
          <p:cNvPr id="11" name="Text Placeholder 10">
            <a:extLst>
              <a:ext uri="{FF2B5EF4-FFF2-40B4-BE49-F238E27FC236}">
                <a16:creationId xmlns:a16="http://schemas.microsoft.com/office/drawing/2014/main" id="{5BA5199E-D530-47BF-845A-1DC41929FECF}"/>
              </a:ext>
            </a:extLst>
          </p:cNvPr>
          <p:cNvSpPr>
            <a:spLocks noGrp="1"/>
          </p:cNvSpPr>
          <p:nvPr>
            <p:ph type="body" sz="quarter" idx="39"/>
          </p:nvPr>
        </p:nvSpPr>
        <p:spPr>
          <a:solidFill>
            <a:schemeClr val="bg1"/>
          </a:solidFill>
          <a:ln>
            <a:solidFill>
              <a:schemeClr val="accent4"/>
            </a:solidFill>
          </a:ln>
        </p:spPr>
        <p:txBody>
          <a:bodyPr/>
          <a:lstStyle/>
          <a:p>
            <a:r>
              <a:rPr lang="en-US" dirty="0"/>
              <a:t>Click to insert text</a:t>
            </a:r>
            <a:endParaRPr lang="pt-PT" dirty="0"/>
          </a:p>
        </p:txBody>
      </p:sp>
      <p:sp>
        <p:nvSpPr>
          <p:cNvPr id="12" name="Text Placeholder 11">
            <a:extLst>
              <a:ext uri="{FF2B5EF4-FFF2-40B4-BE49-F238E27FC236}">
                <a16:creationId xmlns:a16="http://schemas.microsoft.com/office/drawing/2014/main" id="{8E0AF863-92C7-409E-B90C-434640D9A71F}"/>
              </a:ext>
            </a:extLst>
          </p:cNvPr>
          <p:cNvSpPr>
            <a:spLocks noGrp="1"/>
          </p:cNvSpPr>
          <p:nvPr>
            <p:ph type="body" sz="quarter" idx="40"/>
          </p:nvPr>
        </p:nvSpPr>
        <p:spPr>
          <a:solidFill>
            <a:schemeClr val="bg1"/>
          </a:solidFill>
          <a:ln>
            <a:solidFill>
              <a:schemeClr val="accent4"/>
            </a:solidFill>
          </a:ln>
        </p:spPr>
        <p:txBody>
          <a:bodyPr/>
          <a:lstStyle/>
          <a:p>
            <a:r>
              <a:rPr lang="en-US" dirty="0"/>
              <a:t>Click to insert text</a:t>
            </a:r>
            <a:endParaRPr lang="pt-PT" dirty="0"/>
          </a:p>
        </p:txBody>
      </p:sp>
      <p:sp>
        <p:nvSpPr>
          <p:cNvPr id="13" name="Text Placeholder 12">
            <a:extLst>
              <a:ext uri="{FF2B5EF4-FFF2-40B4-BE49-F238E27FC236}">
                <a16:creationId xmlns:a16="http://schemas.microsoft.com/office/drawing/2014/main" id="{B87DCC42-EAD0-48CA-A9B1-28B340A64503}"/>
              </a:ext>
            </a:extLst>
          </p:cNvPr>
          <p:cNvSpPr>
            <a:spLocks noGrp="1"/>
          </p:cNvSpPr>
          <p:nvPr>
            <p:ph type="body" sz="quarter" idx="41"/>
          </p:nvPr>
        </p:nvSpPr>
        <p:spPr>
          <a:solidFill>
            <a:schemeClr val="bg1"/>
          </a:solidFill>
          <a:ln>
            <a:solidFill>
              <a:schemeClr val="accent4"/>
            </a:solidFill>
          </a:ln>
        </p:spPr>
        <p:txBody>
          <a:bodyPr/>
          <a:lstStyle/>
          <a:p>
            <a:r>
              <a:rPr lang="en-US" dirty="0"/>
              <a:t>Click to insert text</a:t>
            </a:r>
            <a:endParaRPr lang="pt-PT" dirty="0"/>
          </a:p>
        </p:txBody>
      </p:sp>
      <p:sp>
        <p:nvSpPr>
          <p:cNvPr id="14" name="Text Placeholder 13">
            <a:extLst>
              <a:ext uri="{FF2B5EF4-FFF2-40B4-BE49-F238E27FC236}">
                <a16:creationId xmlns:a16="http://schemas.microsoft.com/office/drawing/2014/main" id="{699D1A75-8E98-4748-A473-A072C624435C}"/>
              </a:ext>
            </a:extLst>
          </p:cNvPr>
          <p:cNvSpPr>
            <a:spLocks noGrp="1"/>
          </p:cNvSpPr>
          <p:nvPr>
            <p:ph type="body" sz="quarter" idx="42"/>
          </p:nvPr>
        </p:nvSpPr>
        <p:spPr>
          <a:solidFill>
            <a:schemeClr val="bg1"/>
          </a:solidFill>
          <a:ln>
            <a:solidFill>
              <a:schemeClr val="accent4"/>
            </a:solidFill>
          </a:ln>
        </p:spPr>
        <p:txBody>
          <a:bodyPr/>
          <a:lstStyle/>
          <a:p>
            <a:r>
              <a:rPr lang="en-US" dirty="0"/>
              <a:t>Click to insert text</a:t>
            </a:r>
            <a:endParaRPr lang="pt-PT" dirty="0"/>
          </a:p>
        </p:txBody>
      </p:sp>
      <p:sp>
        <p:nvSpPr>
          <p:cNvPr id="9" name="Text Placeholder 8">
            <a:extLst>
              <a:ext uri="{FF2B5EF4-FFF2-40B4-BE49-F238E27FC236}">
                <a16:creationId xmlns:a16="http://schemas.microsoft.com/office/drawing/2014/main" id="{14ABB018-B55D-4411-951E-38CD24F2C361}"/>
              </a:ext>
            </a:extLst>
          </p:cNvPr>
          <p:cNvSpPr>
            <a:spLocks noGrp="1"/>
          </p:cNvSpPr>
          <p:nvPr>
            <p:ph type="body" sz="quarter" idx="37"/>
          </p:nvPr>
        </p:nvSpPr>
        <p:spPr>
          <a:solidFill>
            <a:schemeClr val="accent3"/>
          </a:solidFill>
        </p:spPr>
        <p:txBody>
          <a:bodyPr/>
          <a:lstStyle/>
          <a:p>
            <a:r>
              <a:rPr lang="pt-PT"/>
              <a:t>Insert Group Name</a:t>
            </a:r>
            <a:endParaRPr lang="pt-PT" dirty="0"/>
          </a:p>
        </p:txBody>
      </p:sp>
      <p:sp>
        <p:nvSpPr>
          <p:cNvPr id="7" name="Text Placeholder 6">
            <a:extLst>
              <a:ext uri="{FF2B5EF4-FFF2-40B4-BE49-F238E27FC236}">
                <a16:creationId xmlns:a16="http://schemas.microsoft.com/office/drawing/2014/main" id="{516D870F-1B57-4D07-8159-E3F47A13D608}"/>
              </a:ext>
            </a:extLst>
          </p:cNvPr>
          <p:cNvSpPr>
            <a:spLocks noGrp="1"/>
          </p:cNvSpPr>
          <p:nvPr>
            <p:ph type="body" sz="quarter" idx="35"/>
          </p:nvPr>
        </p:nvSpPr>
        <p:spPr/>
        <p:txBody>
          <a:bodyPr/>
          <a:lstStyle/>
          <a:p>
            <a:r>
              <a:rPr lang="pt-PT"/>
              <a:t>Insert Group Name</a:t>
            </a:r>
            <a:endParaRPr lang="pt-PT" dirty="0"/>
          </a:p>
        </p:txBody>
      </p:sp>
      <p:sp>
        <p:nvSpPr>
          <p:cNvPr id="4" name="Text Placeholder 3">
            <a:extLst>
              <a:ext uri="{FF2B5EF4-FFF2-40B4-BE49-F238E27FC236}">
                <a16:creationId xmlns:a16="http://schemas.microsoft.com/office/drawing/2014/main" id="{43B57625-2C57-471B-93E8-31A7EBAC4CE5}"/>
              </a:ext>
            </a:extLst>
          </p:cNvPr>
          <p:cNvSpPr>
            <a:spLocks noGrp="1"/>
          </p:cNvSpPr>
          <p:nvPr>
            <p:ph type="body" sz="quarter" idx="32"/>
          </p:nvPr>
        </p:nvSpPr>
        <p:spPr/>
        <p:txBody>
          <a:bodyPr/>
          <a:lstStyle/>
          <a:p>
            <a:r>
              <a:rPr lang="en-US" dirty="0"/>
              <a:t>Click to insert text</a:t>
            </a:r>
            <a:endParaRPr lang="pt-PT" dirty="0"/>
          </a:p>
        </p:txBody>
      </p:sp>
      <p:sp>
        <p:nvSpPr>
          <p:cNvPr id="5" name="Text Placeholder 4">
            <a:extLst>
              <a:ext uri="{FF2B5EF4-FFF2-40B4-BE49-F238E27FC236}">
                <a16:creationId xmlns:a16="http://schemas.microsoft.com/office/drawing/2014/main" id="{63693B20-AB88-4964-9E6F-10FDACF45EB5}"/>
              </a:ext>
            </a:extLst>
          </p:cNvPr>
          <p:cNvSpPr>
            <a:spLocks noGrp="1"/>
          </p:cNvSpPr>
          <p:nvPr>
            <p:ph type="body" sz="quarter" idx="33"/>
          </p:nvPr>
        </p:nvSpPr>
        <p:spPr/>
        <p:txBody>
          <a:bodyPr/>
          <a:lstStyle/>
          <a:p>
            <a:r>
              <a:rPr lang="en-US" dirty="0"/>
              <a:t>Click to insert text</a:t>
            </a:r>
            <a:endParaRPr lang="pt-PT" dirty="0"/>
          </a:p>
        </p:txBody>
      </p:sp>
      <p:sp>
        <p:nvSpPr>
          <p:cNvPr id="6" name="Text Placeholder 5">
            <a:extLst>
              <a:ext uri="{FF2B5EF4-FFF2-40B4-BE49-F238E27FC236}">
                <a16:creationId xmlns:a16="http://schemas.microsoft.com/office/drawing/2014/main" id="{728EE87E-060D-4314-AB50-BD570F3358FD}"/>
              </a:ext>
            </a:extLst>
          </p:cNvPr>
          <p:cNvSpPr>
            <a:spLocks noGrp="1"/>
          </p:cNvSpPr>
          <p:nvPr>
            <p:ph type="body" sz="quarter" idx="34"/>
          </p:nvPr>
        </p:nvSpPr>
        <p:spPr/>
        <p:txBody>
          <a:bodyPr/>
          <a:lstStyle/>
          <a:p>
            <a:r>
              <a:rPr lang="en-US" dirty="0"/>
              <a:t>Click to insert text</a:t>
            </a:r>
            <a:endParaRPr lang="pt-PT" dirty="0"/>
          </a:p>
        </p:txBody>
      </p:sp>
      <p:sp>
        <p:nvSpPr>
          <p:cNvPr id="8" name="Text Placeholder 7">
            <a:extLst>
              <a:ext uri="{FF2B5EF4-FFF2-40B4-BE49-F238E27FC236}">
                <a16:creationId xmlns:a16="http://schemas.microsoft.com/office/drawing/2014/main" id="{C56A5905-F748-472A-8CEC-ACB247ED2001}"/>
              </a:ext>
            </a:extLst>
          </p:cNvPr>
          <p:cNvSpPr>
            <a:spLocks noGrp="1"/>
          </p:cNvSpPr>
          <p:nvPr>
            <p:ph type="body" sz="quarter" idx="36"/>
          </p:nvPr>
        </p:nvSpPr>
        <p:spPr/>
        <p:txBody>
          <a:bodyPr/>
          <a:lstStyle/>
          <a:p>
            <a:r>
              <a:rPr lang="pt-PT"/>
              <a:t>Insert Group Name</a:t>
            </a:r>
            <a:endParaRPr lang="pt-PT" dirty="0"/>
          </a:p>
        </p:txBody>
      </p:sp>
      <p:sp>
        <p:nvSpPr>
          <p:cNvPr id="2" name="Title 1">
            <a:extLst>
              <a:ext uri="{FF2B5EF4-FFF2-40B4-BE49-F238E27FC236}">
                <a16:creationId xmlns:a16="http://schemas.microsoft.com/office/drawing/2014/main" id="{67CE993C-A3C2-47F1-85BC-D6ED1AF11C20}"/>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sz="1800" dirty="0"/>
          </a:p>
        </p:txBody>
      </p:sp>
    </p:spTree>
    <p:extLst>
      <p:ext uri="{BB962C8B-B14F-4D97-AF65-F5344CB8AC3E}">
        <p14:creationId xmlns:p14="http://schemas.microsoft.com/office/powerpoint/2010/main" val="132047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a:xfrm>
            <a:off x="707011" y="4502330"/>
            <a:ext cx="10765410" cy="1207269"/>
          </a:xfrm>
        </p:spPr>
        <p:txBody>
          <a:bodyPr vert="horz" lIns="91440" tIns="45720" rIns="91440" bIns="45720" rtlCol="0" anchor="b">
            <a:normAutofit/>
          </a:bodyPr>
          <a:lstStyle/>
          <a:p>
            <a:pPr algn="ctr"/>
            <a:r>
              <a:rPr lang="en-US" altLang="sv-SE" sz="4200" dirty="0"/>
              <a:t>Electrification from an architects perspective</a:t>
            </a:r>
          </a:p>
        </p:txBody>
      </p:sp>
      <p:pic>
        <p:nvPicPr>
          <p:cNvPr id="4108" name="Picture 12" descr="https://jorntrahus.se/wp-content/uploads/2017/12/Bergsholmen-L-3D.jpg">
            <a:extLst>
              <a:ext uri="{FF2B5EF4-FFF2-40B4-BE49-F238E27FC236}">
                <a16:creationId xmlns:a16="http://schemas.microsoft.com/office/drawing/2014/main" id="{A55FA5BA-675D-46A1-A1C2-46564A615A0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314"/>
          <a:stretch/>
        </p:blipFill>
        <p:spPr bwMode="auto">
          <a:xfrm>
            <a:off x="321734" y="409844"/>
            <a:ext cx="5458816" cy="3808039"/>
          </a:xfrm>
          <a:prstGeom prst="rect">
            <a:avLst/>
          </a:prstGeom>
          <a:noFill/>
          <a:extLst>
            <a:ext uri="{909E8E84-426E-40DD-AFC4-6F175D3DCCD1}">
              <a14:hiddenFill xmlns:a14="http://schemas.microsoft.com/office/drawing/2010/main">
                <a:solidFill>
                  <a:srgbClr val="FFFFFF"/>
                </a:solidFill>
              </a14:hiddenFill>
            </a:ext>
          </a:extLst>
        </p:spPr>
      </p:pic>
      <p:cxnSp>
        <p:nvCxnSpPr>
          <p:cNvPr id="6151" name="Straight Connector 137">
            <a:extLst>
              <a:ext uri="{FF2B5EF4-FFF2-40B4-BE49-F238E27FC236}">
                <a16:creationId xmlns:a16="http://schemas.microsoft.com/office/drawing/2014/main" id="{3D83F26F-C55B-4A92-9AFF-4894D14E27C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1253414"/>
            <a:ext cx="0" cy="21209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4106" name="Picture 10" descr="https://scontent-lht6-1.cdninstagram.com/vp/2672e418b80789a64427bb83cd2de6a8/5D996EA0/t51.2885-15/e35/59853896_126735545183322_6727344627222837732_n.jpg?_nc_ht=scontent-lht6-1.cdninstagram.com&amp;se=8&amp;ig_cache_key=MjA0NDkyNTg3MjQyODk0MDc1Mg%3D%3D.2">
            <a:extLst>
              <a:ext uri="{FF2B5EF4-FFF2-40B4-BE49-F238E27FC236}">
                <a16:creationId xmlns:a16="http://schemas.microsoft.com/office/drawing/2014/main" id="{A4115898-2B37-4467-8302-F99C35B6193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52" r="379" b="2"/>
          <a:stretch/>
        </p:blipFill>
        <p:spPr bwMode="auto">
          <a:xfrm>
            <a:off x="6411450" y="409546"/>
            <a:ext cx="5458813" cy="3808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3794082"/>
      </p:ext>
    </p:extLst>
  </p:cSld>
  <p:clrMapOvr>
    <a:overrideClrMapping bg1="dk1" tx1="lt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32"/>
          </p:nvPr>
        </p:nvSpPr>
        <p:spPr>
          <a:xfrm>
            <a:off x="1474788" y="2501742"/>
            <a:ext cx="3312368" cy="720080"/>
          </a:xfrm>
        </p:spPr>
        <p:txBody>
          <a:bodyPr/>
          <a:lstStyle/>
          <a:p>
            <a:r>
              <a:rPr lang="en-US" dirty="0"/>
              <a:t>Click to insert long text</a:t>
            </a:r>
            <a:endParaRPr lang="pt-PT" dirty="0"/>
          </a:p>
        </p:txBody>
      </p:sp>
      <p:sp>
        <p:nvSpPr>
          <p:cNvPr id="24" name="Text Placeholder 23"/>
          <p:cNvSpPr>
            <a:spLocks noGrp="1"/>
          </p:cNvSpPr>
          <p:nvPr>
            <p:ph type="body" sz="quarter" idx="33"/>
          </p:nvPr>
        </p:nvSpPr>
        <p:spPr>
          <a:xfrm>
            <a:off x="1474788" y="3519126"/>
            <a:ext cx="3312368" cy="720080"/>
          </a:xfrm>
        </p:spPr>
        <p:txBody>
          <a:bodyPr/>
          <a:lstStyle/>
          <a:p>
            <a:r>
              <a:rPr lang="en-US" dirty="0"/>
              <a:t>Click to insert long text</a:t>
            </a:r>
            <a:endParaRPr lang="pt-PT" dirty="0"/>
          </a:p>
        </p:txBody>
      </p:sp>
      <p:sp>
        <p:nvSpPr>
          <p:cNvPr id="25" name="Text Placeholder 24"/>
          <p:cNvSpPr>
            <a:spLocks noGrp="1"/>
          </p:cNvSpPr>
          <p:nvPr>
            <p:ph type="body" sz="quarter" idx="34"/>
          </p:nvPr>
        </p:nvSpPr>
        <p:spPr>
          <a:xfrm>
            <a:off x="1474788" y="4545018"/>
            <a:ext cx="3312368" cy="720080"/>
          </a:xfrm>
        </p:spPr>
        <p:txBody>
          <a:bodyPr/>
          <a:lstStyle/>
          <a:p>
            <a:r>
              <a:rPr lang="en-US" dirty="0"/>
              <a:t>Click to insert long text</a:t>
            </a:r>
            <a:endParaRPr lang="pt-PT" dirty="0"/>
          </a:p>
        </p:txBody>
      </p:sp>
      <p:sp>
        <p:nvSpPr>
          <p:cNvPr id="21" name="Title 20"/>
          <p:cNvSpPr>
            <a:spLocks noGrp="1"/>
          </p:cNvSpPr>
          <p:nvPr>
            <p:ph type="title"/>
          </p:nvPr>
        </p:nvSpPr>
        <p:spPr/>
        <p:txBody>
          <a:bodyPr/>
          <a:lstStyle/>
          <a:p>
            <a:r>
              <a:rPr lang="en-US" dirty="0"/>
              <a:t>Click to insert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2602696"/>
            <a:ext cx="920734" cy="569978"/>
          </a:xfrm>
          <a:prstGeom prst="rect">
            <a:avLst/>
          </a:prstGeom>
        </p:spPr>
      </p:pic>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3603456"/>
            <a:ext cx="920734" cy="569978"/>
          </a:xfrm>
          <a:prstGeom prst="rect">
            <a:avLst/>
          </a:prstGeom>
        </p:spPr>
      </p:pic>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 name="TextBox 4"/>
          <p:cNvSpPr txBox="1"/>
          <p:nvPr/>
        </p:nvSpPr>
        <p:spPr>
          <a:xfrm>
            <a:off x="600456" y="2673818"/>
            <a:ext cx="511679" cy="369332"/>
          </a:xfrm>
          <a:prstGeom prst="rect">
            <a:avLst/>
          </a:prstGeom>
          <a:noFill/>
        </p:spPr>
        <p:txBody>
          <a:bodyPr wrap="none" rtlCol="0">
            <a:spAutoFit/>
          </a:bodyPr>
          <a:lstStyle/>
          <a:p>
            <a:r>
              <a:rPr lang="en-US" b="1" dirty="0">
                <a:solidFill>
                  <a:schemeClr val="accent1"/>
                </a:solidFill>
              </a:rPr>
              <a:t>01</a:t>
            </a:r>
          </a:p>
        </p:txBody>
      </p:sp>
      <p:sp>
        <p:nvSpPr>
          <p:cNvPr id="13" name="TextBox 12"/>
          <p:cNvSpPr txBox="1"/>
          <p:nvPr/>
        </p:nvSpPr>
        <p:spPr>
          <a:xfrm>
            <a:off x="588264" y="3679658"/>
            <a:ext cx="511679" cy="369332"/>
          </a:xfrm>
          <a:prstGeom prst="rect">
            <a:avLst/>
          </a:prstGeom>
          <a:noFill/>
        </p:spPr>
        <p:txBody>
          <a:bodyPr wrap="none" rtlCol="0">
            <a:spAutoFit/>
          </a:bodyPr>
          <a:lstStyle/>
          <a:p>
            <a:r>
              <a:rPr lang="en-US" b="1" dirty="0">
                <a:solidFill>
                  <a:schemeClr val="accent1"/>
                </a:solidFill>
              </a:rPr>
              <a:t>02</a:t>
            </a:r>
          </a:p>
        </p:txBody>
      </p:sp>
      <p:sp>
        <p:nvSpPr>
          <p:cNvPr id="14" name="TextBox 13"/>
          <p:cNvSpPr txBox="1"/>
          <p:nvPr/>
        </p:nvSpPr>
        <p:spPr>
          <a:xfrm>
            <a:off x="588264" y="4685498"/>
            <a:ext cx="511679" cy="369332"/>
          </a:xfrm>
          <a:prstGeom prst="rect">
            <a:avLst/>
          </a:prstGeom>
          <a:noFill/>
        </p:spPr>
        <p:txBody>
          <a:bodyPr wrap="none" rtlCol="0">
            <a:spAutoFit/>
          </a:bodyPr>
          <a:lstStyle/>
          <a:p>
            <a:r>
              <a:rPr lang="en-US" b="1" dirty="0">
                <a:solidFill>
                  <a:schemeClr val="accent1"/>
                </a:solidFill>
              </a:rPr>
              <a:t>03</a:t>
            </a:r>
          </a:p>
        </p:txBody>
      </p:sp>
    </p:spTree>
    <p:extLst>
      <p:ext uri="{BB962C8B-B14F-4D97-AF65-F5344CB8AC3E}">
        <p14:creationId xmlns:p14="http://schemas.microsoft.com/office/powerpoint/2010/main" val="1781853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Click to insert title</a:t>
            </a:r>
          </a:p>
        </p:txBody>
      </p:sp>
      <p:sp>
        <p:nvSpPr>
          <p:cNvPr id="2" name="Text Placeholder 1"/>
          <p:cNvSpPr>
            <a:spLocks noGrp="1"/>
          </p:cNvSpPr>
          <p:nvPr>
            <p:ph type="body" sz="quarter" idx="32"/>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3" name="Text Placeholder 2"/>
          <p:cNvSpPr>
            <a:spLocks noGrp="1"/>
          </p:cNvSpPr>
          <p:nvPr>
            <p:ph type="body" sz="quarter" idx="33"/>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 name="Text Placeholder 3"/>
          <p:cNvSpPr>
            <a:spLocks noGrp="1"/>
          </p:cNvSpPr>
          <p:nvPr>
            <p:ph type="body" sz="quarter" idx="34"/>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2557563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solidFill>
                  <a:schemeClr val="bg1"/>
                </a:solidFill>
              </a:rPr>
              <a:t>Click to insert title</a:t>
            </a:r>
          </a:p>
        </p:txBody>
      </p:sp>
      <p:sp>
        <p:nvSpPr>
          <p:cNvPr id="2" name="Text Placeholder 1"/>
          <p:cNvSpPr>
            <a:spLocks noGrp="1"/>
          </p:cNvSpPr>
          <p:nvPr>
            <p:ph type="body" sz="quarter" idx="32"/>
          </p:nvPr>
        </p:nvSpPr>
        <p:spPr/>
        <p:txBody>
          <a:bodyPr/>
          <a:lstStyle/>
          <a:p>
            <a:r>
              <a:rPr lang="en-US" dirty="0">
                <a:solidFill>
                  <a:srgbClr val="FFFFFF"/>
                </a:solidFill>
              </a:rPr>
              <a:t>Process stage title </a:t>
            </a:r>
            <a:endParaRPr lang="en-US" dirty="0">
              <a:solidFill>
                <a:srgbClr val="000000"/>
              </a:solidFill>
            </a:endParaRPr>
          </a:p>
        </p:txBody>
      </p:sp>
      <p:sp>
        <p:nvSpPr>
          <p:cNvPr id="3" name="Text Placeholder 2"/>
          <p:cNvSpPr>
            <a:spLocks noGrp="1"/>
          </p:cNvSpPr>
          <p:nvPr>
            <p:ph type="body" sz="quarter" idx="33"/>
          </p:nvPr>
        </p:nvSpPr>
        <p:spPr>
          <a:xfrm>
            <a:off x="408836" y="1890131"/>
            <a:ext cx="2105764" cy="1938992"/>
          </a:xfrm>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4" name="Text Placeholder 3"/>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r>
              <a:rPr lang="en-US" dirty="0" err="1"/>
              <a:t>molestie</a:t>
            </a:r>
            <a:r>
              <a:rPr lang="en-US" dirty="0"/>
              <a:t> </a:t>
            </a:r>
            <a:r>
              <a:rPr lang="en-US" dirty="0" err="1"/>
              <a:t>quis</a:t>
            </a:r>
            <a:r>
              <a:rPr lang="en-US" dirty="0"/>
              <a:t> a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Tree>
    <p:extLst>
      <p:ext uri="{BB962C8B-B14F-4D97-AF65-F5344CB8AC3E}">
        <p14:creationId xmlns:p14="http://schemas.microsoft.com/office/powerpoint/2010/main" val="959158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br>
              <a:rPr lang="en-US" sz="1600" dirty="0"/>
            </a:b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br>
              <a:rPr lang="en-US" sz="1600" dirty="0"/>
            </a:b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efficitur</a:t>
            </a:r>
            <a:r>
              <a:rPr lang="en-US" sz="1600" dirty="0"/>
              <a:t> </a:t>
            </a:r>
            <a:r>
              <a:rPr lang="en-US" sz="1600" dirty="0" err="1"/>
              <a:t>tellus</a:t>
            </a:r>
            <a:r>
              <a:rPr lang="en-US" sz="1600" dirty="0"/>
              <a:t> </a:t>
            </a:r>
            <a:r>
              <a:rPr lang="en-US" sz="1600" dirty="0" err="1"/>
              <a:t>neque</a:t>
            </a:r>
            <a:r>
              <a:rPr lang="en-US" sz="1600" dirty="0"/>
              <a:t>, in </a:t>
            </a:r>
            <a:r>
              <a:rPr lang="en-US" sz="1600" dirty="0" err="1"/>
              <a:t>dapibus</a:t>
            </a:r>
            <a:r>
              <a:rPr lang="en-US" sz="1600" dirty="0"/>
              <a:t> </a:t>
            </a:r>
            <a:r>
              <a:rPr lang="en-US" sz="1600" dirty="0" err="1"/>
              <a:t>mattis</a:t>
            </a:r>
            <a:r>
              <a:rPr lang="en-US" sz="1600" dirty="0"/>
              <a:t> </a:t>
            </a:r>
          </a:p>
        </p:txBody>
      </p:sp>
      <p:sp>
        <p:nvSpPr>
          <p:cNvPr id="4" name="Text Placeholder 3"/>
          <p:cNvSpPr>
            <a:spLocks noGrp="1"/>
          </p:cNvSpPr>
          <p:nvPr>
            <p:ph type="body" sz="quarter" idx="32"/>
          </p:nvPr>
        </p:nvSpPr>
        <p:spPr>
          <a:xfrm>
            <a:off x="407988" y="4410173"/>
            <a:ext cx="4316412" cy="1402798"/>
          </a:xfrm>
        </p:spPr>
        <p:txBody>
          <a:bodyPr/>
          <a:lstStyle/>
          <a:p>
            <a:pPr lvl="0"/>
            <a:r>
              <a:rPr lang="en-US" dirty="0" err="1">
                <a:solidFill>
                  <a:schemeClr val="accent1"/>
                </a:solidFill>
              </a:rPr>
              <a:t>Proin</a:t>
            </a:r>
            <a:r>
              <a:rPr lang="en-US" dirty="0">
                <a:solidFill>
                  <a:schemeClr val="accent1"/>
                </a:solidFill>
              </a:rPr>
              <a:t> </a:t>
            </a:r>
            <a:r>
              <a:rPr lang="en-US" dirty="0" err="1">
                <a:solidFill>
                  <a:schemeClr val="accent1"/>
                </a:solidFill>
              </a:rPr>
              <a:t>iaculis</a:t>
            </a:r>
            <a:r>
              <a:rPr lang="en-US" dirty="0">
                <a:solidFill>
                  <a:schemeClr val="accent1"/>
                </a:solidFill>
              </a:rPr>
              <a:t> </a:t>
            </a:r>
            <a:r>
              <a:rPr lang="en-US" dirty="0" err="1">
                <a:solidFill>
                  <a:schemeClr val="accent1"/>
                </a:solidFill>
              </a:rPr>
              <a:t>egestas</a:t>
            </a:r>
            <a:r>
              <a:rPr lang="en-US" dirty="0">
                <a:solidFill>
                  <a:schemeClr val="accent1"/>
                </a:solidFill>
              </a:rPr>
              <a:t> </a:t>
            </a:r>
            <a:r>
              <a:rPr lang="en-US" dirty="0" err="1">
                <a:solidFill>
                  <a:schemeClr val="accent1"/>
                </a:solidFill>
              </a:rPr>
              <a:t>massa</a:t>
            </a:r>
            <a:r>
              <a:rPr lang="en-US" dirty="0">
                <a:solidFill>
                  <a:schemeClr val="accent1"/>
                </a:solidFill>
              </a:rPr>
              <a:t>, in </a:t>
            </a:r>
            <a:r>
              <a:rPr lang="en-US" dirty="0" err="1">
                <a:solidFill>
                  <a:schemeClr val="accent1"/>
                </a:solidFill>
              </a:rPr>
              <a:t>cursus</a:t>
            </a:r>
            <a:r>
              <a:rPr lang="en-US" dirty="0">
                <a:solidFill>
                  <a:schemeClr val="accent1"/>
                </a:solidFill>
              </a:rPr>
              <a:t> nisi </a:t>
            </a:r>
            <a:r>
              <a:rPr lang="en-US" dirty="0" err="1">
                <a:solidFill>
                  <a:schemeClr val="accent1"/>
                </a:solidFill>
              </a:rPr>
              <a:t>condimentum</a:t>
            </a:r>
            <a:r>
              <a:rPr lang="en-US" dirty="0">
                <a:solidFill>
                  <a:schemeClr val="accent1"/>
                </a:solidFill>
              </a:rPr>
              <a:t> non. </a:t>
            </a:r>
            <a:r>
              <a:rPr lang="en-US" dirty="0" err="1">
                <a:solidFill>
                  <a:schemeClr val="accent1"/>
                </a:solidFill>
              </a:rPr>
              <a:t>Orci</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natoque</a:t>
            </a:r>
            <a:r>
              <a:rPr lang="en-US" dirty="0">
                <a:solidFill>
                  <a:schemeClr val="accent1"/>
                </a:solidFill>
              </a:rPr>
              <a:t> </a:t>
            </a:r>
            <a:r>
              <a:rPr lang="en-US" dirty="0" err="1">
                <a:solidFill>
                  <a:schemeClr val="accent1"/>
                </a:solidFill>
              </a:rPr>
              <a:t>penatibus</a:t>
            </a:r>
            <a:r>
              <a:rPr lang="en-US" dirty="0">
                <a:solidFill>
                  <a:schemeClr val="accent1"/>
                </a:solidFill>
              </a:rPr>
              <a:t> </a:t>
            </a:r>
            <a:r>
              <a:rPr lang="en-US" dirty="0" err="1">
                <a:solidFill>
                  <a:schemeClr val="accent1"/>
                </a:solidFill>
              </a:rPr>
              <a:t>magnis</a:t>
            </a:r>
            <a:r>
              <a:rPr lang="en-US" dirty="0">
                <a:solidFill>
                  <a:schemeClr val="accent1"/>
                </a:solidFill>
              </a:rPr>
              <a:t> dis parturient </a:t>
            </a:r>
            <a:r>
              <a:rPr lang="en-US" dirty="0" err="1">
                <a:solidFill>
                  <a:schemeClr val="accent1"/>
                </a:solidFill>
              </a:rPr>
              <a:t>montes</a:t>
            </a:r>
            <a:r>
              <a:rPr lang="en-US" dirty="0">
                <a:solidFill>
                  <a:schemeClr val="accent1"/>
                </a:solidFill>
              </a:rPr>
              <a:t>, </a:t>
            </a:r>
            <a:r>
              <a:rPr lang="en-US" dirty="0" err="1">
                <a:solidFill>
                  <a:schemeClr val="accent1"/>
                </a:solidFill>
              </a:rPr>
              <a:t>nascetur</a:t>
            </a:r>
            <a:r>
              <a:rPr lang="en-US" dirty="0">
                <a:solidFill>
                  <a:schemeClr val="accent1"/>
                </a:solidFill>
              </a:rPr>
              <a:t> </a:t>
            </a:r>
            <a:r>
              <a:rPr lang="en-US" dirty="0" err="1">
                <a:solidFill>
                  <a:schemeClr val="accent1"/>
                </a:solidFill>
              </a:rPr>
              <a:t>ridiculus</a:t>
            </a:r>
            <a:r>
              <a:rPr lang="en-US" dirty="0">
                <a:solidFill>
                  <a:schemeClr val="accent1"/>
                </a:solidFill>
              </a:rPr>
              <a:t> mus. </a:t>
            </a:r>
            <a:r>
              <a:rPr lang="en-US" dirty="0" err="1">
                <a:solidFill>
                  <a:schemeClr val="accent1"/>
                </a:solidFill>
              </a:rPr>
              <a:t>Morbi</a:t>
            </a:r>
            <a:r>
              <a:rPr lang="en-US" dirty="0">
                <a:solidFill>
                  <a:schemeClr val="accent1"/>
                </a:solidFill>
              </a:rPr>
              <a:t> id </a:t>
            </a:r>
            <a:r>
              <a:rPr lang="en-US" dirty="0" err="1">
                <a:solidFill>
                  <a:schemeClr val="accent1"/>
                </a:solidFill>
              </a:rPr>
              <a:t>sagittis</a:t>
            </a:r>
            <a:r>
              <a:rPr lang="en-US" dirty="0">
                <a:solidFill>
                  <a:schemeClr val="accent1"/>
                </a:solidFill>
              </a:rPr>
              <a:t> dolor. </a:t>
            </a:r>
            <a:r>
              <a:rPr lang="en-US" dirty="0" err="1">
                <a:solidFill>
                  <a:schemeClr val="accent1"/>
                </a:solidFill>
              </a:rPr>
              <a:t>Etiam</a:t>
            </a:r>
            <a:r>
              <a:rPr lang="en-US" dirty="0">
                <a:solidFill>
                  <a:schemeClr val="accent1"/>
                </a:solidFill>
              </a:rPr>
              <a:t> </a:t>
            </a:r>
            <a:r>
              <a:rPr lang="en-US" dirty="0" err="1">
                <a:solidFill>
                  <a:schemeClr val="accent1"/>
                </a:solidFill>
              </a:rPr>
              <a:t>accumsan</a:t>
            </a:r>
            <a:r>
              <a:rPr lang="en-US" dirty="0">
                <a:solidFill>
                  <a:schemeClr val="accent1"/>
                </a:solidFill>
              </a:rPr>
              <a:t> </a:t>
            </a:r>
            <a:r>
              <a:rPr lang="en-US" dirty="0" err="1">
                <a:solidFill>
                  <a:schemeClr val="accent1"/>
                </a:solidFill>
              </a:rPr>
              <a:t>euismod</a:t>
            </a:r>
            <a:r>
              <a:rPr lang="en-US" dirty="0">
                <a:solidFill>
                  <a:schemeClr val="accent1"/>
                </a:solidFill>
              </a:rPr>
              <a:t> </a:t>
            </a:r>
            <a:r>
              <a:rPr lang="en-US" dirty="0" err="1">
                <a:solidFill>
                  <a:schemeClr val="accent1"/>
                </a:solidFill>
              </a:rPr>
              <a:t>tempor</a:t>
            </a:r>
            <a:r>
              <a:rPr lang="en-US" dirty="0">
                <a:solidFill>
                  <a:schemeClr val="accent1"/>
                </a:solidFill>
              </a:rPr>
              <a:t> </a:t>
            </a:r>
            <a:r>
              <a:rPr lang="en-US" dirty="0" err="1">
                <a:solidFill>
                  <a:schemeClr val="accent1"/>
                </a:solidFill>
              </a:rPr>
              <a:t>dapibus</a:t>
            </a:r>
            <a:r>
              <a:rPr lang="en-US" dirty="0">
                <a:solidFill>
                  <a:schemeClr val="accent1"/>
                </a:solidFill>
              </a:rPr>
              <a:t>. </a:t>
            </a:r>
            <a:r>
              <a:rPr lang="en-US" dirty="0" err="1">
                <a:solidFill>
                  <a:schemeClr val="accent1"/>
                </a:solidFill>
              </a:rPr>
              <a:t>Donec</a:t>
            </a:r>
            <a:r>
              <a:rPr lang="en-US" dirty="0">
                <a:solidFill>
                  <a:schemeClr val="accent1"/>
                </a:solidFill>
              </a:rPr>
              <a:t> quam </a:t>
            </a:r>
            <a:r>
              <a:rPr lang="en-US" dirty="0" err="1">
                <a:solidFill>
                  <a:schemeClr val="accent1"/>
                </a:solidFill>
              </a:rPr>
              <a:t>tellus</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sed</a:t>
            </a:r>
            <a:r>
              <a:rPr lang="en-US" dirty="0">
                <a:solidFill>
                  <a:schemeClr val="accent1"/>
                </a:solidFill>
              </a:rPr>
              <a:t> </a:t>
            </a:r>
            <a:r>
              <a:rPr lang="en-US" dirty="0" err="1">
                <a:solidFill>
                  <a:schemeClr val="accent1"/>
                </a:solidFill>
              </a:rPr>
              <a:t>egestas</a:t>
            </a:r>
            <a:r>
              <a:rPr lang="en-US" dirty="0">
                <a:solidFill>
                  <a:schemeClr val="accent1"/>
                </a:solidFill>
              </a:rPr>
              <a:t> at, </a:t>
            </a:r>
            <a:r>
              <a:rPr lang="en-US" dirty="0" err="1">
                <a:solidFill>
                  <a:schemeClr val="accent1"/>
                </a:solidFill>
              </a:rPr>
              <a:t>commodo</a:t>
            </a:r>
            <a:r>
              <a:rPr lang="en-US" dirty="0">
                <a:solidFill>
                  <a:schemeClr val="accent1"/>
                </a:solidFill>
              </a:rPr>
              <a:t> ac </a:t>
            </a:r>
            <a:r>
              <a:rPr lang="en-US" dirty="0" err="1">
                <a:solidFill>
                  <a:schemeClr val="accent1"/>
                </a:solidFill>
              </a:rPr>
              <a:t>odio</a:t>
            </a:r>
            <a:r>
              <a:rPr lang="en-US" dirty="0">
                <a:solidFill>
                  <a:schemeClr val="accent1"/>
                </a:solidFill>
              </a:rPr>
              <a:t>. </a:t>
            </a:r>
          </a:p>
        </p:txBody>
      </p:sp>
      <p:sp>
        <p:nvSpPr>
          <p:cNvPr id="17" name="Rectangle 16"/>
          <p:cNvSpPr/>
          <p:nvPr/>
        </p:nvSpPr>
        <p:spPr>
          <a:xfrm>
            <a:off x="9048327" y="4986672"/>
            <a:ext cx="2681635" cy="1661993"/>
          </a:xfrm>
          <a:prstGeom prst="rect">
            <a:avLst/>
          </a:prstGeom>
        </p:spPr>
        <p:txBody>
          <a:bodyPr wrap="square" lIns="0" tIns="0" rIns="0" bIns="91440">
            <a:spAutoFit/>
          </a:bodyPr>
          <a:lstStyle/>
          <a:p>
            <a:pPr algn="r"/>
            <a:r>
              <a:rPr lang="en-US" sz="6000" dirty="0">
                <a:solidFill>
                  <a:srgbClr val="FFFFFF"/>
                </a:solidFill>
              </a:rPr>
              <a:t>60%</a:t>
            </a:r>
          </a:p>
          <a:p>
            <a:pPr algn="r"/>
            <a:r>
              <a:rPr lang="en-US" sz="1400" dirty="0">
                <a:solidFill>
                  <a:srgbClr val="FFFFFF"/>
                </a:solidFill>
              </a:rPr>
              <a:t>Lorem ipsum dolor amet, consectetur adipiscing elit.</a:t>
            </a:r>
          </a:p>
          <a:p>
            <a:pPr algn="r"/>
            <a:endParaRPr lang="en-US" sz="1400" dirty="0">
              <a:solidFill>
                <a:srgbClr val="000000"/>
              </a:solidFill>
            </a:endParaRPr>
          </a:p>
        </p:txBody>
      </p:sp>
    </p:spTree>
    <p:extLst>
      <p:ext uri="{BB962C8B-B14F-4D97-AF65-F5344CB8AC3E}">
        <p14:creationId xmlns:p14="http://schemas.microsoft.com/office/powerpoint/2010/main" val="4086746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bg1"/>
                </a:solidFill>
              </a:rPr>
              <a:t>Click to insert title</a:t>
            </a:r>
          </a:p>
        </p:txBody>
      </p:sp>
      <p:sp>
        <p:nvSpPr>
          <p:cNvPr id="3" name="Text Placeholder 2"/>
          <p:cNvSpPr>
            <a:spLocks noGrp="1"/>
          </p:cNvSpPr>
          <p:nvPr>
            <p:ph type="body" sz="quarter" idx="33"/>
          </p:nvPr>
        </p:nvSpPr>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6" name="Text Placeholder 5"/>
          <p:cNvSpPr>
            <a:spLocks noGrp="1"/>
          </p:cNvSpPr>
          <p:nvPr>
            <p:ph type="body" sz="quarter" idx="34"/>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a:p>
            <a:pPr lvl="0"/>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94894" y="5029200"/>
            <a:ext cx="2663813" cy="1418058"/>
          </a:xfrm>
          <a:prstGeom prst="rect">
            <a:avLst/>
          </a:prstGeom>
        </p:spPr>
      </p:pic>
      <p:sp>
        <p:nvSpPr>
          <p:cNvPr id="16" name="Rectangle 15"/>
          <p:cNvSpPr/>
          <p:nvPr/>
        </p:nvSpPr>
        <p:spPr>
          <a:xfrm>
            <a:off x="3594894" y="2390778"/>
            <a:ext cx="2398236" cy="1877437"/>
          </a:xfrm>
          <a:prstGeom prst="rect">
            <a:avLst/>
          </a:prstGeom>
        </p:spPr>
        <p:txBody>
          <a:bodyPr wrap="square" lIns="0" tIns="0" rIns="0" bIns="91440">
            <a:spAutoFit/>
          </a:bodyPr>
          <a:lstStyle/>
          <a:p>
            <a:pPr marL="171450" indent="-171450">
              <a:spcAft>
                <a:spcPts val="600"/>
              </a:spcAft>
              <a:buFont typeface="Wingdings" panose="05000000000000000000" pitchFamily="2" charset="2"/>
              <a:buChar char="§"/>
            </a:pPr>
            <a:r>
              <a:rPr lang="en-US" sz="800" dirty="0">
                <a:solidFill>
                  <a:schemeClr val="bg1"/>
                </a:solidFill>
              </a:rPr>
              <a:t>Proin iaculis egestas massa, in cursus nisi condimentum non. </a:t>
            </a:r>
          </a:p>
          <a:p>
            <a:pPr marL="171450" indent="-171450">
              <a:spcAft>
                <a:spcPts val="600"/>
              </a:spcAft>
              <a:buFont typeface="Wingdings" panose="05000000000000000000" pitchFamily="2" charset="2"/>
              <a:buChar char="§"/>
            </a:pPr>
            <a:r>
              <a:rPr lang="en-US" sz="800" dirty="0">
                <a:solidFill>
                  <a:schemeClr val="bg1"/>
                </a:solidFill>
              </a:rPr>
              <a:t>Orci varius natoque penatibus magnis dis parturient montes, nascetur ridiculus mus. </a:t>
            </a:r>
          </a:p>
          <a:p>
            <a:pPr marL="171450" indent="-171450">
              <a:spcAft>
                <a:spcPts val="600"/>
              </a:spcAft>
              <a:buFont typeface="Wingdings" panose="05000000000000000000" pitchFamily="2" charset="2"/>
              <a:buChar char="§"/>
            </a:pPr>
            <a:r>
              <a:rPr lang="en-US" sz="800" dirty="0">
                <a:solidFill>
                  <a:schemeClr val="bg1"/>
                </a:solidFill>
              </a:rPr>
              <a:t>Nulla feugiat risus lorem, vel condimentum lectus vehicula at. </a:t>
            </a:r>
          </a:p>
          <a:p>
            <a:pPr marL="171450" indent="-171450">
              <a:spcAft>
                <a:spcPts val="600"/>
              </a:spcAft>
              <a:buFont typeface="Wingdings" panose="05000000000000000000" pitchFamily="2" charset="2"/>
              <a:buChar char="§"/>
            </a:pPr>
            <a:r>
              <a:rPr lang="en-US" sz="800" dirty="0">
                <a:solidFill>
                  <a:schemeClr val="bg1"/>
                </a:solidFill>
              </a:rPr>
              <a:t>Maecenas vel turpis aliquet, tincidunt lacus eget, fringilla enim Ut et leo vitae elit rhoncus gravida. </a:t>
            </a:r>
          </a:p>
          <a:p>
            <a:pPr marL="171450" indent="-171450">
              <a:spcAft>
                <a:spcPts val="600"/>
              </a:spcAft>
              <a:buFont typeface="Wingdings" panose="05000000000000000000" pitchFamily="2" charset="2"/>
              <a:buChar char="§"/>
            </a:pPr>
            <a:r>
              <a:rPr lang="en-US" sz="800" dirty="0">
                <a:solidFill>
                  <a:schemeClr val="bg1"/>
                </a:solidFill>
              </a:rPr>
              <a:t>Etiam accumsan euismod tempor dapibus. Donec quam tellus, varius sed egestas at, commodo ac odio.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960" y="2367280"/>
            <a:ext cx="3015486" cy="4085908"/>
          </a:xfrm>
          <a:prstGeom prst="rect">
            <a:avLst/>
          </a:prstGeom>
        </p:spPr>
      </p:pic>
      <p:sp>
        <p:nvSpPr>
          <p:cNvPr id="8" name="Text Placeholder 7"/>
          <p:cNvSpPr>
            <a:spLocks noGrp="1"/>
          </p:cNvSpPr>
          <p:nvPr>
            <p:ph type="body" sz="quarter" idx="35"/>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p>
        </p:txBody>
      </p:sp>
    </p:spTree>
    <p:extLst>
      <p:ext uri="{BB962C8B-B14F-4D97-AF65-F5344CB8AC3E}">
        <p14:creationId xmlns:p14="http://schemas.microsoft.com/office/powerpoint/2010/main" val="25258635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felis</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neque</a:t>
            </a:r>
            <a:r>
              <a:rPr lang="en-US" sz="1600" dirty="0"/>
              <a:t>, in </a:t>
            </a:r>
            <a:r>
              <a:rPr lang="en-US" sz="1600" dirty="0" err="1"/>
              <a:t>nunc</a:t>
            </a:r>
            <a:r>
              <a:rPr lang="en-US" sz="1600" dirty="0"/>
              <a:t> </a:t>
            </a:r>
            <a:r>
              <a:rPr lang="en-US" sz="1600" dirty="0" err="1"/>
              <a:t>mattis</a:t>
            </a:r>
            <a:r>
              <a:rPr lang="en-US" sz="1600" dirty="0"/>
              <a:t> </a:t>
            </a:r>
          </a:p>
          <a:p>
            <a:pPr marL="225425" indent="-225425">
              <a:buClr>
                <a:schemeClr val="tx2"/>
              </a:buClr>
              <a:buFont typeface="Wingdings" panose="05000000000000000000" pitchFamily="2" charset="2"/>
              <a:buChar char="§"/>
            </a:pPr>
            <a:endParaRPr lang="en-US" sz="1600" dirty="0"/>
          </a:p>
        </p:txBody>
      </p:sp>
      <p:sp>
        <p:nvSpPr>
          <p:cNvPr id="5" name="Text Placeholder 4"/>
          <p:cNvSpPr>
            <a:spLocks noGrp="1"/>
          </p:cNvSpPr>
          <p:nvPr>
            <p:ph type="body" sz="quarter" idx="33"/>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7" name="Text Placeholder 6"/>
          <p:cNvSpPr>
            <a:spLocks noGrp="1"/>
          </p:cNvSpPr>
          <p:nvPr>
            <p:ph type="body" sz="quarter" idx="34"/>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12" name="Text Placeholder 11"/>
          <p:cNvSpPr>
            <a:spLocks noGrp="1"/>
          </p:cNvSpPr>
          <p:nvPr>
            <p:ph type="body" sz="quarter" idx="35"/>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13" name="Text Placeholder 12"/>
          <p:cNvSpPr>
            <a:spLocks noGrp="1"/>
          </p:cNvSpPr>
          <p:nvPr>
            <p:ph type="body" sz="quarter" idx="36"/>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31" name="Rectangle 30"/>
          <p:cNvSpPr/>
          <p:nvPr/>
        </p:nvSpPr>
        <p:spPr>
          <a:xfrm>
            <a:off x="4042458" y="6106041"/>
            <a:ext cx="8266620" cy="369332"/>
          </a:xfrm>
          <a:prstGeom prst="rect">
            <a:avLst/>
          </a:prstGeom>
        </p:spPr>
        <p:txBody>
          <a:bodyPr wrap="square">
            <a:spAutoFit/>
          </a:bodyPr>
          <a:lstStyle/>
          <a:p>
            <a:pPr algn="ctr"/>
            <a:r>
              <a:rPr lang="en-US" b="1" dirty="0">
                <a:solidFill>
                  <a:schemeClr val="bg1"/>
                </a:solidFill>
              </a:rPr>
              <a:t>Lorem ipsum dolor sit amet, consectetur adipiscing elit. </a:t>
            </a:r>
          </a:p>
        </p:txBody>
      </p:sp>
    </p:spTree>
    <p:extLst>
      <p:ext uri="{BB962C8B-B14F-4D97-AF65-F5344CB8AC3E}">
        <p14:creationId xmlns:p14="http://schemas.microsoft.com/office/powerpoint/2010/main" val="18418162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347849" y="1409065"/>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14116" y="5287087"/>
            <a:ext cx="5537422" cy="553998"/>
          </a:xfrm>
          <a:prstGeom prst="rect">
            <a:avLst/>
          </a:prstGeom>
        </p:spPr>
        <p:txBody>
          <a:bodyPr wrap="square" lIns="0" tIns="0" rIns="0" bIns="0">
            <a:spAutoFit/>
          </a:bodyPr>
          <a:lstStyle/>
          <a:p>
            <a:pPr lvl="0"/>
            <a:r>
              <a:rPr lang="en-US" sz="1200" dirty="0"/>
              <a:t>Proin iaculis egestas massa, in cursus nisi condimentum non. Orci varius natoque penatibus magnis dis parturient montes, nascetur ridiculus mus. </a:t>
            </a:r>
          </a:p>
        </p:txBody>
      </p:sp>
    </p:spTree>
    <p:extLst>
      <p:ext uri="{BB962C8B-B14F-4D97-AF65-F5344CB8AC3E}">
        <p14:creationId xmlns:p14="http://schemas.microsoft.com/office/powerpoint/2010/main" val="13349578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4" name="Text Placeholder 3"/>
          <p:cNvSpPr>
            <a:spLocks noGrp="1"/>
          </p:cNvSpPr>
          <p:nvPr>
            <p:ph type="body" sz="quarter" idx="34"/>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6" name="Text Placeholder 5"/>
          <p:cNvSpPr>
            <a:spLocks noGrp="1"/>
          </p:cNvSpPr>
          <p:nvPr>
            <p:ph type="body" sz="quarter" idx="35"/>
          </p:nvPr>
        </p:nvSpPr>
        <p:spPr>
          <a:xfrm>
            <a:off x="9821137" y="1403849"/>
            <a:ext cx="1962875" cy="1829340"/>
          </a:xfrm>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p:txBody>
      </p:sp>
      <p:sp>
        <p:nvSpPr>
          <p:cNvPr id="28" name="Rectangle 27"/>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graphicFrame>
        <p:nvGraphicFramePr>
          <p:cNvPr id="67"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0" y="1268413"/>
          <a:ext cx="7398744" cy="25547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1246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5" name="Text Placeholder 4"/>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6" name="Text Placeholder 5"/>
          <p:cNvSpPr>
            <a:spLocks noGrp="1"/>
          </p:cNvSpPr>
          <p:nvPr>
            <p:ph type="body" sz="quarter" idx="35"/>
          </p:nvPr>
        </p:nvSpPr>
        <p:spPr/>
        <p:txBody>
          <a:bodyPr/>
          <a:lstStyle/>
          <a:p>
            <a:pPr>
              <a:buClr>
                <a:schemeClr val="tx2"/>
              </a:buClr>
            </a:pPr>
            <a:r>
              <a:rPr lang="en-US" dirty="0" err="1"/>
              <a:t>Lorem</a:t>
            </a:r>
            <a:r>
              <a:rPr lang="en-US" dirty="0"/>
              <a:t> </a:t>
            </a:r>
            <a:r>
              <a:rPr lang="en-US" dirty="0" err="1"/>
              <a:t>ipsum</a:t>
            </a:r>
            <a:r>
              <a:rPr lang="en-US" dirty="0"/>
              <a:t> dolor sit</a:t>
            </a:r>
          </a:p>
        </p:txBody>
      </p:sp>
      <p:sp>
        <p:nvSpPr>
          <p:cNvPr id="11" name="Freeform 238"/>
          <p:cNvSpPr>
            <a:spLocks/>
          </p:cNvSpPr>
          <p:nvPr/>
        </p:nvSpPr>
        <p:spPr bwMode="auto">
          <a:xfrm>
            <a:off x="2326661" y="3464842"/>
            <a:ext cx="135844" cy="132269"/>
          </a:xfrm>
          <a:custGeom>
            <a:avLst/>
            <a:gdLst>
              <a:gd name="T0" fmla="*/ 10 w 28"/>
              <a:gd name="T1" fmla="*/ 27 h 28"/>
              <a:gd name="T2" fmla="*/ 12 w 28"/>
              <a:gd name="T3" fmla="*/ 26 h 28"/>
              <a:gd name="T4" fmla="*/ 13 w 28"/>
              <a:gd name="T5" fmla="*/ 28 h 28"/>
              <a:gd name="T6" fmla="*/ 16 w 28"/>
              <a:gd name="T7" fmla="*/ 28 h 28"/>
              <a:gd name="T8" fmla="*/ 17 w 28"/>
              <a:gd name="T9" fmla="*/ 27 h 28"/>
              <a:gd name="T10" fmla="*/ 17 w 28"/>
              <a:gd name="T11" fmla="*/ 12 h 28"/>
              <a:gd name="T12" fmla="*/ 19 w 28"/>
              <a:gd name="T13" fmla="*/ 11 h 28"/>
              <a:gd name="T14" fmla="*/ 19 w 28"/>
              <a:gd name="T15" fmla="*/ 4 h 28"/>
              <a:gd name="T16" fmla="*/ 21 w 28"/>
              <a:gd name="T17" fmla="*/ 3 h 28"/>
              <a:gd name="T18" fmla="*/ 24 w 28"/>
              <a:gd name="T19" fmla="*/ 3 h 28"/>
              <a:gd name="T20" fmla="*/ 25 w 28"/>
              <a:gd name="T21" fmla="*/ 3 h 28"/>
              <a:gd name="T22" fmla="*/ 27 w 28"/>
              <a:gd name="T23" fmla="*/ 2 h 28"/>
              <a:gd name="T24" fmla="*/ 28 w 28"/>
              <a:gd name="T25" fmla="*/ 2 h 28"/>
              <a:gd name="T26" fmla="*/ 28 w 28"/>
              <a:gd name="T27" fmla="*/ 2 h 28"/>
              <a:gd name="T28" fmla="*/ 23 w 28"/>
              <a:gd name="T29" fmla="*/ 2 h 28"/>
              <a:gd name="T30" fmla="*/ 20 w 28"/>
              <a:gd name="T31" fmla="*/ 2 h 28"/>
              <a:gd name="T32" fmla="*/ 15 w 28"/>
              <a:gd name="T33" fmla="*/ 2 h 28"/>
              <a:gd name="T34" fmla="*/ 14 w 28"/>
              <a:gd name="T35" fmla="*/ 1 h 28"/>
              <a:gd name="T36" fmla="*/ 6 w 28"/>
              <a:gd name="T37" fmla="*/ 1 h 28"/>
              <a:gd name="T38" fmla="*/ 4 w 28"/>
              <a:gd name="T39" fmla="*/ 1 h 28"/>
              <a:gd name="T40" fmla="*/ 2 w 28"/>
              <a:gd name="T41" fmla="*/ 1 h 28"/>
              <a:gd name="T42" fmla="*/ 1 w 28"/>
              <a:gd name="T43" fmla="*/ 0 h 28"/>
              <a:gd name="T44" fmla="*/ 1 w 28"/>
              <a:gd name="T45" fmla="*/ 1 h 28"/>
              <a:gd name="T46" fmla="*/ 0 w 28"/>
              <a:gd name="T47" fmla="*/ 1 h 28"/>
              <a:gd name="T48" fmla="*/ 1 w 28"/>
              <a:gd name="T49" fmla="*/ 4 h 28"/>
              <a:gd name="T50" fmla="*/ 3 w 28"/>
              <a:gd name="T51" fmla="*/ 8 h 28"/>
              <a:gd name="T52" fmla="*/ 6 w 28"/>
              <a:gd name="T53" fmla="*/ 13 h 28"/>
              <a:gd name="T54" fmla="*/ 6 w 28"/>
              <a:gd name="T55" fmla="*/ 17 h 28"/>
              <a:gd name="T56" fmla="*/ 6 w 28"/>
              <a:gd name="T57" fmla="*/ 20 h 28"/>
              <a:gd name="T58" fmla="*/ 8 w 28"/>
              <a:gd name="T59" fmla="*/ 26 h 28"/>
              <a:gd name="T60" fmla="*/ 9 w 28"/>
              <a:gd name="T61" fmla="*/ 27 h 28"/>
              <a:gd name="T62" fmla="*/ 10 w 28"/>
              <a:gd name="T6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8">
                <a:moveTo>
                  <a:pt x="10" y="27"/>
                </a:moveTo>
                <a:cubicBezTo>
                  <a:pt x="10" y="27"/>
                  <a:pt x="11" y="26"/>
                  <a:pt x="12" y="26"/>
                </a:cubicBezTo>
                <a:cubicBezTo>
                  <a:pt x="12" y="27"/>
                  <a:pt x="12" y="28"/>
                  <a:pt x="13" y="28"/>
                </a:cubicBezTo>
                <a:cubicBezTo>
                  <a:pt x="14" y="28"/>
                  <a:pt x="15" y="28"/>
                  <a:pt x="16" y="28"/>
                </a:cubicBezTo>
                <a:cubicBezTo>
                  <a:pt x="16" y="28"/>
                  <a:pt x="17" y="27"/>
                  <a:pt x="17" y="27"/>
                </a:cubicBezTo>
                <a:cubicBezTo>
                  <a:pt x="17" y="12"/>
                  <a:pt x="17" y="12"/>
                  <a:pt x="17" y="12"/>
                </a:cubicBezTo>
                <a:cubicBezTo>
                  <a:pt x="17" y="11"/>
                  <a:pt x="19" y="12"/>
                  <a:pt x="19" y="11"/>
                </a:cubicBezTo>
                <a:cubicBezTo>
                  <a:pt x="19" y="4"/>
                  <a:pt x="19" y="4"/>
                  <a:pt x="19" y="4"/>
                </a:cubicBezTo>
                <a:cubicBezTo>
                  <a:pt x="19" y="4"/>
                  <a:pt x="21" y="3"/>
                  <a:pt x="21" y="3"/>
                </a:cubicBezTo>
                <a:cubicBezTo>
                  <a:pt x="22" y="3"/>
                  <a:pt x="23" y="2"/>
                  <a:pt x="24" y="3"/>
                </a:cubicBezTo>
                <a:cubicBezTo>
                  <a:pt x="24" y="3"/>
                  <a:pt x="25" y="4"/>
                  <a:pt x="25" y="3"/>
                </a:cubicBezTo>
                <a:cubicBezTo>
                  <a:pt x="25" y="3"/>
                  <a:pt x="26" y="2"/>
                  <a:pt x="27" y="2"/>
                </a:cubicBezTo>
                <a:cubicBezTo>
                  <a:pt x="27" y="2"/>
                  <a:pt x="27" y="2"/>
                  <a:pt x="28" y="2"/>
                </a:cubicBezTo>
                <a:cubicBezTo>
                  <a:pt x="28" y="2"/>
                  <a:pt x="28" y="2"/>
                  <a:pt x="28" y="2"/>
                </a:cubicBezTo>
                <a:cubicBezTo>
                  <a:pt x="28" y="1"/>
                  <a:pt x="24" y="2"/>
                  <a:pt x="23" y="2"/>
                </a:cubicBezTo>
                <a:cubicBezTo>
                  <a:pt x="23" y="2"/>
                  <a:pt x="20" y="3"/>
                  <a:pt x="20" y="2"/>
                </a:cubicBezTo>
                <a:cubicBezTo>
                  <a:pt x="19" y="2"/>
                  <a:pt x="15" y="2"/>
                  <a:pt x="15" y="2"/>
                </a:cubicBezTo>
                <a:cubicBezTo>
                  <a:pt x="14" y="1"/>
                  <a:pt x="14" y="1"/>
                  <a:pt x="14" y="1"/>
                </a:cubicBezTo>
                <a:cubicBezTo>
                  <a:pt x="6" y="1"/>
                  <a:pt x="6" y="1"/>
                  <a:pt x="6" y="1"/>
                </a:cubicBezTo>
                <a:cubicBezTo>
                  <a:pt x="6" y="1"/>
                  <a:pt x="5" y="1"/>
                  <a:pt x="4" y="1"/>
                </a:cubicBezTo>
                <a:cubicBezTo>
                  <a:pt x="4" y="0"/>
                  <a:pt x="3" y="0"/>
                  <a:pt x="2" y="1"/>
                </a:cubicBezTo>
                <a:cubicBezTo>
                  <a:pt x="2" y="1"/>
                  <a:pt x="2" y="0"/>
                  <a:pt x="1" y="0"/>
                </a:cubicBezTo>
                <a:cubicBezTo>
                  <a:pt x="1" y="0"/>
                  <a:pt x="1" y="1"/>
                  <a:pt x="1" y="1"/>
                </a:cubicBezTo>
                <a:cubicBezTo>
                  <a:pt x="0" y="1"/>
                  <a:pt x="0" y="1"/>
                  <a:pt x="0" y="1"/>
                </a:cubicBezTo>
                <a:cubicBezTo>
                  <a:pt x="0" y="2"/>
                  <a:pt x="0" y="3"/>
                  <a:pt x="1" y="4"/>
                </a:cubicBezTo>
                <a:cubicBezTo>
                  <a:pt x="2" y="5"/>
                  <a:pt x="3" y="7"/>
                  <a:pt x="3" y="8"/>
                </a:cubicBezTo>
                <a:cubicBezTo>
                  <a:pt x="4" y="10"/>
                  <a:pt x="5" y="12"/>
                  <a:pt x="6" y="13"/>
                </a:cubicBezTo>
                <a:cubicBezTo>
                  <a:pt x="6" y="14"/>
                  <a:pt x="5" y="16"/>
                  <a:pt x="6" y="17"/>
                </a:cubicBezTo>
                <a:cubicBezTo>
                  <a:pt x="6" y="18"/>
                  <a:pt x="6" y="19"/>
                  <a:pt x="6" y="20"/>
                </a:cubicBezTo>
                <a:cubicBezTo>
                  <a:pt x="7" y="22"/>
                  <a:pt x="7" y="24"/>
                  <a:pt x="8" y="26"/>
                </a:cubicBezTo>
                <a:cubicBezTo>
                  <a:pt x="8" y="26"/>
                  <a:pt x="9" y="27"/>
                  <a:pt x="9" y="27"/>
                </a:cubicBezTo>
                <a:cubicBezTo>
                  <a:pt x="10" y="27"/>
                  <a:pt x="10" y="27"/>
                  <a:pt x="1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39"/>
          <p:cNvSpPr>
            <a:spLocks/>
          </p:cNvSpPr>
          <p:nvPr/>
        </p:nvSpPr>
        <p:spPr bwMode="auto">
          <a:xfrm>
            <a:off x="2462505" y="3450542"/>
            <a:ext cx="85796" cy="75072"/>
          </a:xfrm>
          <a:custGeom>
            <a:avLst/>
            <a:gdLst>
              <a:gd name="T0" fmla="*/ 12 w 18"/>
              <a:gd name="T1" fmla="*/ 1 h 16"/>
              <a:gd name="T2" fmla="*/ 11 w 18"/>
              <a:gd name="T3" fmla="*/ 0 h 16"/>
              <a:gd name="T4" fmla="*/ 9 w 18"/>
              <a:gd name="T5" fmla="*/ 0 h 16"/>
              <a:gd name="T6" fmla="*/ 8 w 18"/>
              <a:gd name="T7" fmla="*/ 1 h 16"/>
              <a:gd name="T8" fmla="*/ 6 w 18"/>
              <a:gd name="T9" fmla="*/ 3 h 16"/>
              <a:gd name="T10" fmla="*/ 4 w 18"/>
              <a:gd name="T11" fmla="*/ 5 h 16"/>
              <a:gd name="T12" fmla="*/ 1 w 18"/>
              <a:gd name="T13" fmla="*/ 5 h 16"/>
              <a:gd name="T14" fmla="*/ 0 w 18"/>
              <a:gd name="T15" fmla="*/ 5 h 16"/>
              <a:gd name="T16" fmla="*/ 1 w 18"/>
              <a:gd name="T17" fmla="*/ 6 h 16"/>
              <a:gd name="T18" fmla="*/ 2 w 18"/>
              <a:gd name="T19" fmla="*/ 9 h 16"/>
              <a:gd name="T20" fmla="*/ 5 w 18"/>
              <a:gd name="T21" fmla="*/ 11 h 16"/>
              <a:gd name="T22" fmla="*/ 6 w 18"/>
              <a:gd name="T23" fmla="*/ 12 h 16"/>
              <a:gd name="T24" fmla="*/ 7 w 18"/>
              <a:gd name="T25" fmla="*/ 14 h 16"/>
              <a:gd name="T26" fmla="*/ 9 w 18"/>
              <a:gd name="T27" fmla="*/ 15 h 16"/>
              <a:gd name="T28" fmla="*/ 11 w 18"/>
              <a:gd name="T29" fmla="*/ 15 h 16"/>
              <a:gd name="T30" fmla="*/ 13 w 18"/>
              <a:gd name="T31" fmla="*/ 16 h 16"/>
              <a:gd name="T32" fmla="*/ 16 w 18"/>
              <a:gd name="T33" fmla="*/ 13 h 16"/>
              <a:gd name="T34" fmla="*/ 16 w 18"/>
              <a:gd name="T35" fmla="*/ 11 h 16"/>
              <a:gd name="T36" fmla="*/ 17 w 18"/>
              <a:gd name="T37" fmla="*/ 10 h 16"/>
              <a:gd name="T38" fmla="*/ 17 w 18"/>
              <a:gd name="T39" fmla="*/ 8 h 16"/>
              <a:gd name="T40" fmla="*/ 17 w 18"/>
              <a:gd name="T41" fmla="*/ 6 h 16"/>
              <a:gd name="T42" fmla="*/ 17 w 18"/>
              <a:gd name="T43" fmla="*/ 2 h 16"/>
              <a:gd name="T44" fmla="*/ 15 w 18"/>
              <a:gd name="T45" fmla="*/ 2 h 16"/>
              <a:gd name="T46" fmla="*/ 12 w 18"/>
              <a:gd name="T4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2" y="1"/>
                </a:moveTo>
                <a:cubicBezTo>
                  <a:pt x="11" y="0"/>
                  <a:pt x="11" y="0"/>
                  <a:pt x="11" y="0"/>
                </a:cubicBezTo>
                <a:cubicBezTo>
                  <a:pt x="9" y="0"/>
                  <a:pt x="9" y="0"/>
                  <a:pt x="9" y="0"/>
                </a:cubicBezTo>
                <a:cubicBezTo>
                  <a:pt x="8" y="1"/>
                  <a:pt x="8" y="1"/>
                  <a:pt x="8" y="1"/>
                </a:cubicBezTo>
                <a:cubicBezTo>
                  <a:pt x="8" y="2"/>
                  <a:pt x="7" y="3"/>
                  <a:pt x="6" y="3"/>
                </a:cubicBezTo>
                <a:cubicBezTo>
                  <a:pt x="5" y="3"/>
                  <a:pt x="4" y="5"/>
                  <a:pt x="4" y="5"/>
                </a:cubicBezTo>
                <a:cubicBezTo>
                  <a:pt x="3" y="6"/>
                  <a:pt x="2" y="5"/>
                  <a:pt x="1" y="5"/>
                </a:cubicBezTo>
                <a:cubicBezTo>
                  <a:pt x="1" y="5"/>
                  <a:pt x="0" y="5"/>
                  <a:pt x="0" y="5"/>
                </a:cubicBezTo>
                <a:cubicBezTo>
                  <a:pt x="0" y="6"/>
                  <a:pt x="1" y="6"/>
                  <a:pt x="1" y="6"/>
                </a:cubicBezTo>
                <a:cubicBezTo>
                  <a:pt x="2" y="6"/>
                  <a:pt x="2" y="9"/>
                  <a:pt x="2" y="9"/>
                </a:cubicBezTo>
                <a:cubicBezTo>
                  <a:pt x="3" y="9"/>
                  <a:pt x="5" y="10"/>
                  <a:pt x="5" y="11"/>
                </a:cubicBezTo>
                <a:cubicBezTo>
                  <a:pt x="5" y="11"/>
                  <a:pt x="6" y="12"/>
                  <a:pt x="6" y="12"/>
                </a:cubicBezTo>
                <a:cubicBezTo>
                  <a:pt x="6" y="13"/>
                  <a:pt x="6" y="14"/>
                  <a:pt x="7" y="14"/>
                </a:cubicBezTo>
                <a:cubicBezTo>
                  <a:pt x="9" y="14"/>
                  <a:pt x="9" y="14"/>
                  <a:pt x="9" y="15"/>
                </a:cubicBezTo>
                <a:cubicBezTo>
                  <a:pt x="9" y="15"/>
                  <a:pt x="11" y="15"/>
                  <a:pt x="11" y="15"/>
                </a:cubicBezTo>
                <a:cubicBezTo>
                  <a:pt x="11" y="16"/>
                  <a:pt x="13" y="15"/>
                  <a:pt x="13" y="16"/>
                </a:cubicBezTo>
                <a:cubicBezTo>
                  <a:pt x="14" y="15"/>
                  <a:pt x="15" y="14"/>
                  <a:pt x="16" y="13"/>
                </a:cubicBezTo>
                <a:cubicBezTo>
                  <a:pt x="16" y="13"/>
                  <a:pt x="16" y="12"/>
                  <a:pt x="16" y="11"/>
                </a:cubicBezTo>
                <a:cubicBezTo>
                  <a:pt x="17" y="11"/>
                  <a:pt x="18" y="10"/>
                  <a:pt x="17" y="10"/>
                </a:cubicBezTo>
                <a:cubicBezTo>
                  <a:pt x="17" y="9"/>
                  <a:pt x="17" y="8"/>
                  <a:pt x="17" y="8"/>
                </a:cubicBezTo>
                <a:cubicBezTo>
                  <a:pt x="16" y="7"/>
                  <a:pt x="17" y="7"/>
                  <a:pt x="17" y="6"/>
                </a:cubicBezTo>
                <a:cubicBezTo>
                  <a:pt x="17" y="5"/>
                  <a:pt x="17" y="3"/>
                  <a:pt x="17" y="2"/>
                </a:cubicBezTo>
                <a:cubicBezTo>
                  <a:pt x="17" y="2"/>
                  <a:pt x="15" y="2"/>
                  <a:pt x="15" y="2"/>
                </a:cubicBezTo>
                <a:cubicBezTo>
                  <a:pt x="14" y="1"/>
                  <a:pt x="12" y="1"/>
                  <a:pt x="12"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40"/>
          <p:cNvSpPr>
            <a:spLocks/>
          </p:cNvSpPr>
          <p:nvPr/>
        </p:nvSpPr>
        <p:spPr bwMode="auto">
          <a:xfrm>
            <a:off x="2408882" y="3471991"/>
            <a:ext cx="96521" cy="107245"/>
          </a:xfrm>
          <a:custGeom>
            <a:avLst/>
            <a:gdLst>
              <a:gd name="T0" fmla="*/ 18 w 20"/>
              <a:gd name="T1" fmla="*/ 9 h 22"/>
              <a:gd name="T2" fmla="*/ 17 w 20"/>
              <a:gd name="T3" fmla="*/ 7 h 22"/>
              <a:gd name="T4" fmla="*/ 16 w 20"/>
              <a:gd name="T5" fmla="*/ 6 h 22"/>
              <a:gd name="T6" fmla="*/ 13 w 20"/>
              <a:gd name="T7" fmla="*/ 4 h 22"/>
              <a:gd name="T8" fmla="*/ 12 w 20"/>
              <a:gd name="T9" fmla="*/ 1 h 22"/>
              <a:gd name="T10" fmla="*/ 11 w 20"/>
              <a:gd name="T11" fmla="*/ 0 h 22"/>
              <a:gd name="T12" fmla="*/ 10 w 20"/>
              <a:gd name="T13" fmla="*/ 0 h 22"/>
              <a:gd name="T14" fmla="*/ 8 w 20"/>
              <a:gd name="T15" fmla="*/ 1 h 22"/>
              <a:gd name="T16" fmla="*/ 7 w 20"/>
              <a:gd name="T17" fmla="*/ 1 h 22"/>
              <a:gd name="T18" fmla="*/ 4 w 20"/>
              <a:gd name="T19" fmla="*/ 1 h 22"/>
              <a:gd name="T20" fmla="*/ 2 w 20"/>
              <a:gd name="T21" fmla="*/ 2 h 22"/>
              <a:gd name="T22" fmla="*/ 2 w 20"/>
              <a:gd name="T23" fmla="*/ 9 h 22"/>
              <a:gd name="T24" fmla="*/ 0 w 20"/>
              <a:gd name="T25" fmla="*/ 10 h 22"/>
              <a:gd name="T26" fmla="*/ 0 w 20"/>
              <a:gd name="T27" fmla="*/ 16 h 22"/>
              <a:gd name="T28" fmla="*/ 1 w 20"/>
              <a:gd name="T29" fmla="*/ 17 h 22"/>
              <a:gd name="T30" fmla="*/ 2 w 20"/>
              <a:gd name="T31" fmla="*/ 20 h 22"/>
              <a:gd name="T32" fmla="*/ 1 w 20"/>
              <a:gd name="T33" fmla="*/ 20 h 22"/>
              <a:gd name="T34" fmla="*/ 2 w 20"/>
              <a:gd name="T35" fmla="*/ 21 h 22"/>
              <a:gd name="T36" fmla="*/ 4 w 20"/>
              <a:gd name="T37" fmla="*/ 21 h 22"/>
              <a:gd name="T38" fmla="*/ 6 w 20"/>
              <a:gd name="T39" fmla="*/ 19 h 22"/>
              <a:gd name="T40" fmla="*/ 7 w 20"/>
              <a:gd name="T41" fmla="*/ 18 h 22"/>
              <a:gd name="T42" fmla="*/ 10 w 20"/>
              <a:gd name="T43" fmla="*/ 18 h 22"/>
              <a:gd name="T44" fmla="*/ 12 w 20"/>
              <a:gd name="T45" fmla="*/ 17 h 22"/>
              <a:gd name="T46" fmla="*/ 13 w 20"/>
              <a:gd name="T47" fmla="*/ 16 h 22"/>
              <a:gd name="T48" fmla="*/ 15 w 20"/>
              <a:gd name="T49" fmla="*/ 14 h 22"/>
              <a:gd name="T50" fmla="*/ 16 w 20"/>
              <a:gd name="T51" fmla="*/ 13 h 22"/>
              <a:gd name="T52" fmla="*/ 18 w 20"/>
              <a:gd name="T53" fmla="*/ 12 h 22"/>
              <a:gd name="T54" fmla="*/ 19 w 20"/>
              <a:gd name="T55" fmla="*/ 11 h 22"/>
              <a:gd name="T56" fmla="*/ 20 w 20"/>
              <a:gd name="T57" fmla="*/ 10 h 22"/>
              <a:gd name="T58" fmla="*/ 20 w 20"/>
              <a:gd name="T59" fmla="*/ 10 h 22"/>
              <a:gd name="T60" fmla="*/ 18 w 20"/>
              <a:gd name="T6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2">
                <a:moveTo>
                  <a:pt x="18" y="9"/>
                </a:moveTo>
                <a:cubicBezTo>
                  <a:pt x="17" y="9"/>
                  <a:pt x="17" y="8"/>
                  <a:pt x="17" y="7"/>
                </a:cubicBezTo>
                <a:cubicBezTo>
                  <a:pt x="17" y="7"/>
                  <a:pt x="16" y="6"/>
                  <a:pt x="16" y="6"/>
                </a:cubicBezTo>
                <a:cubicBezTo>
                  <a:pt x="16" y="5"/>
                  <a:pt x="14" y="4"/>
                  <a:pt x="13" y="4"/>
                </a:cubicBezTo>
                <a:cubicBezTo>
                  <a:pt x="13" y="4"/>
                  <a:pt x="13" y="1"/>
                  <a:pt x="12" y="1"/>
                </a:cubicBezTo>
                <a:cubicBezTo>
                  <a:pt x="12" y="1"/>
                  <a:pt x="11" y="1"/>
                  <a:pt x="11" y="0"/>
                </a:cubicBezTo>
                <a:cubicBezTo>
                  <a:pt x="10" y="0"/>
                  <a:pt x="10" y="0"/>
                  <a:pt x="10" y="0"/>
                </a:cubicBezTo>
                <a:cubicBezTo>
                  <a:pt x="9" y="0"/>
                  <a:pt x="8" y="1"/>
                  <a:pt x="8" y="1"/>
                </a:cubicBezTo>
                <a:cubicBezTo>
                  <a:pt x="8" y="2"/>
                  <a:pt x="7" y="1"/>
                  <a:pt x="7" y="1"/>
                </a:cubicBezTo>
                <a:cubicBezTo>
                  <a:pt x="6" y="0"/>
                  <a:pt x="5" y="1"/>
                  <a:pt x="4" y="1"/>
                </a:cubicBezTo>
                <a:cubicBezTo>
                  <a:pt x="4" y="1"/>
                  <a:pt x="2" y="2"/>
                  <a:pt x="2" y="2"/>
                </a:cubicBezTo>
                <a:cubicBezTo>
                  <a:pt x="2" y="9"/>
                  <a:pt x="2" y="9"/>
                  <a:pt x="2" y="9"/>
                </a:cubicBezTo>
                <a:cubicBezTo>
                  <a:pt x="2" y="10"/>
                  <a:pt x="0" y="9"/>
                  <a:pt x="0" y="10"/>
                </a:cubicBezTo>
                <a:cubicBezTo>
                  <a:pt x="0" y="16"/>
                  <a:pt x="0" y="16"/>
                  <a:pt x="0" y="16"/>
                </a:cubicBezTo>
                <a:cubicBezTo>
                  <a:pt x="0" y="17"/>
                  <a:pt x="1" y="17"/>
                  <a:pt x="1" y="17"/>
                </a:cubicBezTo>
                <a:cubicBezTo>
                  <a:pt x="1" y="18"/>
                  <a:pt x="2" y="19"/>
                  <a:pt x="2" y="20"/>
                </a:cubicBezTo>
                <a:cubicBezTo>
                  <a:pt x="2" y="20"/>
                  <a:pt x="1" y="20"/>
                  <a:pt x="1" y="20"/>
                </a:cubicBezTo>
                <a:cubicBezTo>
                  <a:pt x="1" y="21"/>
                  <a:pt x="1" y="21"/>
                  <a:pt x="2" y="21"/>
                </a:cubicBezTo>
                <a:cubicBezTo>
                  <a:pt x="2" y="21"/>
                  <a:pt x="3" y="22"/>
                  <a:pt x="4" y="21"/>
                </a:cubicBezTo>
                <a:cubicBezTo>
                  <a:pt x="4" y="21"/>
                  <a:pt x="6" y="19"/>
                  <a:pt x="6" y="19"/>
                </a:cubicBezTo>
                <a:cubicBezTo>
                  <a:pt x="6" y="18"/>
                  <a:pt x="6" y="17"/>
                  <a:pt x="7" y="18"/>
                </a:cubicBezTo>
                <a:cubicBezTo>
                  <a:pt x="9" y="18"/>
                  <a:pt x="9" y="18"/>
                  <a:pt x="10" y="18"/>
                </a:cubicBezTo>
                <a:cubicBezTo>
                  <a:pt x="11" y="18"/>
                  <a:pt x="12" y="18"/>
                  <a:pt x="12" y="17"/>
                </a:cubicBezTo>
                <a:cubicBezTo>
                  <a:pt x="12" y="17"/>
                  <a:pt x="12" y="16"/>
                  <a:pt x="13" y="16"/>
                </a:cubicBezTo>
                <a:cubicBezTo>
                  <a:pt x="14" y="16"/>
                  <a:pt x="15" y="15"/>
                  <a:pt x="15" y="14"/>
                </a:cubicBezTo>
                <a:cubicBezTo>
                  <a:pt x="15" y="14"/>
                  <a:pt x="15" y="13"/>
                  <a:pt x="16" y="13"/>
                </a:cubicBezTo>
                <a:cubicBezTo>
                  <a:pt x="16" y="13"/>
                  <a:pt x="17" y="12"/>
                  <a:pt x="18" y="12"/>
                </a:cubicBezTo>
                <a:cubicBezTo>
                  <a:pt x="18" y="11"/>
                  <a:pt x="19" y="11"/>
                  <a:pt x="19" y="11"/>
                </a:cubicBezTo>
                <a:cubicBezTo>
                  <a:pt x="19" y="11"/>
                  <a:pt x="19" y="10"/>
                  <a:pt x="20" y="10"/>
                </a:cubicBezTo>
                <a:cubicBezTo>
                  <a:pt x="20" y="10"/>
                  <a:pt x="20" y="10"/>
                  <a:pt x="20" y="10"/>
                </a:cubicBezTo>
                <a:cubicBezTo>
                  <a:pt x="20" y="9"/>
                  <a:pt x="20" y="9"/>
                  <a:pt x="18"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41"/>
          <p:cNvSpPr>
            <a:spLocks/>
          </p:cNvSpPr>
          <p:nvPr/>
        </p:nvSpPr>
        <p:spPr bwMode="auto">
          <a:xfrm>
            <a:off x="2519703" y="3564937"/>
            <a:ext cx="14299" cy="14299"/>
          </a:xfrm>
          <a:custGeom>
            <a:avLst/>
            <a:gdLst>
              <a:gd name="T0" fmla="*/ 2 w 3"/>
              <a:gd name="T1" fmla="*/ 0 h 3"/>
              <a:gd name="T2" fmla="*/ 0 w 3"/>
              <a:gd name="T3" fmla="*/ 1 h 3"/>
              <a:gd name="T4" fmla="*/ 2 w 3"/>
              <a:gd name="T5" fmla="*/ 3 h 3"/>
              <a:gd name="T6" fmla="*/ 3 w 3"/>
              <a:gd name="T7" fmla="*/ 3 h 3"/>
              <a:gd name="T8" fmla="*/ 3 w 3"/>
              <a:gd name="T9" fmla="*/ 2 h 3"/>
              <a:gd name="T10" fmla="*/ 3 w 3"/>
              <a:gd name="T11" fmla="*/ 0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0" y="1"/>
                  <a:pt x="0" y="1"/>
                </a:cubicBezTo>
                <a:cubicBezTo>
                  <a:pt x="0" y="1"/>
                  <a:pt x="1" y="3"/>
                  <a:pt x="2" y="3"/>
                </a:cubicBezTo>
                <a:cubicBezTo>
                  <a:pt x="2" y="3"/>
                  <a:pt x="3" y="3"/>
                  <a:pt x="3" y="3"/>
                </a:cubicBezTo>
                <a:cubicBezTo>
                  <a:pt x="3" y="2"/>
                  <a:pt x="3" y="2"/>
                  <a:pt x="3" y="2"/>
                </a:cubicBezTo>
                <a:cubicBezTo>
                  <a:pt x="3" y="2"/>
                  <a:pt x="3" y="1"/>
                  <a:pt x="3" y="0"/>
                </a:cubicBezTo>
                <a:cubicBezTo>
                  <a:pt x="3" y="0"/>
                  <a:pt x="2" y="0"/>
                  <a:pt x="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42"/>
          <p:cNvSpPr>
            <a:spLocks/>
          </p:cNvSpPr>
          <p:nvPr/>
        </p:nvSpPr>
        <p:spPr bwMode="auto">
          <a:xfrm>
            <a:off x="2480379" y="3593536"/>
            <a:ext cx="25024" cy="25024"/>
          </a:xfrm>
          <a:custGeom>
            <a:avLst/>
            <a:gdLst>
              <a:gd name="T0" fmla="*/ 4 w 5"/>
              <a:gd name="T1" fmla="*/ 0 h 5"/>
              <a:gd name="T2" fmla="*/ 2 w 5"/>
              <a:gd name="T3" fmla="*/ 1 h 5"/>
              <a:gd name="T4" fmla="*/ 0 w 5"/>
              <a:gd name="T5" fmla="*/ 3 h 5"/>
              <a:gd name="T6" fmla="*/ 2 w 5"/>
              <a:gd name="T7" fmla="*/ 5 h 5"/>
              <a:gd name="T8" fmla="*/ 2 w 5"/>
              <a:gd name="T9" fmla="*/ 5 h 5"/>
              <a:gd name="T10" fmla="*/ 3 w 5"/>
              <a:gd name="T11" fmla="*/ 4 h 5"/>
              <a:gd name="T12" fmla="*/ 4 w 5"/>
              <a:gd name="T13" fmla="*/ 4 h 5"/>
              <a:gd name="T14" fmla="*/ 5 w 5"/>
              <a:gd name="T15" fmla="*/ 2 h 5"/>
              <a:gd name="T16" fmla="*/ 4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4" y="0"/>
                </a:moveTo>
                <a:cubicBezTo>
                  <a:pt x="3" y="0"/>
                  <a:pt x="2" y="1"/>
                  <a:pt x="2" y="1"/>
                </a:cubicBezTo>
                <a:cubicBezTo>
                  <a:pt x="1" y="2"/>
                  <a:pt x="0" y="3"/>
                  <a:pt x="0" y="3"/>
                </a:cubicBezTo>
                <a:cubicBezTo>
                  <a:pt x="2" y="5"/>
                  <a:pt x="2" y="5"/>
                  <a:pt x="2" y="5"/>
                </a:cubicBezTo>
                <a:cubicBezTo>
                  <a:pt x="2" y="5"/>
                  <a:pt x="2" y="5"/>
                  <a:pt x="2" y="5"/>
                </a:cubicBezTo>
                <a:cubicBezTo>
                  <a:pt x="2" y="5"/>
                  <a:pt x="3" y="5"/>
                  <a:pt x="3" y="4"/>
                </a:cubicBezTo>
                <a:cubicBezTo>
                  <a:pt x="3" y="4"/>
                  <a:pt x="4" y="4"/>
                  <a:pt x="4" y="4"/>
                </a:cubicBezTo>
                <a:cubicBezTo>
                  <a:pt x="4" y="3"/>
                  <a:pt x="5" y="3"/>
                  <a:pt x="5" y="2"/>
                </a:cubicBezTo>
                <a:cubicBezTo>
                  <a:pt x="5" y="2"/>
                  <a:pt x="4" y="1"/>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3"/>
          <p:cNvSpPr>
            <a:spLocks noEditPoints="1"/>
          </p:cNvSpPr>
          <p:nvPr/>
        </p:nvSpPr>
        <p:spPr bwMode="auto">
          <a:xfrm>
            <a:off x="2369559" y="3522039"/>
            <a:ext cx="175168" cy="150144"/>
          </a:xfrm>
          <a:custGeom>
            <a:avLst/>
            <a:gdLst>
              <a:gd name="T0" fmla="*/ 34 w 36"/>
              <a:gd name="T1" fmla="*/ 11 h 31"/>
              <a:gd name="T2" fmla="*/ 34 w 36"/>
              <a:gd name="T3" fmla="*/ 11 h 31"/>
              <a:gd name="T4" fmla="*/ 34 w 36"/>
              <a:gd name="T5" fmla="*/ 12 h 31"/>
              <a:gd name="T6" fmla="*/ 33 w 36"/>
              <a:gd name="T7" fmla="*/ 12 h 31"/>
              <a:gd name="T8" fmla="*/ 31 w 36"/>
              <a:gd name="T9" fmla="*/ 10 h 31"/>
              <a:gd name="T10" fmla="*/ 33 w 36"/>
              <a:gd name="T11" fmla="*/ 9 h 31"/>
              <a:gd name="T12" fmla="*/ 34 w 36"/>
              <a:gd name="T13" fmla="*/ 9 h 31"/>
              <a:gd name="T14" fmla="*/ 34 w 36"/>
              <a:gd name="T15" fmla="*/ 9 h 31"/>
              <a:gd name="T16" fmla="*/ 34 w 36"/>
              <a:gd name="T17" fmla="*/ 5 h 31"/>
              <a:gd name="T18" fmla="*/ 32 w 36"/>
              <a:gd name="T19" fmla="*/ 1 h 31"/>
              <a:gd name="T20" fmla="*/ 30 w 36"/>
              <a:gd name="T21" fmla="*/ 0 h 31"/>
              <a:gd name="T22" fmla="*/ 28 w 36"/>
              <a:gd name="T23" fmla="*/ 0 h 31"/>
              <a:gd name="T24" fmla="*/ 27 w 36"/>
              <a:gd name="T25" fmla="*/ 1 h 31"/>
              <a:gd name="T26" fmla="*/ 26 w 36"/>
              <a:gd name="T27" fmla="*/ 2 h 31"/>
              <a:gd name="T28" fmla="*/ 24 w 36"/>
              <a:gd name="T29" fmla="*/ 3 h 31"/>
              <a:gd name="T30" fmla="*/ 23 w 36"/>
              <a:gd name="T31" fmla="*/ 4 h 31"/>
              <a:gd name="T32" fmla="*/ 21 w 36"/>
              <a:gd name="T33" fmla="*/ 6 h 31"/>
              <a:gd name="T34" fmla="*/ 20 w 36"/>
              <a:gd name="T35" fmla="*/ 7 h 31"/>
              <a:gd name="T36" fmla="*/ 18 w 36"/>
              <a:gd name="T37" fmla="*/ 8 h 31"/>
              <a:gd name="T38" fmla="*/ 15 w 36"/>
              <a:gd name="T39" fmla="*/ 8 h 31"/>
              <a:gd name="T40" fmla="*/ 14 w 36"/>
              <a:gd name="T41" fmla="*/ 9 h 31"/>
              <a:gd name="T42" fmla="*/ 12 w 36"/>
              <a:gd name="T43" fmla="*/ 11 h 31"/>
              <a:gd name="T44" fmla="*/ 10 w 36"/>
              <a:gd name="T45" fmla="*/ 11 h 31"/>
              <a:gd name="T46" fmla="*/ 9 w 36"/>
              <a:gd name="T47" fmla="*/ 10 h 31"/>
              <a:gd name="T48" fmla="*/ 10 w 36"/>
              <a:gd name="T49" fmla="*/ 10 h 31"/>
              <a:gd name="T50" fmla="*/ 9 w 36"/>
              <a:gd name="T51" fmla="*/ 7 h 31"/>
              <a:gd name="T52" fmla="*/ 8 w 36"/>
              <a:gd name="T53" fmla="*/ 6 h 31"/>
              <a:gd name="T54" fmla="*/ 8 w 36"/>
              <a:gd name="T55" fmla="*/ 15 h 31"/>
              <a:gd name="T56" fmla="*/ 7 w 36"/>
              <a:gd name="T57" fmla="*/ 16 h 31"/>
              <a:gd name="T58" fmla="*/ 4 w 36"/>
              <a:gd name="T59" fmla="*/ 16 h 31"/>
              <a:gd name="T60" fmla="*/ 3 w 36"/>
              <a:gd name="T61" fmla="*/ 14 h 31"/>
              <a:gd name="T62" fmla="*/ 1 w 36"/>
              <a:gd name="T63" fmla="*/ 15 h 31"/>
              <a:gd name="T64" fmla="*/ 0 w 36"/>
              <a:gd name="T65" fmla="*/ 15 h 31"/>
              <a:gd name="T66" fmla="*/ 2 w 36"/>
              <a:gd name="T67" fmla="*/ 19 h 31"/>
              <a:gd name="T68" fmla="*/ 4 w 36"/>
              <a:gd name="T69" fmla="*/ 23 h 31"/>
              <a:gd name="T70" fmla="*/ 4 w 36"/>
              <a:gd name="T71" fmla="*/ 25 h 31"/>
              <a:gd name="T72" fmla="*/ 4 w 36"/>
              <a:gd name="T73" fmla="*/ 27 h 31"/>
              <a:gd name="T74" fmla="*/ 5 w 36"/>
              <a:gd name="T75" fmla="*/ 29 h 31"/>
              <a:gd name="T76" fmla="*/ 6 w 36"/>
              <a:gd name="T77" fmla="*/ 30 h 31"/>
              <a:gd name="T78" fmla="*/ 7 w 36"/>
              <a:gd name="T79" fmla="*/ 31 h 31"/>
              <a:gd name="T80" fmla="*/ 8 w 36"/>
              <a:gd name="T81" fmla="*/ 30 h 31"/>
              <a:gd name="T82" fmla="*/ 11 w 36"/>
              <a:gd name="T83" fmla="*/ 30 h 31"/>
              <a:gd name="T84" fmla="*/ 13 w 36"/>
              <a:gd name="T85" fmla="*/ 29 h 31"/>
              <a:gd name="T86" fmla="*/ 16 w 36"/>
              <a:gd name="T87" fmla="*/ 29 h 31"/>
              <a:gd name="T88" fmla="*/ 19 w 36"/>
              <a:gd name="T89" fmla="*/ 29 h 31"/>
              <a:gd name="T90" fmla="*/ 20 w 36"/>
              <a:gd name="T91" fmla="*/ 28 h 31"/>
              <a:gd name="T92" fmla="*/ 22 w 36"/>
              <a:gd name="T93" fmla="*/ 28 h 31"/>
              <a:gd name="T94" fmla="*/ 26 w 36"/>
              <a:gd name="T95" fmla="*/ 25 h 31"/>
              <a:gd name="T96" fmla="*/ 32 w 36"/>
              <a:gd name="T97" fmla="*/ 18 h 31"/>
              <a:gd name="T98" fmla="*/ 35 w 36"/>
              <a:gd name="T99" fmla="*/ 15 h 31"/>
              <a:gd name="T100" fmla="*/ 36 w 36"/>
              <a:gd name="T101" fmla="*/ 11 h 31"/>
              <a:gd name="T102" fmla="*/ 34 w 36"/>
              <a:gd name="T103" fmla="*/ 11 h 31"/>
              <a:gd name="T104" fmla="*/ 27 w 36"/>
              <a:gd name="T105" fmla="*/ 19 h 31"/>
              <a:gd name="T106" fmla="*/ 26 w 36"/>
              <a:gd name="T107" fmla="*/ 19 h 31"/>
              <a:gd name="T108" fmla="*/ 25 w 36"/>
              <a:gd name="T109" fmla="*/ 20 h 31"/>
              <a:gd name="T110" fmla="*/ 25 w 36"/>
              <a:gd name="T111" fmla="*/ 20 h 31"/>
              <a:gd name="T112" fmla="*/ 23 w 36"/>
              <a:gd name="T113" fmla="*/ 18 h 31"/>
              <a:gd name="T114" fmla="*/ 25 w 36"/>
              <a:gd name="T115" fmla="*/ 16 h 31"/>
              <a:gd name="T116" fmla="*/ 27 w 36"/>
              <a:gd name="T117" fmla="*/ 15 h 31"/>
              <a:gd name="T118" fmla="*/ 28 w 36"/>
              <a:gd name="T119" fmla="*/ 17 h 31"/>
              <a:gd name="T120" fmla="*/ 27 w 36"/>
              <a:gd name="T1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1">
                <a:moveTo>
                  <a:pt x="34" y="11"/>
                </a:moveTo>
                <a:cubicBezTo>
                  <a:pt x="34" y="11"/>
                  <a:pt x="34" y="11"/>
                  <a:pt x="34" y="11"/>
                </a:cubicBezTo>
                <a:cubicBezTo>
                  <a:pt x="34" y="11"/>
                  <a:pt x="34" y="11"/>
                  <a:pt x="34" y="12"/>
                </a:cubicBezTo>
                <a:cubicBezTo>
                  <a:pt x="34" y="12"/>
                  <a:pt x="33" y="12"/>
                  <a:pt x="33" y="12"/>
                </a:cubicBezTo>
                <a:cubicBezTo>
                  <a:pt x="32" y="12"/>
                  <a:pt x="31" y="10"/>
                  <a:pt x="31" y="10"/>
                </a:cubicBezTo>
                <a:cubicBezTo>
                  <a:pt x="31" y="10"/>
                  <a:pt x="32" y="9"/>
                  <a:pt x="33" y="9"/>
                </a:cubicBezTo>
                <a:cubicBezTo>
                  <a:pt x="33" y="9"/>
                  <a:pt x="34" y="9"/>
                  <a:pt x="34" y="9"/>
                </a:cubicBezTo>
                <a:cubicBezTo>
                  <a:pt x="34" y="9"/>
                  <a:pt x="34" y="9"/>
                  <a:pt x="34" y="9"/>
                </a:cubicBezTo>
                <a:cubicBezTo>
                  <a:pt x="34" y="9"/>
                  <a:pt x="34" y="5"/>
                  <a:pt x="34" y="5"/>
                </a:cubicBezTo>
                <a:cubicBezTo>
                  <a:pt x="33" y="4"/>
                  <a:pt x="33" y="1"/>
                  <a:pt x="32" y="1"/>
                </a:cubicBezTo>
                <a:cubicBezTo>
                  <a:pt x="32" y="0"/>
                  <a:pt x="30" y="1"/>
                  <a:pt x="30" y="0"/>
                </a:cubicBezTo>
                <a:cubicBezTo>
                  <a:pt x="30" y="0"/>
                  <a:pt x="28" y="0"/>
                  <a:pt x="28" y="0"/>
                </a:cubicBezTo>
                <a:cubicBezTo>
                  <a:pt x="27" y="0"/>
                  <a:pt x="27" y="1"/>
                  <a:pt x="27" y="1"/>
                </a:cubicBezTo>
                <a:cubicBezTo>
                  <a:pt x="27" y="1"/>
                  <a:pt x="26" y="1"/>
                  <a:pt x="26" y="2"/>
                </a:cubicBezTo>
                <a:cubicBezTo>
                  <a:pt x="25" y="2"/>
                  <a:pt x="24" y="3"/>
                  <a:pt x="24" y="3"/>
                </a:cubicBezTo>
                <a:cubicBezTo>
                  <a:pt x="23" y="3"/>
                  <a:pt x="23" y="4"/>
                  <a:pt x="23" y="4"/>
                </a:cubicBezTo>
                <a:cubicBezTo>
                  <a:pt x="23" y="5"/>
                  <a:pt x="22" y="6"/>
                  <a:pt x="21" y="6"/>
                </a:cubicBezTo>
                <a:cubicBezTo>
                  <a:pt x="20" y="6"/>
                  <a:pt x="20" y="7"/>
                  <a:pt x="20" y="7"/>
                </a:cubicBezTo>
                <a:cubicBezTo>
                  <a:pt x="20" y="8"/>
                  <a:pt x="19" y="8"/>
                  <a:pt x="18" y="8"/>
                </a:cubicBezTo>
                <a:cubicBezTo>
                  <a:pt x="17" y="8"/>
                  <a:pt x="17" y="8"/>
                  <a:pt x="15" y="8"/>
                </a:cubicBezTo>
                <a:cubicBezTo>
                  <a:pt x="14" y="7"/>
                  <a:pt x="14" y="8"/>
                  <a:pt x="14" y="9"/>
                </a:cubicBezTo>
                <a:cubicBezTo>
                  <a:pt x="14" y="9"/>
                  <a:pt x="12" y="11"/>
                  <a:pt x="12" y="11"/>
                </a:cubicBezTo>
                <a:cubicBezTo>
                  <a:pt x="11" y="12"/>
                  <a:pt x="10" y="11"/>
                  <a:pt x="10" y="11"/>
                </a:cubicBezTo>
                <a:cubicBezTo>
                  <a:pt x="9" y="11"/>
                  <a:pt x="9" y="11"/>
                  <a:pt x="9" y="10"/>
                </a:cubicBezTo>
                <a:cubicBezTo>
                  <a:pt x="9" y="10"/>
                  <a:pt x="10" y="10"/>
                  <a:pt x="10" y="10"/>
                </a:cubicBezTo>
                <a:cubicBezTo>
                  <a:pt x="10" y="9"/>
                  <a:pt x="9" y="8"/>
                  <a:pt x="9" y="7"/>
                </a:cubicBezTo>
                <a:cubicBezTo>
                  <a:pt x="9" y="7"/>
                  <a:pt x="8" y="7"/>
                  <a:pt x="8" y="6"/>
                </a:cubicBezTo>
                <a:cubicBezTo>
                  <a:pt x="8" y="15"/>
                  <a:pt x="8" y="15"/>
                  <a:pt x="8" y="15"/>
                </a:cubicBezTo>
                <a:cubicBezTo>
                  <a:pt x="8" y="15"/>
                  <a:pt x="7" y="16"/>
                  <a:pt x="7" y="16"/>
                </a:cubicBezTo>
                <a:cubicBezTo>
                  <a:pt x="6" y="16"/>
                  <a:pt x="5" y="16"/>
                  <a:pt x="4" y="16"/>
                </a:cubicBezTo>
                <a:cubicBezTo>
                  <a:pt x="3" y="16"/>
                  <a:pt x="3" y="15"/>
                  <a:pt x="3" y="14"/>
                </a:cubicBezTo>
                <a:cubicBezTo>
                  <a:pt x="2" y="14"/>
                  <a:pt x="1" y="15"/>
                  <a:pt x="1" y="15"/>
                </a:cubicBezTo>
                <a:cubicBezTo>
                  <a:pt x="1" y="15"/>
                  <a:pt x="1" y="15"/>
                  <a:pt x="0" y="15"/>
                </a:cubicBezTo>
                <a:cubicBezTo>
                  <a:pt x="1" y="17"/>
                  <a:pt x="2" y="18"/>
                  <a:pt x="2" y="19"/>
                </a:cubicBezTo>
                <a:cubicBezTo>
                  <a:pt x="3" y="21"/>
                  <a:pt x="4" y="22"/>
                  <a:pt x="4" y="23"/>
                </a:cubicBezTo>
                <a:cubicBezTo>
                  <a:pt x="4" y="24"/>
                  <a:pt x="5" y="25"/>
                  <a:pt x="4" y="25"/>
                </a:cubicBezTo>
                <a:cubicBezTo>
                  <a:pt x="3" y="25"/>
                  <a:pt x="3" y="26"/>
                  <a:pt x="4" y="27"/>
                </a:cubicBezTo>
                <a:cubicBezTo>
                  <a:pt x="5" y="28"/>
                  <a:pt x="4" y="29"/>
                  <a:pt x="5" y="29"/>
                </a:cubicBezTo>
                <a:cubicBezTo>
                  <a:pt x="6" y="29"/>
                  <a:pt x="5" y="30"/>
                  <a:pt x="6" y="30"/>
                </a:cubicBezTo>
                <a:cubicBezTo>
                  <a:pt x="6" y="30"/>
                  <a:pt x="7" y="30"/>
                  <a:pt x="7" y="31"/>
                </a:cubicBezTo>
                <a:cubicBezTo>
                  <a:pt x="7" y="31"/>
                  <a:pt x="8" y="31"/>
                  <a:pt x="8" y="30"/>
                </a:cubicBezTo>
                <a:cubicBezTo>
                  <a:pt x="9" y="30"/>
                  <a:pt x="10" y="30"/>
                  <a:pt x="11" y="30"/>
                </a:cubicBezTo>
                <a:cubicBezTo>
                  <a:pt x="12" y="30"/>
                  <a:pt x="12" y="29"/>
                  <a:pt x="13" y="29"/>
                </a:cubicBezTo>
                <a:cubicBezTo>
                  <a:pt x="14" y="29"/>
                  <a:pt x="16" y="29"/>
                  <a:pt x="16" y="29"/>
                </a:cubicBezTo>
                <a:cubicBezTo>
                  <a:pt x="17" y="29"/>
                  <a:pt x="18" y="29"/>
                  <a:pt x="19" y="29"/>
                </a:cubicBezTo>
                <a:cubicBezTo>
                  <a:pt x="19" y="28"/>
                  <a:pt x="20" y="29"/>
                  <a:pt x="20" y="28"/>
                </a:cubicBezTo>
                <a:cubicBezTo>
                  <a:pt x="20" y="28"/>
                  <a:pt x="21" y="28"/>
                  <a:pt x="22" y="28"/>
                </a:cubicBezTo>
                <a:cubicBezTo>
                  <a:pt x="23" y="28"/>
                  <a:pt x="25" y="26"/>
                  <a:pt x="26" y="25"/>
                </a:cubicBezTo>
                <a:cubicBezTo>
                  <a:pt x="28" y="23"/>
                  <a:pt x="31" y="20"/>
                  <a:pt x="32" y="18"/>
                </a:cubicBezTo>
                <a:cubicBezTo>
                  <a:pt x="33" y="17"/>
                  <a:pt x="34" y="16"/>
                  <a:pt x="35" y="15"/>
                </a:cubicBezTo>
                <a:cubicBezTo>
                  <a:pt x="35" y="14"/>
                  <a:pt x="36" y="13"/>
                  <a:pt x="36" y="11"/>
                </a:cubicBezTo>
                <a:cubicBezTo>
                  <a:pt x="35" y="11"/>
                  <a:pt x="34" y="11"/>
                  <a:pt x="34" y="11"/>
                </a:cubicBezTo>
                <a:moveTo>
                  <a:pt x="27" y="19"/>
                </a:moveTo>
                <a:cubicBezTo>
                  <a:pt x="27" y="19"/>
                  <a:pt x="26" y="19"/>
                  <a:pt x="26" y="19"/>
                </a:cubicBezTo>
                <a:cubicBezTo>
                  <a:pt x="26" y="20"/>
                  <a:pt x="25" y="20"/>
                  <a:pt x="25" y="20"/>
                </a:cubicBezTo>
                <a:cubicBezTo>
                  <a:pt x="25" y="20"/>
                  <a:pt x="25" y="20"/>
                  <a:pt x="25" y="20"/>
                </a:cubicBezTo>
                <a:cubicBezTo>
                  <a:pt x="23" y="18"/>
                  <a:pt x="23" y="18"/>
                  <a:pt x="23" y="18"/>
                </a:cubicBezTo>
                <a:cubicBezTo>
                  <a:pt x="23" y="18"/>
                  <a:pt x="24" y="17"/>
                  <a:pt x="25" y="16"/>
                </a:cubicBezTo>
                <a:cubicBezTo>
                  <a:pt x="25" y="16"/>
                  <a:pt x="26" y="15"/>
                  <a:pt x="27" y="15"/>
                </a:cubicBezTo>
                <a:cubicBezTo>
                  <a:pt x="27" y="16"/>
                  <a:pt x="28" y="17"/>
                  <a:pt x="28" y="17"/>
                </a:cubicBezTo>
                <a:cubicBezTo>
                  <a:pt x="28" y="18"/>
                  <a:pt x="27" y="18"/>
                  <a:pt x="2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44"/>
          <p:cNvSpPr>
            <a:spLocks/>
          </p:cNvSpPr>
          <p:nvPr/>
        </p:nvSpPr>
        <p:spPr bwMode="auto">
          <a:xfrm>
            <a:off x="2326661" y="3343297"/>
            <a:ext cx="125120" cy="135844"/>
          </a:xfrm>
          <a:custGeom>
            <a:avLst/>
            <a:gdLst>
              <a:gd name="T0" fmla="*/ 1 w 26"/>
              <a:gd name="T1" fmla="*/ 25 h 28"/>
              <a:gd name="T2" fmla="*/ 2 w 26"/>
              <a:gd name="T3" fmla="*/ 26 h 28"/>
              <a:gd name="T4" fmla="*/ 4 w 26"/>
              <a:gd name="T5" fmla="*/ 26 h 28"/>
              <a:gd name="T6" fmla="*/ 6 w 26"/>
              <a:gd name="T7" fmla="*/ 26 h 28"/>
              <a:gd name="T8" fmla="*/ 14 w 26"/>
              <a:gd name="T9" fmla="*/ 26 h 28"/>
              <a:gd name="T10" fmla="*/ 15 w 26"/>
              <a:gd name="T11" fmla="*/ 27 h 28"/>
              <a:gd name="T12" fmla="*/ 20 w 26"/>
              <a:gd name="T13" fmla="*/ 27 h 28"/>
              <a:gd name="T14" fmla="*/ 23 w 26"/>
              <a:gd name="T15" fmla="*/ 27 h 28"/>
              <a:gd name="T16" fmla="*/ 24 w 26"/>
              <a:gd name="T17" fmla="*/ 27 h 28"/>
              <a:gd name="T18" fmla="*/ 21 w 26"/>
              <a:gd name="T19" fmla="*/ 23 h 28"/>
              <a:gd name="T20" fmla="*/ 21 w 26"/>
              <a:gd name="T21" fmla="*/ 16 h 28"/>
              <a:gd name="T22" fmla="*/ 25 w 26"/>
              <a:gd name="T23" fmla="*/ 16 h 28"/>
              <a:gd name="T24" fmla="*/ 25 w 26"/>
              <a:gd name="T25" fmla="*/ 16 h 28"/>
              <a:gd name="T26" fmla="*/ 26 w 26"/>
              <a:gd name="T27" fmla="*/ 11 h 28"/>
              <a:gd name="T28" fmla="*/ 25 w 26"/>
              <a:gd name="T29" fmla="*/ 11 h 28"/>
              <a:gd name="T30" fmla="*/ 23 w 26"/>
              <a:gd name="T31" fmla="*/ 11 h 28"/>
              <a:gd name="T32" fmla="*/ 22 w 26"/>
              <a:gd name="T33" fmla="*/ 12 h 28"/>
              <a:gd name="T34" fmla="*/ 22 w 26"/>
              <a:gd name="T35" fmla="*/ 10 h 28"/>
              <a:gd name="T36" fmla="*/ 21 w 26"/>
              <a:gd name="T37" fmla="*/ 8 h 28"/>
              <a:gd name="T38" fmla="*/ 21 w 26"/>
              <a:gd name="T39" fmla="*/ 5 h 28"/>
              <a:gd name="T40" fmla="*/ 21 w 26"/>
              <a:gd name="T41" fmla="*/ 4 h 28"/>
              <a:gd name="T42" fmla="*/ 19 w 26"/>
              <a:gd name="T43" fmla="*/ 3 h 28"/>
              <a:gd name="T44" fmla="*/ 18 w 26"/>
              <a:gd name="T45" fmla="*/ 3 h 28"/>
              <a:gd name="T46" fmla="*/ 17 w 26"/>
              <a:gd name="T47" fmla="*/ 3 h 28"/>
              <a:gd name="T48" fmla="*/ 16 w 26"/>
              <a:gd name="T49" fmla="*/ 5 h 28"/>
              <a:gd name="T50" fmla="*/ 13 w 26"/>
              <a:gd name="T51" fmla="*/ 5 h 28"/>
              <a:gd name="T52" fmla="*/ 11 w 26"/>
              <a:gd name="T53" fmla="*/ 4 h 28"/>
              <a:gd name="T54" fmla="*/ 10 w 26"/>
              <a:gd name="T55" fmla="*/ 2 h 28"/>
              <a:gd name="T56" fmla="*/ 10 w 26"/>
              <a:gd name="T57" fmla="*/ 0 h 28"/>
              <a:gd name="T58" fmla="*/ 3 w 26"/>
              <a:gd name="T59" fmla="*/ 0 h 28"/>
              <a:gd name="T60" fmla="*/ 2 w 26"/>
              <a:gd name="T61" fmla="*/ 1 h 28"/>
              <a:gd name="T62" fmla="*/ 4 w 26"/>
              <a:gd name="T63" fmla="*/ 5 h 28"/>
              <a:gd name="T64" fmla="*/ 3 w 26"/>
              <a:gd name="T65" fmla="*/ 8 h 28"/>
              <a:gd name="T66" fmla="*/ 5 w 26"/>
              <a:gd name="T67" fmla="*/ 12 h 28"/>
              <a:gd name="T68" fmla="*/ 3 w 26"/>
              <a:gd name="T69" fmla="*/ 16 h 28"/>
              <a:gd name="T70" fmla="*/ 1 w 26"/>
              <a:gd name="T71" fmla="*/ 20 h 28"/>
              <a:gd name="T72" fmla="*/ 0 w 26"/>
              <a:gd name="T73" fmla="*/ 23 h 28"/>
              <a:gd name="T74" fmla="*/ 0 w 26"/>
              <a:gd name="T75" fmla="*/ 26 h 28"/>
              <a:gd name="T76" fmla="*/ 0 w 26"/>
              <a:gd name="T77" fmla="*/ 26 h 28"/>
              <a:gd name="T78" fmla="*/ 1 w 26"/>
              <a:gd name="T79" fmla="*/ 26 h 28"/>
              <a:gd name="T80" fmla="*/ 1 w 26"/>
              <a:gd name="T8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28">
                <a:moveTo>
                  <a:pt x="1" y="25"/>
                </a:moveTo>
                <a:cubicBezTo>
                  <a:pt x="2" y="25"/>
                  <a:pt x="2" y="26"/>
                  <a:pt x="2" y="26"/>
                </a:cubicBezTo>
                <a:cubicBezTo>
                  <a:pt x="3" y="25"/>
                  <a:pt x="4" y="25"/>
                  <a:pt x="4" y="26"/>
                </a:cubicBezTo>
                <a:cubicBezTo>
                  <a:pt x="5" y="26"/>
                  <a:pt x="6" y="26"/>
                  <a:pt x="6" y="26"/>
                </a:cubicBezTo>
                <a:cubicBezTo>
                  <a:pt x="14" y="26"/>
                  <a:pt x="14" y="26"/>
                  <a:pt x="14" y="26"/>
                </a:cubicBezTo>
                <a:cubicBezTo>
                  <a:pt x="15" y="27"/>
                  <a:pt x="15" y="27"/>
                  <a:pt x="15" y="27"/>
                </a:cubicBezTo>
                <a:cubicBezTo>
                  <a:pt x="15" y="27"/>
                  <a:pt x="19" y="27"/>
                  <a:pt x="20" y="27"/>
                </a:cubicBezTo>
                <a:cubicBezTo>
                  <a:pt x="20" y="28"/>
                  <a:pt x="23" y="27"/>
                  <a:pt x="23" y="27"/>
                </a:cubicBezTo>
                <a:cubicBezTo>
                  <a:pt x="23" y="27"/>
                  <a:pt x="24" y="27"/>
                  <a:pt x="24" y="27"/>
                </a:cubicBezTo>
                <a:cubicBezTo>
                  <a:pt x="21" y="23"/>
                  <a:pt x="21" y="23"/>
                  <a:pt x="21" y="23"/>
                </a:cubicBezTo>
                <a:cubicBezTo>
                  <a:pt x="21" y="16"/>
                  <a:pt x="21" y="16"/>
                  <a:pt x="21" y="16"/>
                </a:cubicBezTo>
                <a:cubicBezTo>
                  <a:pt x="25" y="16"/>
                  <a:pt x="25" y="16"/>
                  <a:pt x="25" y="16"/>
                </a:cubicBezTo>
                <a:cubicBezTo>
                  <a:pt x="25" y="16"/>
                  <a:pt x="25" y="16"/>
                  <a:pt x="25" y="16"/>
                </a:cubicBezTo>
                <a:cubicBezTo>
                  <a:pt x="26" y="11"/>
                  <a:pt x="26" y="11"/>
                  <a:pt x="26" y="11"/>
                </a:cubicBezTo>
                <a:cubicBezTo>
                  <a:pt x="26" y="11"/>
                  <a:pt x="25" y="11"/>
                  <a:pt x="25" y="11"/>
                </a:cubicBezTo>
                <a:cubicBezTo>
                  <a:pt x="25" y="11"/>
                  <a:pt x="24" y="11"/>
                  <a:pt x="23" y="11"/>
                </a:cubicBezTo>
                <a:cubicBezTo>
                  <a:pt x="23" y="11"/>
                  <a:pt x="22" y="12"/>
                  <a:pt x="22" y="12"/>
                </a:cubicBezTo>
                <a:cubicBezTo>
                  <a:pt x="22" y="12"/>
                  <a:pt x="22" y="11"/>
                  <a:pt x="22" y="10"/>
                </a:cubicBezTo>
                <a:cubicBezTo>
                  <a:pt x="22" y="10"/>
                  <a:pt x="21" y="9"/>
                  <a:pt x="21" y="8"/>
                </a:cubicBezTo>
                <a:cubicBezTo>
                  <a:pt x="20" y="8"/>
                  <a:pt x="22" y="6"/>
                  <a:pt x="21" y="5"/>
                </a:cubicBezTo>
                <a:cubicBezTo>
                  <a:pt x="21" y="5"/>
                  <a:pt x="21" y="4"/>
                  <a:pt x="21" y="4"/>
                </a:cubicBezTo>
                <a:cubicBezTo>
                  <a:pt x="21" y="3"/>
                  <a:pt x="20" y="3"/>
                  <a:pt x="19" y="3"/>
                </a:cubicBezTo>
                <a:cubicBezTo>
                  <a:pt x="18" y="3"/>
                  <a:pt x="18" y="3"/>
                  <a:pt x="18" y="3"/>
                </a:cubicBezTo>
                <a:cubicBezTo>
                  <a:pt x="18" y="3"/>
                  <a:pt x="17" y="2"/>
                  <a:pt x="17" y="3"/>
                </a:cubicBezTo>
                <a:cubicBezTo>
                  <a:pt x="16" y="3"/>
                  <a:pt x="16" y="5"/>
                  <a:pt x="16" y="5"/>
                </a:cubicBezTo>
                <a:cubicBezTo>
                  <a:pt x="15" y="5"/>
                  <a:pt x="14" y="5"/>
                  <a:pt x="13" y="5"/>
                </a:cubicBezTo>
                <a:cubicBezTo>
                  <a:pt x="12" y="5"/>
                  <a:pt x="12" y="5"/>
                  <a:pt x="11" y="4"/>
                </a:cubicBezTo>
                <a:cubicBezTo>
                  <a:pt x="11" y="3"/>
                  <a:pt x="10" y="3"/>
                  <a:pt x="10" y="2"/>
                </a:cubicBezTo>
                <a:cubicBezTo>
                  <a:pt x="11" y="1"/>
                  <a:pt x="10" y="0"/>
                  <a:pt x="10" y="0"/>
                </a:cubicBezTo>
                <a:cubicBezTo>
                  <a:pt x="10" y="0"/>
                  <a:pt x="4" y="0"/>
                  <a:pt x="3" y="0"/>
                </a:cubicBezTo>
                <a:cubicBezTo>
                  <a:pt x="3" y="0"/>
                  <a:pt x="2" y="1"/>
                  <a:pt x="2" y="1"/>
                </a:cubicBezTo>
                <a:cubicBezTo>
                  <a:pt x="2" y="2"/>
                  <a:pt x="3" y="5"/>
                  <a:pt x="4" y="5"/>
                </a:cubicBezTo>
                <a:cubicBezTo>
                  <a:pt x="4" y="6"/>
                  <a:pt x="3" y="7"/>
                  <a:pt x="3" y="8"/>
                </a:cubicBezTo>
                <a:cubicBezTo>
                  <a:pt x="3" y="9"/>
                  <a:pt x="4" y="11"/>
                  <a:pt x="5" y="12"/>
                </a:cubicBezTo>
                <a:cubicBezTo>
                  <a:pt x="5" y="14"/>
                  <a:pt x="4" y="15"/>
                  <a:pt x="3" y="16"/>
                </a:cubicBezTo>
                <a:cubicBezTo>
                  <a:pt x="2" y="17"/>
                  <a:pt x="1" y="19"/>
                  <a:pt x="1" y="20"/>
                </a:cubicBezTo>
                <a:cubicBezTo>
                  <a:pt x="1" y="21"/>
                  <a:pt x="0" y="22"/>
                  <a:pt x="0" y="23"/>
                </a:cubicBezTo>
                <a:cubicBezTo>
                  <a:pt x="0" y="24"/>
                  <a:pt x="0" y="25"/>
                  <a:pt x="0" y="26"/>
                </a:cubicBezTo>
                <a:cubicBezTo>
                  <a:pt x="0" y="26"/>
                  <a:pt x="0" y="26"/>
                  <a:pt x="0" y="26"/>
                </a:cubicBezTo>
                <a:cubicBezTo>
                  <a:pt x="1" y="26"/>
                  <a:pt x="1" y="26"/>
                  <a:pt x="1" y="26"/>
                </a:cubicBezTo>
                <a:cubicBezTo>
                  <a:pt x="1" y="26"/>
                  <a:pt x="1" y="25"/>
                  <a:pt x="1"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5"/>
          <p:cNvSpPr>
            <a:spLocks/>
          </p:cNvSpPr>
          <p:nvPr/>
        </p:nvSpPr>
        <p:spPr bwMode="auto">
          <a:xfrm>
            <a:off x="2426756" y="3368321"/>
            <a:ext cx="125120" cy="110820"/>
          </a:xfrm>
          <a:custGeom>
            <a:avLst/>
            <a:gdLst>
              <a:gd name="T0" fmla="*/ 20 w 26"/>
              <a:gd name="T1" fmla="*/ 1 h 23"/>
              <a:gd name="T2" fmla="*/ 18 w 26"/>
              <a:gd name="T3" fmla="*/ 0 h 23"/>
              <a:gd name="T4" fmla="*/ 16 w 26"/>
              <a:gd name="T5" fmla="*/ 1 h 23"/>
              <a:gd name="T6" fmla="*/ 15 w 26"/>
              <a:gd name="T7" fmla="*/ 2 h 23"/>
              <a:gd name="T8" fmla="*/ 15 w 26"/>
              <a:gd name="T9" fmla="*/ 3 h 23"/>
              <a:gd name="T10" fmla="*/ 15 w 26"/>
              <a:gd name="T11" fmla="*/ 6 h 23"/>
              <a:gd name="T12" fmla="*/ 14 w 26"/>
              <a:gd name="T13" fmla="*/ 8 h 23"/>
              <a:gd name="T14" fmla="*/ 16 w 26"/>
              <a:gd name="T15" fmla="*/ 10 h 23"/>
              <a:gd name="T16" fmla="*/ 17 w 26"/>
              <a:gd name="T17" fmla="*/ 9 h 23"/>
              <a:gd name="T18" fmla="*/ 17 w 26"/>
              <a:gd name="T19" fmla="*/ 11 h 23"/>
              <a:gd name="T20" fmla="*/ 17 w 26"/>
              <a:gd name="T21" fmla="*/ 12 h 23"/>
              <a:gd name="T22" fmla="*/ 15 w 26"/>
              <a:gd name="T23" fmla="*/ 12 h 23"/>
              <a:gd name="T24" fmla="*/ 15 w 26"/>
              <a:gd name="T25" fmla="*/ 10 h 23"/>
              <a:gd name="T26" fmla="*/ 13 w 26"/>
              <a:gd name="T27" fmla="*/ 9 h 23"/>
              <a:gd name="T28" fmla="*/ 12 w 26"/>
              <a:gd name="T29" fmla="*/ 8 h 23"/>
              <a:gd name="T30" fmla="*/ 11 w 26"/>
              <a:gd name="T31" fmla="*/ 9 h 23"/>
              <a:gd name="T32" fmla="*/ 10 w 26"/>
              <a:gd name="T33" fmla="*/ 9 h 23"/>
              <a:gd name="T34" fmla="*/ 8 w 26"/>
              <a:gd name="T35" fmla="*/ 8 h 23"/>
              <a:gd name="T36" fmla="*/ 7 w 26"/>
              <a:gd name="T37" fmla="*/ 7 h 23"/>
              <a:gd name="T38" fmla="*/ 6 w 26"/>
              <a:gd name="T39" fmla="*/ 7 h 23"/>
              <a:gd name="T40" fmla="*/ 5 w 26"/>
              <a:gd name="T41" fmla="*/ 7 h 23"/>
              <a:gd name="T42" fmla="*/ 5 w 26"/>
              <a:gd name="T43" fmla="*/ 6 h 23"/>
              <a:gd name="T44" fmla="*/ 4 w 26"/>
              <a:gd name="T45" fmla="*/ 11 h 23"/>
              <a:gd name="T46" fmla="*/ 4 w 26"/>
              <a:gd name="T47" fmla="*/ 11 h 23"/>
              <a:gd name="T48" fmla="*/ 0 w 26"/>
              <a:gd name="T49" fmla="*/ 11 h 23"/>
              <a:gd name="T50" fmla="*/ 0 w 26"/>
              <a:gd name="T51" fmla="*/ 18 h 23"/>
              <a:gd name="T52" fmla="*/ 3 w 26"/>
              <a:gd name="T53" fmla="*/ 22 h 23"/>
              <a:gd name="T54" fmla="*/ 7 w 26"/>
              <a:gd name="T55" fmla="*/ 22 h 23"/>
              <a:gd name="T56" fmla="*/ 7 w 26"/>
              <a:gd name="T57" fmla="*/ 22 h 23"/>
              <a:gd name="T58" fmla="*/ 8 w 26"/>
              <a:gd name="T59" fmla="*/ 22 h 23"/>
              <a:gd name="T60" fmla="*/ 11 w 26"/>
              <a:gd name="T61" fmla="*/ 22 h 23"/>
              <a:gd name="T62" fmla="*/ 13 w 26"/>
              <a:gd name="T63" fmla="*/ 20 h 23"/>
              <a:gd name="T64" fmla="*/ 15 w 26"/>
              <a:gd name="T65" fmla="*/ 18 h 23"/>
              <a:gd name="T66" fmla="*/ 16 w 26"/>
              <a:gd name="T67" fmla="*/ 17 h 23"/>
              <a:gd name="T68" fmla="*/ 18 w 26"/>
              <a:gd name="T69" fmla="*/ 17 h 23"/>
              <a:gd name="T70" fmla="*/ 19 w 26"/>
              <a:gd name="T71" fmla="*/ 17 h 23"/>
              <a:gd name="T72" fmla="*/ 18 w 26"/>
              <a:gd name="T73" fmla="*/ 16 h 23"/>
              <a:gd name="T74" fmla="*/ 24 w 26"/>
              <a:gd name="T75" fmla="*/ 13 h 23"/>
              <a:gd name="T76" fmla="*/ 24 w 26"/>
              <a:gd name="T77" fmla="*/ 12 h 23"/>
              <a:gd name="T78" fmla="*/ 24 w 26"/>
              <a:gd name="T79" fmla="*/ 10 h 23"/>
              <a:gd name="T80" fmla="*/ 25 w 26"/>
              <a:gd name="T81" fmla="*/ 10 h 23"/>
              <a:gd name="T82" fmla="*/ 25 w 26"/>
              <a:gd name="T83" fmla="*/ 6 h 23"/>
              <a:gd name="T84" fmla="*/ 26 w 26"/>
              <a:gd name="T85" fmla="*/ 6 h 23"/>
              <a:gd name="T86" fmla="*/ 25 w 26"/>
              <a:gd name="T87" fmla="*/ 3 h 23"/>
              <a:gd name="T88" fmla="*/ 22 w 26"/>
              <a:gd name="T89" fmla="*/ 2 h 23"/>
              <a:gd name="T90" fmla="*/ 20 w 26"/>
              <a:gd name="T9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23">
                <a:moveTo>
                  <a:pt x="20" y="1"/>
                </a:moveTo>
                <a:cubicBezTo>
                  <a:pt x="20" y="1"/>
                  <a:pt x="19" y="1"/>
                  <a:pt x="18" y="0"/>
                </a:cubicBezTo>
                <a:cubicBezTo>
                  <a:pt x="18" y="1"/>
                  <a:pt x="16" y="1"/>
                  <a:pt x="16" y="1"/>
                </a:cubicBezTo>
                <a:cubicBezTo>
                  <a:pt x="15" y="1"/>
                  <a:pt x="15" y="2"/>
                  <a:pt x="15" y="2"/>
                </a:cubicBezTo>
                <a:cubicBezTo>
                  <a:pt x="15" y="3"/>
                  <a:pt x="14" y="3"/>
                  <a:pt x="15" y="3"/>
                </a:cubicBezTo>
                <a:cubicBezTo>
                  <a:pt x="15" y="4"/>
                  <a:pt x="15" y="5"/>
                  <a:pt x="15" y="6"/>
                </a:cubicBezTo>
                <a:cubicBezTo>
                  <a:pt x="15" y="6"/>
                  <a:pt x="14" y="8"/>
                  <a:pt x="14" y="8"/>
                </a:cubicBezTo>
                <a:cubicBezTo>
                  <a:pt x="14" y="8"/>
                  <a:pt x="15" y="9"/>
                  <a:pt x="16" y="10"/>
                </a:cubicBezTo>
                <a:cubicBezTo>
                  <a:pt x="16" y="10"/>
                  <a:pt x="17" y="9"/>
                  <a:pt x="17" y="9"/>
                </a:cubicBezTo>
                <a:cubicBezTo>
                  <a:pt x="17" y="9"/>
                  <a:pt x="17" y="10"/>
                  <a:pt x="17" y="11"/>
                </a:cubicBezTo>
                <a:cubicBezTo>
                  <a:pt x="17" y="11"/>
                  <a:pt x="17" y="12"/>
                  <a:pt x="17" y="12"/>
                </a:cubicBezTo>
                <a:cubicBezTo>
                  <a:pt x="17" y="12"/>
                  <a:pt x="16" y="12"/>
                  <a:pt x="15" y="12"/>
                </a:cubicBezTo>
                <a:cubicBezTo>
                  <a:pt x="15" y="11"/>
                  <a:pt x="15" y="10"/>
                  <a:pt x="15" y="10"/>
                </a:cubicBezTo>
                <a:cubicBezTo>
                  <a:pt x="15" y="9"/>
                  <a:pt x="13" y="9"/>
                  <a:pt x="13" y="9"/>
                </a:cubicBezTo>
                <a:cubicBezTo>
                  <a:pt x="12" y="9"/>
                  <a:pt x="12" y="9"/>
                  <a:pt x="12" y="8"/>
                </a:cubicBezTo>
                <a:cubicBezTo>
                  <a:pt x="11" y="8"/>
                  <a:pt x="11" y="8"/>
                  <a:pt x="11" y="9"/>
                </a:cubicBezTo>
                <a:cubicBezTo>
                  <a:pt x="11" y="9"/>
                  <a:pt x="10" y="9"/>
                  <a:pt x="10" y="9"/>
                </a:cubicBezTo>
                <a:cubicBezTo>
                  <a:pt x="9" y="9"/>
                  <a:pt x="8" y="8"/>
                  <a:pt x="8" y="8"/>
                </a:cubicBezTo>
                <a:cubicBezTo>
                  <a:pt x="8" y="8"/>
                  <a:pt x="7" y="8"/>
                  <a:pt x="7" y="7"/>
                </a:cubicBezTo>
                <a:cubicBezTo>
                  <a:pt x="7" y="7"/>
                  <a:pt x="6" y="7"/>
                  <a:pt x="6" y="7"/>
                </a:cubicBezTo>
                <a:cubicBezTo>
                  <a:pt x="6" y="7"/>
                  <a:pt x="5" y="7"/>
                  <a:pt x="5" y="7"/>
                </a:cubicBezTo>
                <a:cubicBezTo>
                  <a:pt x="5" y="7"/>
                  <a:pt x="5" y="6"/>
                  <a:pt x="5" y="6"/>
                </a:cubicBezTo>
                <a:cubicBezTo>
                  <a:pt x="4" y="11"/>
                  <a:pt x="4" y="11"/>
                  <a:pt x="4" y="11"/>
                </a:cubicBezTo>
                <a:cubicBezTo>
                  <a:pt x="4" y="11"/>
                  <a:pt x="4" y="11"/>
                  <a:pt x="4" y="11"/>
                </a:cubicBezTo>
                <a:cubicBezTo>
                  <a:pt x="0" y="11"/>
                  <a:pt x="0" y="11"/>
                  <a:pt x="0" y="11"/>
                </a:cubicBezTo>
                <a:cubicBezTo>
                  <a:pt x="0" y="18"/>
                  <a:pt x="0" y="18"/>
                  <a:pt x="0" y="18"/>
                </a:cubicBezTo>
                <a:cubicBezTo>
                  <a:pt x="3" y="22"/>
                  <a:pt x="3" y="22"/>
                  <a:pt x="3" y="22"/>
                </a:cubicBezTo>
                <a:cubicBezTo>
                  <a:pt x="4" y="22"/>
                  <a:pt x="7" y="21"/>
                  <a:pt x="7" y="22"/>
                </a:cubicBezTo>
                <a:cubicBezTo>
                  <a:pt x="7" y="22"/>
                  <a:pt x="7" y="22"/>
                  <a:pt x="7" y="22"/>
                </a:cubicBezTo>
                <a:cubicBezTo>
                  <a:pt x="7" y="22"/>
                  <a:pt x="8" y="22"/>
                  <a:pt x="8" y="22"/>
                </a:cubicBezTo>
                <a:cubicBezTo>
                  <a:pt x="9" y="22"/>
                  <a:pt x="10" y="23"/>
                  <a:pt x="11" y="22"/>
                </a:cubicBezTo>
                <a:cubicBezTo>
                  <a:pt x="11" y="22"/>
                  <a:pt x="12" y="20"/>
                  <a:pt x="13" y="20"/>
                </a:cubicBezTo>
                <a:cubicBezTo>
                  <a:pt x="14" y="20"/>
                  <a:pt x="15" y="19"/>
                  <a:pt x="15" y="18"/>
                </a:cubicBezTo>
                <a:cubicBezTo>
                  <a:pt x="15" y="18"/>
                  <a:pt x="15" y="18"/>
                  <a:pt x="16" y="17"/>
                </a:cubicBezTo>
                <a:cubicBezTo>
                  <a:pt x="18" y="17"/>
                  <a:pt x="18" y="17"/>
                  <a:pt x="18" y="17"/>
                </a:cubicBezTo>
                <a:cubicBezTo>
                  <a:pt x="19" y="17"/>
                  <a:pt x="19" y="17"/>
                  <a:pt x="19" y="17"/>
                </a:cubicBezTo>
                <a:cubicBezTo>
                  <a:pt x="18" y="16"/>
                  <a:pt x="18" y="16"/>
                  <a:pt x="18" y="16"/>
                </a:cubicBezTo>
                <a:cubicBezTo>
                  <a:pt x="18" y="16"/>
                  <a:pt x="24" y="13"/>
                  <a:pt x="24" y="13"/>
                </a:cubicBezTo>
                <a:cubicBezTo>
                  <a:pt x="24" y="13"/>
                  <a:pt x="24" y="12"/>
                  <a:pt x="24" y="12"/>
                </a:cubicBezTo>
                <a:cubicBezTo>
                  <a:pt x="24" y="12"/>
                  <a:pt x="24" y="11"/>
                  <a:pt x="24" y="10"/>
                </a:cubicBezTo>
                <a:cubicBezTo>
                  <a:pt x="24" y="10"/>
                  <a:pt x="25" y="10"/>
                  <a:pt x="25" y="10"/>
                </a:cubicBezTo>
                <a:cubicBezTo>
                  <a:pt x="25" y="9"/>
                  <a:pt x="25" y="7"/>
                  <a:pt x="25" y="6"/>
                </a:cubicBezTo>
                <a:cubicBezTo>
                  <a:pt x="25" y="5"/>
                  <a:pt x="26" y="6"/>
                  <a:pt x="26" y="6"/>
                </a:cubicBezTo>
                <a:cubicBezTo>
                  <a:pt x="26" y="5"/>
                  <a:pt x="25" y="4"/>
                  <a:pt x="25" y="3"/>
                </a:cubicBezTo>
                <a:cubicBezTo>
                  <a:pt x="24" y="3"/>
                  <a:pt x="22" y="2"/>
                  <a:pt x="22" y="2"/>
                </a:cubicBezTo>
                <a:cubicBezTo>
                  <a:pt x="21" y="2"/>
                  <a:pt x="20" y="1"/>
                  <a:pt x="2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6"/>
          <p:cNvSpPr>
            <a:spLocks/>
          </p:cNvSpPr>
          <p:nvPr/>
        </p:nvSpPr>
        <p:spPr bwMode="auto">
          <a:xfrm>
            <a:off x="2498253" y="3289674"/>
            <a:ext cx="25024" cy="17874"/>
          </a:xfrm>
          <a:custGeom>
            <a:avLst/>
            <a:gdLst>
              <a:gd name="T0" fmla="*/ 4 w 5"/>
              <a:gd name="T1" fmla="*/ 0 h 4"/>
              <a:gd name="T2" fmla="*/ 3 w 5"/>
              <a:gd name="T3" fmla="*/ 1 h 4"/>
              <a:gd name="T4" fmla="*/ 2 w 5"/>
              <a:gd name="T5" fmla="*/ 1 h 4"/>
              <a:gd name="T6" fmla="*/ 1 w 5"/>
              <a:gd name="T7" fmla="*/ 1 h 4"/>
              <a:gd name="T8" fmla="*/ 1 w 5"/>
              <a:gd name="T9" fmla="*/ 3 h 4"/>
              <a:gd name="T10" fmla="*/ 0 w 5"/>
              <a:gd name="T11" fmla="*/ 3 h 4"/>
              <a:gd name="T12" fmla="*/ 1 w 5"/>
              <a:gd name="T13" fmla="*/ 4 h 4"/>
              <a:gd name="T14" fmla="*/ 2 w 5"/>
              <a:gd name="T15" fmla="*/ 4 h 4"/>
              <a:gd name="T16" fmla="*/ 3 w 5"/>
              <a:gd name="T17" fmla="*/ 3 h 4"/>
              <a:gd name="T18" fmla="*/ 5 w 5"/>
              <a:gd name="T19" fmla="*/ 3 h 4"/>
              <a:gd name="T20" fmla="*/ 4 w 5"/>
              <a:gd name="T21" fmla="*/ 1 h 4"/>
              <a:gd name="T22" fmla="*/ 4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4" y="0"/>
                </a:moveTo>
                <a:cubicBezTo>
                  <a:pt x="3" y="1"/>
                  <a:pt x="3" y="1"/>
                  <a:pt x="3" y="1"/>
                </a:cubicBezTo>
                <a:cubicBezTo>
                  <a:pt x="2" y="1"/>
                  <a:pt x="2" y="1"/>
                  <a:pt x="2" y="1"/>
                </a:cubicBezTo>
                <a:cubicBezTo>
                  <a:pt x="2" y="1"/>
                  <a:pt x="1" y="1"/>
                  <a:pt x="1" y="1"/>
                </a:cubicBezTo>
                <a:cubicBezTo>
                  <a:pt x="1" y="1"/>
                  <a:pt x="1" y="3"/>
                  <a:pt x="1" y="3"/>
                </a:cubicBezTo>
                <a:cubicBezTo>
                  <a:pt x="1" y="3"/>
                  <a:pt x="0" y="3"/>
                  <a:pt x="0" y="3"/>
                </a:cubicBezTo>
                <a:cubicBezTo>
                  <a:pt x="0" y="4"/>
                  <a:pt x="1" y="4"/>
                  <a:pt x="1" y="4"/>
                </a:cubicBezTo>
                <a:cubicBezTo>
                  <a:pt x="1" y="4"/>
                  <a:pt x="1" y="4"/>
                  <a:pt x="2" y="4"/>
                </a:cubicBezTo>
                <a:cubicBezTo>
                  <a:pt x="3" y="4"/>
                  <a:pt x="3" y="3"/>
                  <a:pt x="3" y="3"/>
                </a:cubicBezTo>
                <a:cubicBezTo>
                  <a:pt x="3" y="3"/>
                  <a:pt x="5" y="3"/>
                  <a:pt x="5" y="3"/>
                </a:cubicBezTo>
                <a:cubicBezTo>
                  <a:pt x="5" y="2"/>
                  <a:pt x="4" y="1"/>
                  <a:pt x="4" y="1"/>
                </a:cubicBez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7"/>
          <p:cNvSpPr>
            <a:spLocks/>
          </p:cNvSpPr>
          <p:nvPr/>
        </p:nvSpPr>
        <p:spPr bwMode="auto">
          <a:xfrm>
            <a:off x="2630523" y="3150255"/>
            <a:ext cx="110820" cy="142994"/>
          </a:xfrm>
          <a:custGeom>
            <a:avLst/>
            <a:gdLst>
              <a:gd name="T0" fmla="*/ 5 w 23"/>
              <a:gd name="T1" fmla="*/ 6 h 30"/>
              <a:gd name="T2" fmla="*/ 7 w 23"/>
              <a:gd name="T3" fmla="*/ 7 h 30"/>
              <a:gd name="T4" fmla="*/ 11 w 23"/>
              <a:gd name="T5" fmla="*/ 8 h 30"/>
              <a:gd name="T6" fmla="*/ 14 w 23"/>
              <a:gd name="T7" fmla="*/ 9 h 30"/>
              <a:gd name="T8" fmla="*/ 15 w 23"/>
              <a:gd name="T9" fmla="*/ 10 h 30"/>
              <a:gd name="T10" fmla="*/ 9 w 23"/>
              <a:gd name="T11" fmla="*/ 15 h 30"/>
              <a:gd name="T12" fmla="*/ 7 w 23"/>
              <a:gd name="T13" fmla="*/ 16 h 30"/>
              <a:gd name="T14" fmla="*/ 4 w 23"/>
              <a:gd name="T15" fmla="*/ 17 h 30"/>
              <a:gd name="T16" fmla="*/ 2 w 23"/>
              <a:gd name="T17" fmla="*/ 18 h 30"/>
              <a:gd name="T18" fmla="*/ 1 w 23"/>
              <a:gd name="T19" fmla="*/ 19 h 30"/>
              <a:gd name="T20" fmla="*/ 0 w 23"/>
              <a:gd name="T21" fmla="*/ 21 h 30"/>
              <a:gd name="T22" fmla="*/ 0 w 23"/>
              <a:gd name="T23" fmla="*/ 29 h 30"/>
              <a:gd name="T24" fmla="*/ 1 w 23"/>
              <a:gd name="T25" fmla="*/ 30 h 30"/>
              <a:gd name="T26" fmla="*/ 6 w 23"/>
              <a:gd name="T27" fmla="*/ 25 h 30"/>
              <a:gd name="T28" fmla="*/ 10 w 23"/>
              <a:gd name="T29" fmla="*/ 22 h 30"/>
              <a:gd name="T30" fmla="*/ 15 w 23"/>
              <a:gd name="T31" fmla="*/ 17 h 30"/>
              <a:gd name="T32" fmla="*/ 18 w 23"/>
              <a:gd name="T33" fmla="*/ 13 h 30"/>
              <a:gd name="T34" fmla="*/ 20 w 23"/>
              <a:gd name="T35" fmla="*/ 9 h 30"/>
              <a:gd name="T36" fmla="*/ 22 w 23"/>
              <a:gd name="T37" fmla="*/ 5 h 30"/>
              <a:gd name="T38" fmla="*/ 23 w 23"/>
              <a:gd name="T39" fmla="*/ 1 h 30"/>
              <a:gd name="T40" fmla="*/ 21 w 23"/>
              <a:gd name="T41" fmla="*/ 0 h 30"/>
              <a:gd name="T42" fmla="*/ 16 w 23"/>
              <a:gd name="T43" fmla="*/ 2 h 30"/>
              <a:gd name="T44" fmla="*/ 13 w 23"/>
              <a:gd name="T45" fmla="*/ 3 h 30"/>
              <a:gd name="T46" fmla="*/ 10 w 23"/>
              <a:gd name="T47" fmla="*/ 3 h 30"/>
              <a:gd name="T48" fmla="*/ 6 w 23"/>
              <a:gd name="T49" fmla="*/ 3 h 30"/>
              <a:gd name="T50" fmla="*/ 5 w 23"/>
              <a:gd name="T51" fmla="*/ 2 h 30"/>
              <a:gd name="T52" fmla="*/ 4 w 23"/>
              <a:gd name="T53" fmla="*/ 4 h 30"/>
              <a:gd name="T54" fmla="*/ 5 w 23"/>
              <a:gd name="T5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5" y="6"/>
                </a:moveTo>
                <a:cubicBezTo>
                  <a:pt x="6" y="6"/>
                  <a:pt x="6" y="7"/>
                  <a:pt x="7" y="7"/>
                </a:cubicBezTo>
                <a:cubicBezTo>
                  <a:pt x="7" y="7"/>
                  <a:pt x="10" y="8"/>
                  <a:pt x="11" y="8"/>
                </a:cubicBezTo>
                <a:cubicBezTo>
                  <a:pt x="13" y="9"/>
                  <a:pt x="14" y="9"/>
                  <a:pt x="14" y="9"/>
                </a:cubicBezTo>
                <a:cubicBezTo>
                  <a:pt x="15" y="9"/>
                  <a:pt x="16" y="9"/>
                  <a:pt x="15" y="10"/>
                </a:cubicBezTo>
                <a:cubicBezTo>
                  <a:pt x="15" y="10"/>
                  <a:pt x="10" y="15"/>
                  <a:pt x="9" y="15"/>
                </a:cubicBezTo>
                <a:cubicBezTo>
                  <a:pt x="9" y="16"/>
                  <a:pt x="8" y="16"/>
                  <a:pt x="7" y="16"/>
                </a:cubicBezTo>
                <a:cubicBezTo>
                  <a:pt x="5" y="16"/>
                  <a:pt x="4" y="17"/>
                  <a:pt x="4" y="17"/>
                </a:cubicBezTo>
                <a:cubicBezTo>
                  <a:pt x="4" y="17"/>
                  <a:pt x="3" y="18"/>
                  <a:pt x="2" y="18"/>
                </a:cubicBezTo>
                <a:cubicBezTo>
                  <a:pt x="1" y="19"/>
                  <a:pt x="1" y="19"/>
                  <a:pt x="1" y="19"/>
                </a:cubicBezTo>
                <a:cubicBezTo>
                  <a:pt x="0" y="21"/>
                  <a:pt x="0" y="21"/>
                  <a:pt x="0" y="21"/>
                </a:cubicBezTo>
                <a:cubicBezTo>
                  <a:pt x="0" y="29"/>
                  <a:pt x="0" y="29"/>
                  <a:pt x="0" y="29"/>
                </a:cubicBezTo>
                <a:cubicBezTo>
                  <a:pt x="1" y="30"/>
                  <a:pt x="1" y="30"/>
                  <a:pt x="1" y="30"/>
                </a:cubicBezTo>
                <a:cubicBezTo>
                  <a:pt x="2" y="29"/>
                  <a:pt x="4" y="27"/>
                  <a:pt x="6" y="25"/>
                </a:cubicBezTo>
                <a:cubicBezTo>
                  <a:pt x="8" y="23"/>
                  <a:pt x="9" y="23"/>
                  <a:pt x="10" y="22"/>
                </a:cubicBezTo>
                <a:cubicBezTo>
                  <a:pt x="11" y="22"/>
                  <a:pt x="14" y="19"/>
                  <a:pt x="15" y="17"/>
                </a:cubicBezTo>
                <a:cubicBezTo>
                  <a:pt x="17" y="16"/>
                  <a:pt x="18" y="14"/>
                  <a:pt x="18" y="13"/>
                </a:cubicBezTo>
                <a:cubicBezTo>
                  <a:pt x="18" y="12"/>
                  <a:pt x="19" y="10"/>
                  <a:pt x="20" y="9"/>
                </a:cubicBezTo>
                <a:cubicBezTo>
                  <a:pt x="21" y="8"/>
                  <a:pt x="22" y="6"/>
                  <a:pt x="22" y="5"/>
                </a:cubicBezTo>
                <a:cubicBezTo>
                  <a:pt x="22" y="4"/>
                  <a:pt x="23" y="3"/>
                  <a:pt x="23" y="1"/>
                </a:cubicBezTo>
                <a:cubicBezTo>
                  <a:pt x="23" y="0"/>
                  <a:pt x="22" y="0"/>
                  <a:pt x="21" y="0"/>
                </a:cubicBezTo>
                <a:cubicBezTo>
                  <a:pt x="21" y="1"/>
                  <a:pt x="18" y="2"/>
                  <a:pt x="16" y="2"/>
                </a:cubicBezTo>
                <a:cubicBezTo>
                  <a:pt x="15" y="2"/>
                  <a:pt x="14" y="2"/>
                  <a:pt x="13" y="3"/>
                </a:cubicBezTo>
                <a:cubicBezTo>
                  <a:pt x="12" y="3"/>
                  <a:pt x="11" y="2"/>
                  <a:pt x="10" y="3"/>
                </a:cubicBezTo>
                <a:cubicBezTo>
                  <a:pt x="9" y="4"/>
                  <a:pt x="7" y="4"/>
                  <a:pt x="6" y="3"/>
                </a:cubicBezTo>
                <a:cubicBezTo>
                  <a:pt x="6" y="2"/>
                  <a:pt x="6" y="2"/>
                  <a:pt x="5" y="2"/>
                </a:cubicBezTo>
                <a:cubicBezTo>
                  <a:pt x="5" y="2"/>
                  <a:pt x="4" y="3"/>
                  <a:pt x="4" y="4"/>
                </a:cubicBezTo>
                <a:cubicBezTo>
                  <a:pt x="4" y="4"/>
                  <a:pt x="5" y="5"/>
                  <a:pt x="5"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48"/>
          <p:cNvSpPr>
            <a:spLocks/>
          </p:cNvSpPr>
          <p:nvPr/>
        </p:nvSpPr>
        <p:spPr bwMode="auto">
          <a:xfrm>
            <a:off x="2062122" y="2874992"/>
            <a:ext cx="128695" cy="107245"/>
          </a:xfrm>
          <a:custGeom>
            <a:avLst/>
            <a:gdLst>
              <a:gd name="T0" fmla="*/ 10 w 27"/>
              <a:gd name="T1" fmla="*/ 22 h 22"/>
              <a:gd name="T2" fmla="*/ 10 w 27"/>
              <a:gd name="T3" fmla="*/ 19 h 22"/>
              <a:gd name="T4" fmla="*/ 13 w 27"/>
              <a:gd name="T5" fmla="*/ 16 h 22"/>
              <a:gd name="T6" fmla="*/ 15 w 27"/>
              <a:gd name="T7" fmla="*/ 16 h 22"/>
              <a:gd name="T8" fmla="*/ 17 w 27"/>
              <a:gd name="T9" fmla="*/ 15 h 22"/>
              <a:gd name="T10" fmla="*/ 18 w 27"/>
              <a:gd name="T11" fmla="*/ 14 h 22"/>
              <a:gd name="T12" fmla="*/ 19 w 27"/>
              <a:gd name="T13" fmla="*/ 14 h 22"/>
              <a:gd name="T14" fmla="*/ 20 w 27"/>
              <a:gd name="T15" fmla="*/ 13 h 22"/>
              <a:gd name="T16" fmla="*/ 21 w 27"/>
              <a:gd name="T17" fmla="*/ 12 h 22"/>
              <a:gd name="T18" fmla="*/ 21 w 27"/>
              <a:gd name="T19" fmla="*/ 11 h 22"/>
              <a:gd name="T20" fmla="*/ 23 w 27"/>
              <a:gd name="T21" fmla="*/ 10 h 22"/>
              <a:gd name="T22" fmla="*/ 26 w 27"/>
              <a:gd name="T23" fmla="*/ 10 h 22"/>
              <a:gd name="T24" fmla="*/ 26 w 27"/>
              <a:gd name="T25" fmla="*/ 9 h 22"/>
              <a:gd name="T26" fmla="*/ 26 w 27"/>
              <a:gd name="T27" fmla="*/ 8 h 22"/>
              <a:gd name="T28" fmla="*/ 25 w 27"/>
              <a:gd name="T29" fmla="*/ 6 h 22"/>
              <a:gd name="T30" fmla="*/ 25 w 27"/>
              <a:gd name="T31" fmla="*/ 3 h 22"/>
              <a:gd name="T32" fmla="*/ 24 w 27"/>
              <a:gd name="T33" fmla="*/ 3 h 22"/>
              <a:gd name="T34" fmla="*/ 22 w 27"/>
              <a:gd name="T35" fmla="*/ 2 h 22"/>
              <a:gd name="T36" fmla="*/ 18 w 27"/>
              <a:gd name="T37" fmla="*/ 2 h 22"/>
              <a:gd name="T38" fmla="*/ 16 w 27"/>
              <a:gd name="T39" fmla="*/ 1 h 22"/>
              <a:gd name="T40" fmla="*/ 14 w 27"/>
              <a:gd name="T41" fmla="*/ 5 h 22"/>
              <a:gd name="T42" fmla="*/ 10 w 27"/>
              <a:gd name="T43" fmla="*/ 7 h 22"/>
              <a:gd name="T44" fmla="*/ 9 w 27"/>
              <a:gd name="T45" fmla="*/ 9 h 22"/>
              <a:gd name="T46" fmla="*/ 7 w 27"/>
              <a:gd name="T47" fmla="*/ 11 h 22"/>
              <a:gd name="T48" fmla="*/ 7 w 27"/>
              <a:gd name="T49" fmla="*/ 14 h 22"/>
              <a:gd name="T50" fmla="*/ 5 w 27"/>
              <a:gd name="T51" fmla="*/ 18 h 22"/>
              <a:gd name="T52" fmla="*/ 2 w 27"/>
              <a:gd name="T53" fmla="*/ 20 h 22"/>
              <a:gd name="T54" fmla="*/ 0 w 27"/>
              <a:gd name="T55" fmla="*/ 21 h 22"/>
              <a:gd name="T56" fmla="*/ 8 w 27"/>
              <a:gd name="T57" fmla="*/ 21 h 22"/>
              <a:gd name="T58" fmla="*/ 10 w 27"/>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2">
                <a:moveTo>
                  <a:pt x="10" y="22"/>
                </a:moveTo>
                <a:cubicBezTo>
                  <a:pt x="10" y="20"/>
                  <a:pt x="10" y="19"/>
                  <a:pt x="10" y="19"/>
                </a:cubicBezTo>
                <a:cubicBezTo>
                  <a:pt x="10" y="18"/>
                  <a:pt x="13" y="17"/>
                  <a:pt x="13" y="16"/>
                </a:cubicBezTo>
                <a:cubicBezTo>
                  <a:pt x="14" y="16"/>
                  <a:pt x="15" y="16"/>
                  <a:pt x="15" y="16"/>
                </a:cubicBezTo>
                <a:cubicBezTo>
                  <a:pt x="15" y="15"/>
                  <a:pt x="16" y="16"/>
                  <a:pt x="17" y="15"/>
                </a:cubicBezTo>
                <a:cubicBezTo>
                  <a:pt x="17" y="15"/>
                  <a:pt x="18" y="15"/>
                  <a:pt x="18" y="14"/>
                </a:cubicBezTo>
                <a:cubicBezTo>
                  <a:pt x="18" y="13"/>
                  <a:pt x="19" y="14"/>
                  <a:pt x="19" y="14"/>
                </a:cubicBezTo>
                <a:cubicBezTo>
                  <a:pt x="20" y="13"/>
                  <a:pt x="20" y="13"/>
                  <a:pt x="20" y="13"/>
                </a:cubicBezTo>
                <a:cubicBezTo>
                  <a:pt x="21" y="13"/>
                  <a:pt x="21" y="12"/>
                  <a:pt x="21" y="12"/>
                </a:cubicBezTo>
                <a:cubicBezTo>
                  <a:pt x="21" y="11"/>
                  <a:pt x="21" y="11"/>
                  <a:pt x="21" y="11"/>
                </a:cubicBezTo>
                <a:cubicBezTo>
                  <a:pt x="22" y="11"/>
                  <a:pt x="23" y="11"/>
                  <a:pt x="23" y="10"/>
                </a:cubicBezTo>
                <a:cubicBezTo>
                  <a:pt x="23" y="10"/>
                  <a:pt x="26" y="10"/>
                  <a:pt x="26" y="10"/>
                </a:cubicBezTo>
                <a:cubicBezTo>
                  <a:pt x="26" y="10"/>
                  <a:pt x="27" y="10"/>
                  <a:pt x="26" y="9"/>
                </a:cubicBezTo>
                <a:cubicBezTo>
                  <a:pt x="26" y="9"/>
                  <a:pt x="26" y="8"/>
                  <a:pt x="26" y="8"/>
                </a:cubicBezTo>
                <a:cubicBezTo>
                  <a:pt x="25" y="8"/>
                  <a:pt x="25" y="6"/>
                  <a:pt x="25" y="6"/>
                </a:cubicBezTo>
                <a:cubicBezTo>
                  <a:pt x="25" y="5"/>
                  <a:pt x="25" y="4"/>
                  <a:pt x="25" y="3"/>
                </a:cubicBezTo>
                <a:cubicBezTo>
                  <a:pt x="25" y="3"/>
                  <a:pt x="25" y="3"/>
                  <a:pt x="24" y="3"/>
                </a:cubicBezTo>
                <a:cubicBezTo>
                  <a:pt x="24" y="3"/>
                  <a:pt x="23" y="2"/>
                  <a:pt x="22" y="2"/>
                </a:cubicBezTo>
                <a:cubicBezTo>
                  <a:pt x="21" y="2"/>
                  <a:pt x="19" y="3"/>
                  <a:pt x="18" y="2"/>
                </a:cubicBezTo>
                <a:cubicBezTo>
                  <a:pt x="17" y="1"/>
                  <a:pt x="17" y="0"/>
                  <a:pt x="16" y="1"/>
                </a:cubicBezTo>
                <a:cubicBezTo>
                  <a:pt x="15" y="1"/>
                  <a:pt x="14" y="4"/>
                  <a:pt x="14" y="5"/>
                </a:cubicBezTo>
                <a:cubicBezTo>
                  <a:pt x="13" y="6"/>
                  <a:pt x="11" y="7"/>
                  <a:pt x="10" y="7"/>
                </a:cubicBezTo>
                <a:cubicBezTo>
                  <a:pt x="9" y="7"/>
                  <a:pt x="9" y="8"/>
                  <a:pt x="9" y="9"/>
                </a:cubicBezTo>
                <a:cubicBezTo>
                  <a:pt x="8" y="9"/>
                  <a:pt x="8" y="10"/>
                  <a:pt x="7" y="11"/>
                </a:cubicBezTo>
                <a:cubicBezTo>
                  <a:pt x="7" y="11"/>
                  <a:pt x="7" y="13"/>
                  <a:pt x="7" y="14"/>
                </a:cubicBezTo>
                <a:cubicBezTo>
                  <a:pt x="8" y="15"/>
                  <a:pt x="6" y="17"/>
                  <a:pt x="5" y="18"/>
                </a:cubicBezTo>
                <a:cubicBezTo>
                  <a:pt x="4" y="18"/>
                  <a:pt x="3" y="20"/>
                  <a:pt x="2" y="20"/>
                </a:cubicBezTo>
                <a:cubicBezTo>
                  <a:pt x="1" y="20"/>
                  <a:pt x="0" y="20"/>
                  <a:pt x="0" y="21"/>
                </a:cubicBezTo>
                <a:cubicBezTo>
                  <a:pt x="8" y="21"/>
                  <a:pt x="8" y="21"/>
                  <a:pt x="8" y="21"/>
                </a:cubicBezTo>
                <a:cubicBezTo>
                  <a:pt x="10" y="21"/>
                  <a:pt x="9" y="21"/>
                  <a:pt x="10"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9"/>
          <p:cNvSpPr>
            <a:spLocks/>
          </p:cNvSpPr>
          <p:nvPr/>
        </p:nvSpPr>
        <p:spPr bwMode="auto">
          <a:xfrm>
            <a:off x="2276613" y="2860692"/>
            <a:ext cx="50048" cy="85796"/>
          </a:xfrm>
          <a:custGeom>
            <a:avLst/>
            <a:gdLst>
              <a:gd name="T0" fmla="*/ 3 w 10"/>
              <a:gd name="T1" fmla="*/ 4 h 18"/>
              <a:gd name="T2" fmla="*/ 2 w 10"/>
              <a:gd name="T3" fmla="*/ 7 h 18"/>
              <a:gd name="T4" fmla="*/ 1 w 10"/>
              <a:gd name="T5" fmla="*/ 8 h 18"/>
              <a:gd name="T6" fmla="*/ 2 w 10"/>
              <a:gd name="T7" fmla="*/ 10 h 18"/>
              <a:gd name="T8" fmla="*/ 3 w 10"/>
              <a:gd name="T9" fmla="*/ 12 h 18"/>
              <a:gd name="T10" fmla="*/ 4 w 10"/>
              <a:gd name="T11" fmla="*/ 13 h 18"/>
              <a:gd name="T12" fmla="*/ 5 w 10"/>
              <a:gd name="T13" fmla="*/ 17 h 18"/>
              <a:gd name="T14" fmla="*/ 6 w 10"/>
              <a:gd name="T15" fmla="*/ 18 h 18"/>
              <a:gd name="T16" fmla="*/ 6 w 10"/>
              <a:gd name="T17" fmla="*/ 17 h 18"/>
              <a:gd name="T18" fmla="*/ 7 w 10"/>
              <a:gd name="T19" fmla="*/ 15 h 18"/>
              <a:gd name="T20" fmla="*/ 7 w 10"/>
              <a:gd name="T21" fmla="*/ 14 h 18"/>
              <a:gd name="T22" fmla="*/ 9 w 10"/>
              <a:gd name="T23" fmla="*/ 12 h 18"/>
              <a:gd name="T24" fmla="*/ 10 w 10"/>
              <a:gd name="T25" fmla="*/ 12 h 18"/>
              <a:gd name="T26" fmla="*/ 10 w 10"/>
              <a:gd name="T27" fmla="*/ 11 h 18"/>
              <a:gd name="T28" fmla="*/ 9 w 10"/>
              <a:gd name="T29" fmla="*/ 10 h 18"/>
              <a:gd name="T30" fmla="*/ 8 w 10"/>
              <a:gd name="T31" fmla="*/ 9 h 18"/>
              <a:gd name="T32" fmla="*/ 6 w 10"/>
              <a:gd name="T33" fmla="*/ 8 h 18"/>
              <a:gd name="T34" fmla="*/ 8 w 10"/>
              <a:gd name="T35" fmla="*/ 7 h 18"/>
              <a:gd name="T36" fmla="*/ 8 w 10"/>
              <a:gd name="T37" fmla="*/ 4 h 18"/>
              <a:gd name="T38" fmla="*/ 8 w 10"/>
              <a:gd name="T39" fmla="*/ 2 h 18"/>
              <a:gd name="T40" fmla="*/ 8 w 10"/>
              <a:gd name="T41" fmla="*/ 1 h 18"/>
              <a:gd name="T42" fmla="*/ 7 w 10"/>
              <a:gd name="T43" fmla="*/ 1 h 18"/>
              <a:gd name="T44" fmla="*/ 4 w 10"/>
              <a:gd name="T45" fmla="*/ 0 h 18"/>
              <a:gd name="T46" fmla="*/ 3 w 10"/>
              <a:gd name="T47" fmla="*/ 1 h 18"/>
              <a:gd name="T48" fmla="*/ 3 w 10"/>
              <a:gd name="T4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8">
                <a:moveTo>
                  <a:pt x="3" y="4"/>
                </a:moveTo>
                <a:cubicBezTo>
                  <a:pt x="3" y="5"/>
                  <a:pt x="3" y="6"/>
                  <a:pt x="2" y="7"/>
                </a:cubicBezTo>
                <a:cubicBezTo>
                  <a:pt x="2" y="7"/>
                  <a:pt x="1" y="8"/>
                  <a:pt x="1" y="8"/>
                </a:cubicBezTo>
                <a:cubicBezTo>
                  <a:pt x="0" y="8"/>
                  <a:pt x="1" y="10"/>
                  <a:pt x="2" y="10"/>
                </a:cubicBezTo>
                <a:cubicBezTo>
                  <a:pt x="3" y="11"/>
                  <a:pt x="3" y="11"/>
                  <a:pt x="3" y="12"/>
                </a:cubicBezTo>
                <a:cubicBezTo>
                  <a:pt x="3" y="12"/>
                  <a:pt x="4" y="13"/>
                  <a:pt x="4" y="13"/>
                </a:cubicBezTo>
                <a:cubicBezTo>
                  <a:pt x="5" y="14"/>
                  <a:pt x="5" y="16"/>
                  <a:pt x="5" y="17"/>
                </a:cubicBezTo>
                <a:cubicBezTo>
                  <a:pt x="5" y="17"/>
                  <a:pt x="5" y="17"/>
                  <a:pt x="6" y="18"/>
                </a:cubicBezTo>
                <a:cubicBezTo>
                  <a:pt x="6" y="17"/>
                  <a:pt x="6" y="17"/>
                  <a:pt x="6" y="17"/>
                </a:cubicBezTo>
                <a:cubicBezTo>
                  <a:pt x="7" y="16"/>
                  <a:pt x="7" y="15"/>
                  <a:pt x="7" y="15"/>
                </a:cubicBezTo>
                <a:cubicBezTo>
                  <a:pt x="7" y="15"/>
                  <a:pt x="7" y="14"/>
                  <a:pt x="7" y="14"/>
                </a:cubicBezTo>
                <a:cubicBezTo>
                  <a:pt x="7" y="14"/>
                  <a:pt x="9" y="12"/>
                  <a:pt x="9" y="12"/>
                </a:cubicBezTo>
                <a:cubicBezTo>
                  <a:pt x="9" y="12"/>
                  <a:pt x="10" y="12"/>
                  <a:pt x="10" y="12"/>
                </a:cubicBezTo>
                <a:cubicBezTo>
                  <a:pt x="10" y="11"/>
                  <a:pt x="10" y="11"/>
                  <a:pt x="10" y="11"/>
                </a:cubicBezTo>
                <a:cubicBezTo>
                  <a:pt x="9" y="10"/>
                  <a:pt x="9" y="10"/>
                  <a:pt x="9" y="10"/>
                </a:cubicBezTo>
                <a:cubicBezTo>
                  <a:pt x="9" y="9"/>
                  <a:pt x="8" y="8"/>
                  <a:pt x="8" y="9"/>
                </a:cubicBezTo>
                <a:cubicBezTo>
                  <a:pt x="8" y="9"/>
                  <a:pt x="6" y="9"/>
                  <a:pt x="6" y="8"/>
                </a:cubicBezTo>
                <a:cubicBezTo>
                  <a:pt x="6" y="7"/>
                  <a:pt x="7" y="7"/>
                  <a:pt x="8" y="7"/>
                </a:cubicBezTo>
                <a:cubicBezTo>
                  <a:pt x="9" y="6"/>
                  <a:pt x="9" y="4"/>
                  <a:pt x="8" y="4"/>
                </a:cubicBezTo>
                <a:cubicBezTo>
                  <a:pt x="7" y="3"/>
                  <a:pt x="8" y="2"/>
                  <a:pt x="8" y="2"/>
                </a:cubicBezTo>
                <a:cubicBezTo>
                  <a:pt x="9" y="1"/>
                  <a:pt x="9" y="1"/>
                  <a:pt x="8" y="1"/>
                </a:cubicBezTo>
                <a:cubicBezTo>
                  <a:pt x="8" y="1"/>
                  <a:pt x="7" y="1"/>
                  <a:pt x="7" y="1"/>
                </a:cubicBezTo>
                <a:cubicBezTo>
                  <a:pt x="7" y="0"/>
                  <a:pt x="5" y="0"/>
                  <a:pt x="4" y="0"/>
                </a:cubicBezTo>
                <a:cubicBezTo>
                  <a:pt x="4" y="1"/>
                  <a:pt x="3" y="1"/>
                  <a:pt x="3" y="1"/>
                </a:cubicBezTo>
                <a:cubicBezTo>
                  <a:pt x="3" y="2"/>
                  <a:pt x="3"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0"/>
          <p:cNvSpPr>
            <a:spLocks/>
          </p:cNvSpPr>
          <p:nvPr/>
        </p:nvSpPr>
        <p:spPr bwMode="auto">
          <a:xfrm>
            <a:off x="2108595" y="2860692"/>
            <a:ext cx="221641" cy="210916"/>
          </a:xfrm>
          <a:custGeom>
            <a:avLst/>
            <a:gdLst>
              <a:gd name="T0" fmla="*/ 15 w 46"/>
              <a:gd name="T1" fmla="*/ 9 h 44"/>
              <a:gd name="T2" fmla="*/ 16 w 46"/>
              <a:gd name="T3" fmla="*/ 11 h 44"/>
              <a:gd name="T4" fmla="*/ 16 w 46"/>
              <a:gd name="T5" fmla="*/ 12 h 44"/>
              <a:gd name="T6" fmla="*/ 16 w 46"/>
              <a:gd name="T7" fmla="*/ 13 h 44"/>
              <a:gd name="T8" fmla="*/ 13 w 46"/>
              <a:gd name="T9" fmla="*/ 13 h 44"/>
              <a:gd name="T10" fmla="*/ 11 w 46"/>
              <a:gd name="T11" fmla="*/ 14 h 44"/>
              <a:gd name="T12" fmla="*/ 11 w 46"/>
              <a:gd name="T13" fmla="*/ 15 h 44"/>
              <a:gd name="T14" fmla="*/ 10 w 46"/>
              <a:gd name="T15" fmla="*/ 16 h 44"/>
              <a:gd name="T16" fmla="*/ 9 w 46"/>
              <a:gd name="T17" fmla="*/ 17 h 44"/>
              <a:gd name="T18" fmla="*/ 8 w 46"/>
              <a:gd name="T19" fmla="*/ 17 h 44"/>
              <a:gd name="T20" fmla="*/ 7 w 46"/>
              <a:gd name="T21" fmla="*/ 18 h 44"/>
              <a:gd name="T22" fmla="*/ 5 w 46"/>
              <a:gd name="T23" fmla="*/ 19 h 44"/>
              <a:gd name="T24" fmla="*/ 3 w 46"/>
              <a:gd name="T25" fmla="*/ 19 h 44"/>
              <a:gd name="T26" fmla="*/ 0 w 46"/>
              <a:gd name="T27" fmla="*/ 22 h 44"/>
              <a:gd name="T28" fmla="*/ 0 w 46"/>
              <a:gd name="T29" fmla="*/ 25 h 44"/>
              <a:gd name="T30" fmla="*/ 0 w 46"/>
              <a:gd name="T31" fmla="*/ 25 h 44"/>
              <a:gd name="T32" fmla="*/ 22 w 46"/>
              <a:gd name="T33" fmla="*/ 39 h 44"/>
              <a:gd name="T34" fmla="*/ 23 w 46"/>
              <a:gd name="T35" fmla="*/ 41 h 44"/>
              <a:gd name="T36" fmla="*/ 25 w 46"/>
              <a:gd name="T37" fmla="*/ 42 h 44"/>
              <a:gd name="T38" fmla="*/ 27 w 46"/>
              <a:gd name="T39" fmla="*/ 44 h 44"/>
              <a:gd name="T40" fmla="*/ 29 w 46"/>
              <a:gd name="T41" fmla="*/ 44 h 44"/>
              <a:gd name="T42" fmla="*/ 32 w 46"/>
              <a:gd name="T43" fmla="*/ 43 h 44"/>
              <a:gd name="T44" fmla="*/ 36 w 46"/>
              <a:gd name="T45" fmla="*/ 40 h 44"/>
              <a:gd name="T46" fmla="*/ 46 w 46"/>
              <a:gd name="T47" fmla="*/ 34 h 44"/>
              <a:gd name="T48" fmla="*/ 46 w 46"/>
              <a:gd name="T49" fmla="*/ 34 h 44"/>
              <a:gd name="T50" fmla="*/ 45 w 46"/>
              <a:gd name="T51" fmla="*/ 32 h 44"/>
              <a:gd name="T52" fmla="*/ 43 w 46"/>
              <a:gd name="T53" fmla="*/ 31 h 44"/>
              <a:gd name="T54" fmla="*/ 41 w 46"/>
              <a:gd name="T55" fmla="*/ 30 h 44"/>
              <a:gd name="T56" fmla="*/ 41 w 46"/>
              <a:gd name="T57" fmla="*/ 29 h 44"/>
              <a:gd name="T58" fmla="*/ 40 w 46"/>
              <a:gd name="T59" fmla="*/ 27 h 44"/>
              <a:gd name="T60" fmla="*/ 41 w 46"/>
              <a:gd name="T61" fmla="*/ 26 h 44"/>
              <a:gd name="T62" fmla="*/ 41 w 46"/>
              <a:gd name="T63" fmla="*/ 25 h 44"/>
              <a:gd name="T64" fmla="*/ 41 w 46"/>
              <a:gd name="T65" fmla="*/ 24 h 44"/>
              <a:gd name="T66" fmla="*/ 41 w 46"/>
              <a:gd name="T67" fmla="*/ 22 h 44"/>
              <a:gd name="T68" fmla="*/ 41 w 46"/>
              <a:gd name="T69" fmla="*/ 20 h 44"/>
              <a:gd name="T70" fmla="*/ 40 w 46"/>
              <a:gd name="T71" fmla="*/ 18 h 44"/>
              <a:gd name="T72" fmla="*/ 41 w 46"/>
              <a:gd name="T73" fmla="*/ 18 h 44"/>
              <a:gd name="T74" fmla="*/ 40 w 46"/>
              <a:gd name="T75" fmla="*/ 17 h 44"/>
              <a:gd name="T76" fmla="*/ 39 w 46"/>
              <a:gd name="T77" fmla="*/ 13 h 44"/>
              <a:gd name="T78" fmla="*/ 38 w 46"/>
              <a:gd name="T79" fmla="*/ 12 h 44"/>
              <a:gd name="T80" fmla="*/ 37 w 46"/>
              <a:gd name="T81" fmla="*/ 10 h 44"/>
              <a:gd name="T82" fmla="*/ 36 w 46"/>
              <a:gd name="T83" fmla="*/ 8 h 44"/>
              <a:gd name="T84" fmla="*/ 37 w 46"/>
              <a:gd name="T85" fmla="*/ 7 h 44"/>
              <a:gd name="T86" fmla="*/ 38 w 46"/>
              <a:gd name="T87" fmla="*/ 4 h 44"/>
              <a:gd name="T88" fmla="*/ 38 w 46"/>
              <a:gd name="T89" fmla="*/ 1 h 44"/>
              <a:gd name="T90" fmla="*/ 36 w 46"/>
              <a:gd name="T91" fmla="*/ 0 h 44"/>
              <a:gd name="T92" fmla="*/ 34 w 46"/>
              <a:gd name="T93" fmla="*/ 1 h 44"/>
              <a:gd name="T94" fmla="*/ 30 w 46"/>
              <a:gd name="T95" fmla="*/ 1 h 44"/>
              <a:gd name="T96" fmla="*/ 22 w 46"/>
              <a:gd name="T97" fmla="*/ 2 h 44"/>
              <a:gd name="T98" fmla="*/ 19 w 46"/>
              <a:gd name="T99" fmla="*/ 3 h 44"/>
              <a:gd name="T100" fmla="*/ 15 w 46"/>
              <a:gd name="T101" fmla="*/ 5 h 44"/>
              <a:gd name="T102" fmla="*/ 14 w 46"/>
              <a:gd name="T103" fmla="*/ 6 h 44"/>
              <a:gd name="T104" fmla="*/ 15 w 46"/>
              <a:gd name="T105" fmla="*/ 6 h 44"/>
              <a:gd name="T106" fmla="*/ 15 w 46"/>
              <a:gd name="T10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44">
                <a:moveTo>
                  <a:pt x="15" y="9"/>
                </a:moveTo>
                <a:cubicBezTo>
                  <a:pt x="15" y="9"/>
                  <a:pt x="15" y="11"/>
                  <a:pt x="16" y="11"/>
                </a:cubicBezTo>
                <a:cubicBezTo>
                  <a:pt x="16" y="11"/>
                  <a:pt x="16" y="12"/>
                  <a:pt x="16" y="12"/>
                </a:cubicBezTo>
                <a:cubicBezTo>
                  <a:pt x="17" y="13"/>
                  <a:pt x="16" y="13"/>
                  <a:pt x="16" y="13"/>
                </a:cubicBezTo>
                <a:cubicBezTo>
                  <a:pt x="16" y="13"/>
                  <a:pt x="13" y="13"/>
                  <a:pt x="13" y="13"/>
                </a:cubicBezTo>
                <a:cubicBezTo>
                  <a:pt x="13" y="14"/>
                  <a:pt x="12" y="14"/>
                  <a:pt x="11" y="14"/>
                </a:cubicBezTo>
                <a:cubicBezTo>
                  <a:pt x="11" y="14"/>
                  <a:pt x="11" y="14"/>
                  <a:pt x="11" y="15"/>
                </a:cubicBezTo>
                <a:cubicBezTo>
                  <a:pt x="11" y="15"/>
                  <a:pt x="11" y="16"/>
                  <a:pt x="10" y="16"/>
                </a:cubicBezTo>
                <a:cubicBezTo>
                  <a:pt x="10" y="16"/>
                  <a:pt x="10" y="16"/>
                  <a:pt x="9" y="17"/>
                </a:cubicBezTo>
                <a:cubicBezTo>
                  <a:pt x="9" y="17"/>
                  <a:pt x="8" y="16"/>
                  <a:pt x="8" y="17"/>
                </a:cubicBezTo>
                <a:cubicBezTo>
                  <a:pt x="8" y="18"/>
                  <a:pt x="7" y="18"/>
                  <a:pt x="7" y="18"/>
                </a:cubicBezTo>
                <a:cubicBezTo>
                  <a:pt x="6" y="19"/>
                  <a:pt x="5" y="18"/>
                  <a:pt x="5" y="19"/>
                </a:cubicBezTo>
                <a:cubicBezTo>
                  <a:pt x="5" y="19"/>
                  <a:pt x="4" y="19"/>
                  <a:pt x="3" y="19"/>
                </a:cubicBezTo>
                <a:cubicBezTo>
                  <a:pt x="3" y="20"/>
                  <a:pt x="0" y="21"/>
                  <a:pt x="0" y="22"/>
                </a:cubicBezTo>
                <a:cubicBezTo>
                  <a:pt x="0" y="22"/>
                  <a:pt x="0" y="23"/>
                  <a:pt x="0" y="25"/>
                </a:cubicBezTo>
                <a:cubicBezTo>
                  <a:pt x="0" y="25"/>
                  <a:pt x="0" y="25"/>
                  <a:pt x="0" y="25"/>
                </a:cubicBezTo>
                <a:cubicBezTo>
                  <a:pt x="1" y="26"/>
                  <a:pt x="21" y="39"/>
                  <a:pt x="22" y="39"/>
                </a:cubicBezTo>
                <a:cubicBezTo>
                  <a:pt x="22" y="40"/>
                  <a:pt x="23" y="41"/>
                  <a:pt x="23" y="41"/>
                </a:cubicBezTo>
                <a:cubicBezTo>
                  <a:pt x="23" y="41"/>
                  <a:pt x="24" y="41"/>
                  <a:pt x="25" y="42"/>
                </a:cubicBezTo>
                <a:cubicBezTo>
                  <a:pt x="27" y="43"/>
                  <a:pt x="27" y="44"/>
                  <a:pt x="27" y="44"/>
                </a:cubicBezTo>
                <a:cubicBezTo>
                  <a:pt x="27" y="44"/>
                  <a:pt x="28" y="44"/>
                  <a:pt x="29" y="44"/>
                </a:cubicBezTo>
                <a:cubicBezTo>
                  <a:pt x="30" y="44"/>
                  <a:pt x="32" y="43"/>
                  <a:pt x="32" y="43"/>
                </a:cubicBezTo>
                <a:cubicBezTo>
                  <a:pt x="36" y="40"/>
                  <a:pt x="36" y="40"/>
                  <a:pt x="36" y="40"/>
                </a:cubicBezTo>
                <a:cubicBezTo>
                  <a:pt x="46" y="34"/>
                  <a:pt x="46" y="34"/>
                  <a:pt x="46" y="34"/>
                </a:cubicBezTo>
                <a:cubicBezTo>
                  <a:pt x="46" y="34"/>
                  <a:pt x="46" y="34"/>
                  <a:pt x="46" y="34"/>
                </a:cubicBezTo>
                <a:cubicBezTo>
                  <a:pt x="45" y="33"/>
                  <a:pt x="45" y="32"/>
                  <a:pt x="45" y="32"/>
                </a:cubicBezTo>
                <a:cubicBezTo>
                  <a:pt x="44" y="32"/>
                  <a:pt x="44" y="31"/>
                  <a:pt x="43" y="31"/>
                </a:cubicBezTo>
                <a:cubicBezTo>
                  <a:pt x="42" y="31"/>
                  <a:pt x="41" y="31"/>
                  <a:pt x="41" y="30"/>
                </a:cubicBezTo>
                <a:cubicBezTo>
                  <a:pt x="41" y="30"/>
                  <a:pt x="42" y="29"/>
                  <a:pt x="41" y="29"/>
                </a:cubicBezTo>
                <a:cubicBezTo>
                  <a:pt x="41" y="28"/>
                  <a:pt x="40" y="28"/>
                  <a:pt x="40" y="27"/>
                </a:cubicBezTo>
                <a:cubicBezTo>
                  <a:pt x="40" y="27"/>
                  <a:pt x="41" y="26"/>
                  <a:pt x="41" y="26"/>
                </a:cubicBezTo>
                <a:cubicBezTo>
                  <a:pt x="41" y="26"/>
                  <a:pt x="41" y="26"/>
                  <a:pt x="41" y="25"/>
                </a:cubicBezTo>
                <a:cubicBezTo>
                  <a:pt x="41" y="25"/>
                  <a:pt x="40" y="24"/>
                  <a:pt x="41" y="24"/>
                </a:cubicBezTo>
                <a:cubicBezTo>
                  <a:pt x="41" y="23"/>
                  <a:pt x="41" y="23"/>
                  <a:pt x="41" y="22"/>
                </a:cubicBezTo>
                <a:cubicBezTo>
                  <a:pt x="41" y="22"/>
                  <a:pt x="41" y="21"/>
                  <a:pt x="41" y="20"/>
                </a:cubicBezTo>
                <a:cubicBezTo>
                  <a:pt x="41" y="19"/>
                  <a:pt x="40" y="18"/>
                  <a:pt x="40" y="18"/>
                </a:cubicBezTo>
                <a:cubicBezTo>
                  <a:pt x="40" y="18"/>
                  <a:pt x="40" y="18"/>
                  <a:pt x="41" y="18"/>
                </a:cubicBezTo>
                <a:cubicBezTo>
                  <a:pt x="40" y="17"/>
                  <a:pt x="40" y="17"/>
                  <a:pt x="40" y="17"/>
                </a:cubicBezTo>
                <a:cubicBezTo>
                  <a:pt x="40" y="16"/>
                  <a:pt x="40" y="14"/>
                  <a:pt x="39" y="13"/>
                </a:cubicBezTo>
                <a:cubicBezTo>
                  <a:pt x="39" y="13"/>
                  <a:pt x="38" y="12"/>
                  <a:pt x="38" y="12"/>
                </a:cubicBezTo>
                <a:cubicBezTo>
                  <a:pt x="38" y="11"/>
                  <a:pt x="38" y="11"/>
                  <a:pt x="37" y="10"/>
                </a:cubicBezTo>
                <a:cubicBezTo>
                  <a:pt x="36" y="10"/>
                  <a:pt x="35" y="8"/>
                  <a:pt x="36" y="8"/>
                </a:cubicBezTo>
                <a:cubicBezTo>
                  <a:pt x="36" y="8"/>
                  <a:pt x="37" y="7"/>
                  <a:pt x="37" y="7"/>
                </a:cubicBezTo>
                <a:cubicBezTo>
                  <a:pt x="38" y="6"/>
                  <a:pt x="38" y="5"/>
                  <a:pt x="38" y="4"/>
                </a:cubicBezTo>
                <a:cubicBezTo>
                  <a:pt x="38" y="4"/>
                  <a:pt x="38" y="2"/>
                  <a:pt x="38" y="1"/>
                </a:cubicBezTo>
                <a:cubicBezTo>
                  <a:pt x="37" y="1"/>
                  <a:pt x="36" y="0"/>
                  <a:pt x="36" y="0"/>
                </a:cubicBezTo>
                <a:cubicBezTo>
                  <a:pt x="35" y="0"/>
                  <a:pt x="34" y="0"/>
                  <a:pt x="34" y="1"/>
                </a:cubicBezTo>
                <a:cubicBezTo>
                  <a:pt x="33" y="1"/>
                  <a:pt x="31" y="2"/>
                  <a:pt x="30" y="1"/>
                </a:cubicBezTo>
                <a:cubicBezTo>
                  <a:pt x="30" y="1"/>
                  <a:pt x="24" y="2"/>
                  <a:pt x="22" y="2"/>
                </a:cubicBezTo>
                <a:cubicBezTo>
                  <a:pt x="20" y="2"/>
                  <a:pt x="20" y="3"/>
                  <a:pt x="19" y="3"/>
                </a:cubicBezTo>
                <a:cubicBezTo>
                  <a:pt x="18" y="3"/>
                  <a:pt x="16" y="4"/>
                  <a:pt x="15" y="5"/>
                </a:cubicBezTo>
                <a:cubicBezTo>
                  <a:pt x="15" y="6"/>
                  <a:pt x="15" y="6"/>
                  <a:pt x="14" y="6"/>
                </a:cubicBezTo>
                <a:cubicBezTo>
                  <a:pt x="15" y="6"/>
                  <a:pt x="15" y="6"/>
                  <a:pt x="15" y="6"/>
                </a:cubicBezTo>
                <a:cubicBezTo>
                  <a:pt x="15" y="7"/>
                  <a:pt x="15" y="8"/>
                  <a:pt x="1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1"/>
          <p:cNvSpPr>
            <a:spLocks/>
          </p:cNvSpPr>
          <p:nvPr/>
        </p:nvSpPr>
        <p:spPr bwMode="auto">
          <a:xfrm>
            <a:off x="2301637" y="2914315"/>
            <a:ext cx="164443" cy="153718"/>
          </a:xfrm>
          <a:custGeom>
            <a:avLst/>
            <a:gdLst>
              <a:gd name="T0" fmla="*/ 4 w 34"/>
              <a:gd name="T1" fmla="*/ 1 h 32"/>
              <a:gd name="T2" fmla="*/ 2 w 34"/>
              <a:gd name="T3" fmla="*/ 3 h 32"/>
              <a:gd name="T4" fmla="*/ 2 w 34"/>
              <a:gd name="T5" fmla="*/ 4 h 32"/>
              <a:gd name="T6" fmla="*/ 1 w 34"/>
              <a:gd name="T7" fmla="*/ 6 h 32"/>
              <a:gd name="T8" fmla="*/ 0 w 34"/>
              <a:gd name="T9" fmla="*/ 7 h 32"/>
              <a:gd name="T10" fmla="*/ 1 w 34"/>
              <a:gd name="T11" fmla="*/ 9 h 32"/>
              <a:gd name="T12" fmla="*/ 1 w 34"/>
              <a:gd name="T13" fmla="*/ 11 h 32"/>
              <a:gd name="T14" fmla="*/ 1 w 34"/>
              <a:gd name="T15" fmla="*/ 13 h 32"/>
              <a:gd name="T16" fmla="*/ 1 w 34"/>
              <a:gd name="T17" fmla="*/ 14 h 32"/>
              <a:gd name="T18" fmla="*/ 1 w 34"/>
              <a:gd name="T19" fmla="*/ 15 h 32"/>
              <a:gd name="T20" fmla="*/ 0 w 34"/>
              <a:gd name="T21" fmla="*/ 16 h 32"/>
              <a:gd name="T22" fmla="*/ 1 w 34"/>
              <a:gd name="T23" fmla="*/ 18 h 32"/>
              <a:gd name="T24" fmla="*/ 1 w 34"/>
              <a:gd name="T25" fmla="*/ 19 h 32"/>
              <a:gd name="T26" fmla="*/ 3 w 34"/>
              <a:gd name="T27" fmla="*/ 20 h 32"/>
              <a:gd name="T28" fmla="*/ 5 w 34"/>
              <a:gd name="T29" fmla="*/ 21 h 32"/>
              <a:gd name="T30" fmla="*/ 6 w 34"/>
              <a:gd name="T31" fmla="*/ 23 h 32"/>
              <a:gd name="T32" fmla="*/ 9 w 34"/>
              <a:gd name="T33" fmla="*/ 23 h 32"/>
              <a:gd name="T34" fmla="*/ 10 w 34"/>
              <a:gd name="T35" fmla="*/ 25 h 32"/>
              <a:gd name="T36" fmla="*/ 14 w 34"/>
              <a:gd name="T37" fmla="*/ 23 h 32"/>
              <a:gd name="T38" fmla="*/ 31 w 34"/>
              <a:gd name="T39" fmla="*/ 32 h 32"/>
              <a:gd name="T40" fmla="*/ 31 w 34"/>
              <a:gd name="T41" fmla="*/ 31 h 32"/>
              <a:gd name="T42" fmla="*/ 33 w 34"/>
              <a:gd name="T43" fmla="*/ 31 h 32"/>
              <a:gd name="T44" fmla="*/ 33 w 34"/>
              <a:gd name="T45" fmla="*/ 9 h 32"/>
              <a:gd name="T46" fmla="*/ 33 w 34"/>
              <a:gd name="T47" fmla="*/ 6 h 32"/>
              <a:gd name="T48" fmla="*/ 33 w 34"/>
              <a:gd name="T49" fmla="*/ 3 h 32"/>
              <a:gd name="T50" fmla="*/ 33 w 34"/>
              <a:gd name="T51" fmla="*/ 2 h 32"/>
              <a:gd name="T52" fmla="*/ 33 w 34"/>
              <a:gd name="T53" fmla="*/ 2 h 32"/>
              <a:gd name="T54" fmla="*/ 30 w 34"/>
              <a:gd name="T55" fmla="*/ 2 h 32"/>
              <a:gd name="T56" fmla="*/ 27 w 34"/>
              <a:gd name="T57" fmla="*/ 0 h 32"/>
              <a:gd name="T58" fmla="*/ 22 w 34"/>
              <a:gd name="T59" fmla="*/ 2 h 32"/>
              <a:gd name="T60" fmla="*/ 22 w 34"/>
              <a:gd name="T61" fmla="*/ 5 h 32"/>
              <a:gd name="T62" fmla="*/ 19 w 34"/>
              <a:gd name="T63" fmla="*/ 5 h 32"/>
              <a:gd name="T64" fmla="*/ 15 w 34"/>
              <a:gd name="T65" fmla="*/ 4 h 32"/>
              <a:gd name="T66" fmla="*/ 13 w 34"/>
              <a:gd name="T67" fmla="*/ 2 h 32"/>
              <a:gd name="T68" fmla="*/ 11 w 34"/>
              <a:gd name="T69" fmla="*/ 1 h 32"/>
              <a:gd name="T70" fmla="*/ 7 w 34"/>
              <a:gd name="T71" fmla="*/ 0 h 32"/>
              <a:gd name="T72" fmla="*/ 5 w 34"/>
              <a:gd name="T73" fmla="*/ 0 h 32"/>
              <a:gd name="T74" fmla="*/ 5 w 34"/>
              <a:gd name="T75" fmla="*/ 1 h 32"/>
              <a:gd name="T76" fmla="*/ 4 w 34"/>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2">
                <a:moveTo>
                  <a:pt x="4" y="1"/>
                </a:moveTo>
                <a:cubicBezTo>
                  <a:pt x="4" y="1"/>
                  <a:pt x="2" y="3"/>
                  <a:pt x="2" y="3"/>
                </a:cubicBezTo>
                <a:cubicBezTo>
                  <a:pt x="2" y="3"/>
                  <a:pt x="2" y="4"/>
                  <a:pt x="2" y="4"/>
                </a:cubicBezTo>
                <a:cubicBezTo>
                  <a:pt x="2" y="4"/>
                  <a:pt x="2" y="5"/>
                  <a:pt x="1" y="6"/>
                </a:cubicBezTo>
                <a:cubicBezTo>
                  <a:pt x="1" y="6"/>
                  <a:pt x="0" y="7"/>
                  <a:pt x="0" y="7"/>
                </a:cubicBezTo>
                <a:cubicBezTo>
                  <a:pt x="0" y="7"/>
                  <a:pt x="1" y="8"/>
                  <a:pt x="1" y="9"/>
                </a:cubicBezTo>
                <a:cubicBezTo>
                  <a:pt x="1" y="10"/>
                  <a:pt x="1" y="11"/>
                  <a:pt x="1" y="11"/>
                </a:cubicBezTo>
                <a:cubicBezTo>
                  <a:pt x="1" y="12"/>
                  <a:pt x="1" y="12"/>
                  <a:pt x="1" y="13"/>
                </a:cubicBezTo>
                <a:cubicBezTo>
                  <a:pt x="0" y="13"/>
                  <a:pt x="1" y="14"/>
                  <a:pt x="1" y="14"/>
                </a:cubicBezTo>
                <a:cubicBezTo>
                  <a:pt x="1" y="15"/>
                  <a:pt x="1" y="15"/>
                  <a:pt x="1" y="15"/>
                </a:cubicBezTo>
                <a:cubicBezTo>
                  <a:pt x="1" y="15"/>
                  <a:pt x="0" y="16"/>
                  <a:pt x="0" y="16"/>
                </a:cubicBezTo>
                <a:cubicBezTo>
                  <a:pt x="0" y="17"/>
                  <a:pt x="1" y="17"/>
                  <a:pt x="1" y="18"/>
                </a:cubicBezTo>
                <a:cubicBezTo>
                  <a:pt x="2" y="18"/>
                  <a:pt x="1" y="19"/>
                  <a:pt x="1" y="19"/>
                </a:cubicBezTo>
                <a:cubicBezTo>
                  <a:pt x="1" y="20"/>
                  <a:pt x="2" y="20"/>
                  <a:pt x="3" y="20"/>
                </a:cubicBezTo>
                <a:cubicBezTo>
                  <a:pt x="4" y="20"/>
                  <a:pt x="4" y="21"/>
                  <a:pt x="5" y="21"/>
                </a:cubicBezTo>
                <a:cubicBezTo>
                  <a:pt x="5" y="21"/>
                  <a:pt x="5" y="22"/>
                  <a:pt x="6" y="23"/>
                </a:cubicBezTo>
                <a:cubicBezTo>
                  <a:pt x="6" y="23"/>
                  <a:pt x="8" y="23"/>
                  <a:pt x="9" y="23"/>
                </a:cubicBezTo>
                <a:cubicBezTo>
                  <a:pt x="10" y="24"/>
                  <a:pt x="10" y="25"/>
                  <a:pt x="10" y="25"/>
                </a:cubicBezTo>
                <a:cubicBezTo>
                  <a:pt x="14" y="23"/>
                  <a:pt x="14" y="23"/>
                  <a:pt x="14" y="23"/>
                </a:cubicBezTo>
                <a:cubicBezTo>
                  <a:pt x="31" y="32"/>
                  <a:pt x="31" y="32"/>
                  <a:pt x="31" y="32"/>
                </a:cubicBezTo>
                <a:cubicBezTo>
                  <a:pt x="31" y="31"/>
                  <a:pt x="31" y="31"/>
                  <a:pt x="31" y="31"/>
                </a:cubicBezTo>
                <a:cubicBezTo>
                  <a:pt x="33" y="31"/>
                  <a:pt x="33" y="31"/>
                  <a:pt x="33" y="31"/>
                </a:cubicBezTo>
                <a:cubicBezTo>
                  <a:pt x="33" y="9"/>
                  <a:pt x="33" y="9"/>
                  <a:pt x="33" y="9"/>
                </a:cubicBezTo>
                <a:cubicBezTo>
                  <a:pt x="33" y="7"/>
                  <a:pt x="32" y="6"/>
                  <a:pt x="33" y="6"/>
                </a:cubicBezTo>
                <a:cubicBezTo>
                  <a:pt x="34" y="5"/>
                  <a:pt x="33" y="4"/>
                  <a:pt x="33" y="3"/>
                </a:cubicBezTo>
                <a:cubicBezTo>
                  <a:pt x="33" y="3"/>
                  <a:pt x="33" y="3"/>
                  <a:pt x="33" y="2"/>
                </a:cubicBezTo>
                <a:cubicBezTo>
                  <a:pt x="33" y="2"/>
                  <a:pt x="33" y="2"/>
                  <a:pt x="33" y="2"/>
                </a:cubicBezTo>
                <a:cubicBezTo>
                  <a:pt x="33" y="2"/>
                  <a:pt x="32" y="2"/>
                  <a:pt x="30" y="2"/>
                </a:cubicBezTo>
                <a:cubicBezTo>
                  <a:pt x="29" y="1"/>
                  <a:pt x="29" y="0"/>
                  <a:pt x="27" y="0"/>
                </a:cubicBezTo>
                <a:cubicBezTo>
                  <a:pt x="25" y="0"/>
                  <a:pt x="22" y="1"/>
                  <a:pt x="22" y="2"/>
                </a:cubicBezTo>
                <a:cubicBezTo>
                  <a:pt x="22" y="3"/>
                  <a:pt x="23" y="4"/>
                  <a:pt x="22" y="5"/>
                </a:cubicBezTo>
                <a:cubicBezTo>
                  <a:pt x="22" y="6"/>
                  <a:pt x="20" y="6"/>
                  <a:pt x="19" y="5"/>
                </a:cubicBezTo>
                <a:cubicBezTo>
                  <a:pt x="18" y="4"/>
                  <a:pt x="16" y="4"/>
                  <a:pt x="15" y="4"/>
                </a:cubicBezTo>
                <a:cubicBezTo>
                  <a:pt x="14" y="4"/>
                  <a:pt x="13" y="3"/>
                  <a:pt x="13" y="2"/>
                </a:cubicBezTo>
                <a:cubicBezTo>
                  <a:pt x="13" y="1"/>
                  <a:pt x="12" y="1"/>
                  <a:pt x="11" y="1"/>
                </a:cubicBezTo>
                <a:cubicBezTo>
                  <a:pt x="10" y="1"/>
                  <a:pt x="9" y="0"/>
                  <a:pt x="7" y="0"/>
                </a:cubicBezTo>
                <a:cubicBezTo>
                  <a:pt x="6" y="0"/>
                  <a:pt x="5" y="0"/>
                  <a:pt x="5" y="0"/>
                </a:cubicBezTo>
                <a:cubicBezTo>
                  <a:pt x="5" y="0"/>
                  <a:pt x="5" y="0"/>
                  <a:pt x="5" y="1"/>
                </a:cubicBezTo>
                <a:cubicBezTo>
                  <a:pt x="5" y="1"/>
                  <a:pt x="4" y="1"/>
                  <a:pt x="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52"/>
          <p:cNvSpPr>
            <a:spLocks/>
          </p:cNvSpPr>
          <p:nvPr/>
        </p:nvSpPr>
        <p:spPr bwMode="auto">
          <a:xfrm>
            <a:off x="2022799" y="3132381"/>
            <a:ext cx="28599" cy="7150"/>
          </a:xfrm>
          <a:custGeom>
            <a:avLst/>
            <a:gdLst>
              <a:gd name="T0" fmla="*/ 3 w 6"/>
              <a:gd name="T1" fmla="*/ 1 h 2"/>
              <a:gd name="T2" fmla="*/ 5 w 6"/>
              <a:gd name="T3" fmla="*/ 1 h 2"/>
              <a:gd name="T4" fmla="*/ 6 w 6"/>
              <a:gd name="T5" fmla="*/ 1 h 2"/>
              <a:gd name="T6" fmla="*/ 5 w 6"/>
              <a:gd name="T7" fmla="*/ 1 h 2"/>
              <a:gd name="T8" fmla="*/ 3 w 6"/>
              <a:gd name="T9" fmla="*/ 0 h 2"/>
              <a:gd name="T10" fmla="*/ 0 w 6"/>
              <a:gd name="T11" fmla="*/ 0 h 2"/>
              <a:gd name="T12" fmla="*/ 0 w 6"/>
              <a:gd name="T13" fmla="*/ 2 h 2"/>
              <a:gd name="T14" fmla="*/ 1 w 6"/>
              <a:gd name="T15" fmla="*/ 2 h 2"/>
              <a:gd name="T16" fmla="*/ 3 w 6"/>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3" y="1"/>
                </a:moveTo>
                <a:cubicBezTo>
                  <a:pt x="4" y="1"/>
                  <a:pt x="4" y="1"/>
                  <a:pt x="5" y="1"/>
                </a:cubicBezTo>
                <a:cubicBezTo>
                  <a:pt x="6" y="2"/>
                  <a:pt x="6" y="1"/>
                  <a:pt x="6" y="1"/>
                </a:cubicBezTo>
                <a:cubicBezTo>
                  <a:pt x="6" y="1"/>
                  <a:pt x="6" y="1"/>
                  <a:pt x="5" y="1"/>
                </a:cubicBezTo>
                <a:cubicBezTo>
                  <a:pt x="4" y="1"/>
                  <a:pt x="4" y="0"/>
                  <a:pt x="3" y="0"/>
                </a:cubicBezTo>
                <a:cubicBezTo>
                  <a:pt x="2" y="0"/>
                  <a:pt x="1" y="1"/>
                  <a:pt x="0" y="0"/>
                </a:cubicBezTo>
                <a:cubicBezTo>
                  <a:pt x="0" y="1"/>
                  <a:pt x="0" y="1"/>
                  <a:pt x="0" y="2"/>
                </a:cubicBezTo>
                <a:cubicBezTo>
                  <a:pt x="0" y="2"/>
                  <a:pt x="1" y="2"/>
                  <a:pt x="1" y="2"/>
                </a:cubicBezTo>
                <a:cubicBezTo>
                  <a:pt x="1" y="2"/>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3"/>
          <p:cNvSpPr>
            <a:spLocks/>
          </p:cNvSpPr>
          <p:nvPr/>
        </p:nvSpPr>
        <p:spPr bwMode="auto">
          <a:xfrm>
            <a:off x="2015649" y="3100207"/>
            <a:ext cx="64347" cy="50048"/>
          </a:xfrm>
          <a:custGeom>
            <a:avLst/>
            <a:gdLst>
              <a:gd name="T0" fmla="*/ 3 w 13"/>
              <a:gd name="T1" fmla="*/ 9 h 10"/>
              <a:gd name="T2" fmla="*/ 4 w 13"/>
              <a:gd name="T3" fmla="*/ 9 h 10"/>
              <a:gd name="T4" fmla="*/ 7 w 13"/>
              <a:gd name="T5" fmla="*/ 9 h 10"/>
              <a:gd name="T6" fmla="*/ 8 w 13"/>
              <a:gd name="T7" fmla="*/ 9 h 10"/>
              <a:gd name="T8" fmla="*/ 8 w 13"/>
              <a:gd name="T9" fmla="*/ 9 h 10"/>
              <a:gd name="T10" fmla="*/ 9 w 13"/>
              <a:gd name="T11" fmla="*/ 9 h 10"/>
              <a:gd name="T12" fmla="*/ 12 w 13"/>
              <a:gd name="T13" fmla="*/ 9 h 10"/>
              <a:gd name="T14" fmla="*/ 13 w 13"/>
              <a:gd name="T15" fmla="*/ 9 h 10"/>
              <a:gd name="T16" fmla="*/ 13 w 13"/>
              <a:gd name="T17" fmla="*/ 8 h 10"/>
              <a:gd name="T18" fmla="*/ 11 w 13"/>
              <a:gd name="T19" fmla="*/ 7 h 10"/>
              <a:gd name="T20" fmla="*/ 11 w 13"/>
              <a:gd name="T21" fmla="*/ 5 h 10"/>
              <a:gd name="T22" fmla="*/ 11 w 13"/>
              <a:gd name="T23" fmla="*/ 5 h 10"/>
              <a:gd name="T24" fmla="*/ 10 w 13"/>
              <a:gd name="T25" fmla="*/ 3 h 10"/>
              <a:gd name="T26" fmla="*/ 8 w 13"/>
              <a:gd name="T27" fmla="*/ 1 h 10"/>
              <a:gd name="T28" fmla="*/ 7 w 13"/>
              <a:gd name="T29" fmla="*/ 1 h 10"/>
              <a:gd name="T30" fmla="*/ 6 w 13"/>
              <a:gd name="T31" fmla="*/ 0 h 10"/>
              <a:gd name="T32" fmla="*/ 4 w 13"/>
              <a:gd name="T33" fmla="*/ 0 h 10"/>
              <a:gd name="T34" fmla="*/ 2 w 13"/>
              <a:gd name="T35" fmla="*/ 0 h 10"/>
              <a:gd name="T36" fmla="*/ 1 w 13"/>
              <a:gd name="T37" fmla="*/ 1 h 10"/>
              <a:gd name="T38" fmla="*/ 1 w 13"/>
              <a:gd name="T39" fmla="*/ 1 h 10"/>
              <a:gd name="T40" fmla="*/ 0 w 13"/>
              <a:gd name="T41" fmla="*/ 3 h 10"/>
              <a:gd name="T42" fmla="*/ 1 w 13"/>
              <a:gd name="T43" fmla="*/ 6 h 10"/>
              <a:gd name="T44" fmla="*/ 1 w 13"/>
              <a:gd name="T45" fmla="*/ 6 h 10"/>
              <a:gd name="T46" fmla="*/ 4 w 13"/>
              <a:gd name="T47" fmla="*/ 6 h 10"/>
              <a:gd name="T48" fmla="*/ 6 w 13"/>
              <a:gd name="T49" fmla="*/ 7 h 10"/>
              <a:gd name="T50" fmla="*/ 7 w 13"/>
              <a:gd name="T51" fmla="*/ 7 h 10"/>
              <a:gd name="T52" fmla="*/ 6 w 13"/>
              <a:gd name="T53" fmla="*/ 7 h 10"/>
              <a:gd name="T54" fmla="*/ 4 w 13"/>
              <a:gd name="T55" fmla="*/ 7 h 10"/>
              <a:gd name="T56" fmla="*/ 2 w 13"/>
              <a:gd name="T57" fmla="*/ 8 h 10"/>
              <a:gd name="T58" fmla="*/ 1 w 13"/>
              <a:gd name="T59" fmla="*/ 8 h 10"/>
              <a:gd name="T60" fmla="*/ 1 w 13"/>
              <a:gd name="T61" fmla="*/ 9 h 10"/>
              <a:gd name="T62" fmla="*/ 1 w 13"/>
              <a:gd name="T63" fmla="*/ 9 h 10"/>
              <a:gd name="T64" fmla="*/ 3 w 13"/>
              <a:gd name="T6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0">
                <a:moveTo>
                  <a:pt x="3" y="9"/>
                </a:moveTo>
                <a:cubicBezTo>
                  <a:pt x="3" y="9"/>
                  <a:pt x="4" y="9"/>
                  <a:pt x="4" y="9"/>
                </a:cubicBezTo>
                <a:cubicBezTo>
                  <a:pt x="4" y="9"/>
                  <a:pt x="7" y="9"/>
                  <a:pt x="7" y="9"/>
                </a:cubicBezTo>
                <a:cubicBezTo>
                  <a:pt x="7" y="9"/>
                  <a:pt x="7" y="9"/>
                  <a:pt x="8" y="9"/>
                </a:cubicBezTo>
                <a:cubicBezTo>
                  <a:pt x="8" y="9"/>
                  <a:pt x="8" y="9"/>
                  <a:pt x="8" y="9"/>
                </a:cubicBezTo>
                <a:cubicBezTo>
                  <a:pt x="8" y="9"/>
                  <a:pt x="9" y="9"/>
                  <a:pt x="9" y="9"/>
                </a:cubicBezTo>
                <a:cubicBezTo>
                  <a:pt x="9" y="10"/>
                  <a:pt x="11" y="10"/>
                  <a:pt x="12" y="9"/>
                </a:cubicBezTo>
                <a:cubicBezTo>
                  <a:pt x="13" y="9"/>
                  <a:pt x="13" y="9"/>
                  <a:pt x="13" y="9"/>
                </a:cubicBezTo>
                <a:cubicBezTo>
                  <a:pt x="13" y="9"/>
                  <a:pt x="13" y="8"/>
                  <a:pt x="13" y="8"/>
                </a:cubicBezTo>
                <a:cubicBezTo>
                  <a:pt x="13" y="8"/>
                  <a:pt x="12" y="7"/>
                  <a:pt x="11" y="7"/>
                </a:cubicBezTo>
                <a:cubicBezTo>
                  <a:pt x="11" y="6"/>
                  <a:pt x="11" y="5"/>
                  <a:pt x="11" y="5"/>
                </a:cubicBezTo>
                <a:cubicBezTo>
                  <a:pt x="11" y="5"/>
                  <a:pt x="11" y="5"/>
                  <a:pt x="11" y="5"/>
                </a:cubicBezTo>
                <a:cubicBezTo>
                  <a:pt x="11" y="5"/>
                  <a:pt x="10" y="3"/>
                  <a:pt x="10" y="3"/>
                </a:cubicBezTo>
                <a:cubicBezTo>
                  <a:pt x="9" y="3"/>
                  <a:pt x="8" y="1"/>
                  <a:pt x="8" y="1"/>
                </a:cubicBezTo>
                <a:cubicBezTo>
                  <a:pt x="7" y="1"/>
                  <a:pt x="7" y="1"/>
                  <a:pt x="7" y="1"/>
                </a:cubicBezTo>
                <a:cubicBezTo>
                  <a:pt x="7" y="1"/>
                  <a:pt x="7" y="0"/>
                  <a:pt x="6" y="0"/>
                </a:cubicBezTo>
                <a:cubicBezTo>
                  <a:pt x="5" y="0"/>
                  <a:pt x="4" y="0"/>
                  <a:pt x="4" y="0"/>
                </a:cubicBezTo>
                <a:cubicBezTo>
                  <a:pt x="4" y="0"/>
                  <a:pt x="3" y="0"/>
                  <a:pt x="2" y="0"/>
                </a:cubicBezTo>
                <a:cubicBezTo>
                  <a:pt x="1" y="0"/>
                  <a:pt x="2" y="1"/>
                  <a:pt x="1" y="1"/>
                </a:cubicBezTo>
                <a:cubicBezTo>
                  <a:pt x="1" y="1"/>
                  <a:pt x="1" y="1"/>
                  <a:pt x="1" y="1"/>
                </a:cubicBezTo>
                <a:cubicBezTo>
                  <a:pt x="1" y="2"/>
                  <a:pt x="1" y="2"/>
                  <a:pt x="0" y="3"/>
                </a:cubicBezTo>
                <a:cubicBezTo>
                  <a:pt x="0" y="4"/>
                  <a:pt x="1" y="6"/>
                  <a:pt x="1" y="6"/>
                </a:cubicBezTo>
                <a:cubicBezTo>
                  <a:pt x="1" y="6"/>
                  <a:pt x="1" y="6"/>
                  <a:pt x="1" y="6"/>
                </a:cubicBezTo>
                <a:cubicBezTo>
                  <a:pt x="2" y="7"/>
                  <a:pt x="3" y="6"/>
                  <a:pt x="4" y="6"/>
                </a:cubicBezTo>
                <a:cubicBezTo>
                  <a:pt x="5" y="6"/>
                  <a:pt x="5" y="7"/>
                  <a:pt x="6" y="7"/>
                </a:cubicBezTo>
                <a:cubicBezTo>
                  <a:pt x="7" y="7"/>
                  <a:pt x="7" y="7"/>
                  <a:pt x="7" y="7"/>
                </a:cubicBezTo>
                <a:cubicBezTo>
                  <a:pt x="7" y="7"/>
                  <a:pt x="7" y="8"/>
                  <a:pt x="6" y="7"/>
                </a:cubicBezTo>
                <a:cubicBezTo>
                  <a:pt x="5" y="7"/>
                  <a:pt x="5" y="7"/>
                  <a:pt x="4" y="7"/>
                </a:cubicBezTo>
                <a:cubicBezTo>
                  <a:pt x="4" y="7"/>
                  <a:pt x="2" y="8"/>
                  <a:pt x="2" y="8"/>
                </a:cubicBezTo>
                <a:cubicBezTo>
                  <a:pt x="2" y="8"/>
                  <a:pt x="1" y="8"/>
                  <a:pt x="1" y="8"/>
                </a:cubicBezTo>
                <a:cubicBezTo>
                  <a:pt x="1" y="8"/>
                  <a:pt x="1" y="9"/>
                  <a:pt x="1" y="9"/>
                </a:cubicBezTo>
                <a:cubicBezTo>
                  <a:pt x="1" y="9"/>
                  <a:pt x="1" y="9"/>
                  <a:pt x="1" y="9"/>
                </a:cubicBezTo>
                <a:cubicBezTo>
                  <a:pt x="3" y="9"/>
                  <a:pt x="2" y="9"/>
                  <a:pt x="3"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4"/>
          <p:cNvSpPr>
            <a:spLocks/>
          </p:cNvSpPr>
          <p:nvPr/>
        </p:nvSpPr>
        <p:spPr bwMode="auto">
          <a:xfrm>
            <a:off x="2022799" y="3146680"/>
            <a:ext cx="32174" cy="14299"/>
          </a:xfrm>
          <a:custGeom>
            <a:avLst/>
            <a:gdLst>
              <a:gd name="T0" fmla="*/ 4 w 7"/>
              <a:gd name="T1" fmla="*/ 3 h 3"/>
              <a:gd name="T2" fmla="*/ 6 w 7"/>
              <a:gd name="T3" fmla="*/ 2 h 3"/>
              <a:gd name="T4" fmla="*/ 6 w 7"/>
              <a:gd name="T5" fmla="*/ 2 h 3"/>
              <a:gd name="T6" fmla="*/ 6 w 7"/>
              <a:gd name="T7" fmla="*/ 1 h 3"/>
              <a:gd name="T8" fmla="*/ 7 w 7"/>
              <a:gd name="T9" fmla="*/ 0 h 3"/>
              <a:gd name="T10" fmla="*/ 6 w 7"/>
              <a:gd name="T11" fmla="*/ 0 h 3"/>
              <a:gd name="T12" fmla="*/ 3 w 7"/>
              <a:gd name="T13" fmla="*/ 0 h 3"/>
              <a:gd name="T14" fmla="*/ 2 w 7"/>
              <a:gd name="T15" fmla="*/ 0 h 3"/>
              <a:gd name="T16" fmla="*/ 0 w 7"/>
              <a:gd name="T17" fmla="*/ 0 h 3"/>
              <a:gd name="T18" fmla="*/ 2 w 7"/>
              <a:gd name="T19" fmla="*/ 1 h 3"/>
              <a:gd name="T20" fmla="*/ 3 w 7"/>
              <a:gd name="T21" fmla="*/ 3 h 3"/>
              <a:gd name="T22" fmla="*/ 3 w 7"/>
              <a:gd name="T23" fmla="*/ 3 h 3"/>
              <a:gd name="T24" fmla="*/ 4 w 7"/>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4" y="3"/>
                </a:moveTo>
                <a:cubicBezTo>
                  <a:pt x="4" y="3"/>
                  <a:pt x="5" y="2"/>
                  <a:pt x="6" y="2"/>
                </a:cubicBezTo>
                <a:cubicBezTo>
                  <a:pt x="6" y="2"/>
                  <a:pt x="6" y="2"/>
                  <a:pt x="6" y="2"/>
                </a:cubicBezTo>
                <a:cubicBezTo>
                  <a:pt x="6" y="1"/>
                  <a:pt x="6" y="1"/>
                  <a:pt x="6" y="1"/>
                </a:cubicBezTo>
                <a:cubicBezTo>
                  <a:pt x="7" y="1"/>
                  <a:pt x="7" y="0"/>
                  <a:pt x="7" y="0"/>
                </a:cubicBezTo>
                <a:cubicBezTo>
                  <a:pt x="6" y="0"/>
                  <a:pt x="6" y="0"/>
                  <a:pt x="6" y="0"/>
                </a:cubicBezTo>
                <a:cubicBezTo>
                  <a:pt x="6" y="0"/>
                  <a:pt x="3" y="0"/>
                  <a:pt x="3" y="0"/>
                </a:cubicBezTo>
                <a:cubicBezTo>
                  <a:pt x="3" y="0"/>
                  <a:pt x="2" y="0"/>
                  <a:pt x="2" y="0"/>
                </a:cubicBezTo>
                <a:cubicBezTo>
                  <a:pt x="1" y="0"/>
                  <a:pt x="2" y="0"/>
                  <a:pt x="0" y="0"/>
                </a:cubicBezTo>
                <a:cubicBezTo>
                  <a:pt x="1" y="1"/>
                  <a:pt x="1" y="1"/>
                  <a:pt x="2" y="1"/>
                </a:cubicBezTo>
                <a:cubicBezTo>
                  <a:pt x="4" y="2"/>
                  <a:pt x="2" y="2"/>
                  <a:pt x="3" y="3"/>
                </a:cubicBezTo>
                <a:cubicBezTo>
                  <a:pt x="3" y="3"/>
                  <a:pt x="3" y="3"/>
                  <a:pt x="3" y="3"/>
                </a:cubicBezTo>
                <a:cubicBezTo>
                  <a:pt x="4"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5"/>
          <p:cNvSpPr>
            <a:spLocks/>
          </p:cNvSpPr>
          <p:nvPr/>
        </p:nvSpPr>
        <p:spPr bwMode="auto">
          <a:xfrm>
            <a:off x="2355260" y="3160979"/>
            <a:ext cx="128695" cy="89371"/>
          </a:xfrm>
          <a:custGeom>
            <a:avLst/>
            <a:gdLst>
              <a:gd name="T0" fmla="*/ 25 w 27"/>
              <a:gd name="T1" fmla="*/ 11 h 19"/>
              <a:gd name="T2" fmla="*/ 24 w 27"/>
              <a:gd name="T3" fmla="*/ 9 h 19"/>
              <a:gd name="T4" fmla="*/ 23 w 27"/>
              <a:gd name="T5" fmla="*/ 8 h 19"/>
              <a:gd name="T6" fmla="*/ 22 w 27"/>
              <a:gd name="T7" fmla="*/ 7 h 19"/>
              <a:gd name="T8" fmla="*/ 20 w 27"/>
              <a:gd name="T9" fmla="*/ 6 h 19"/>
              <a:gd name="T10" fmla="*/ 20 w 27"/>
              <a:gd name="T11" fmla="*/ 5 h 19"/>
              <a:gd name="T12" fmla="*/ 19 w 27"/>
              <a:gd name="T13" fmla="*/ 5 h 19"/>
              <a:gd name="T14" fmla="*/ 19 w 27"/>
              <a:gd name="T15" fmla="*/ 4 h 19"/>
              <a:gd name="T16" fmla="*/ 19 w 27"/>
              <a:gd name="T17" fmla="*/ 2 h 19"/>
              <a:gd name="T18" fmla="*/ 17 w 27"/>
              <a:gd name="T19" fmla="*/ 0 h 19"/>
              <a:gd name="T20" fmla="*/ 17 w 27"/>
              <a:gd name="T21" fmla="*/ 0 h 19"/>
              <a:gd name="T22" fmla="*/ 15 w 27"/>
              <a:gd name="T23" fmla="*/ 1 h 19"/>
              <a:gd name="T24" fmla="*/ 15 w 27"/>
              <a:gd name="T25" fmla="*/ 2 h 19"/>
              <a:gd name="T26" fmla="*/ 13 w 27"/>
              <a:gd name="T27" fmla="*/ 4 h 19"/>
              <a:gd name="T28" fmla="*/ 9 w 27"/>
              <a:gd name="T29" fmla="*/ 5 h 19"/>
              <a:gd name="T30" fmla="*/ 9 w 27"/>
              <a:gd name="T31" fmla="*/ 6 h 19"/>
              <a:gd name="T32" fmla="*/ 7 w 27"/>
              <a:gd name="T33" fmla="*/ 7 h 19"/>
              <a:gd name="T34" fmla="*/ 5 w 27"/>
              <a:gd name="T35" fmla="*/ 8 h 19"/>
              <a:gd name="T36" fmla="*/ 4 w 27"/>
              <a:gd name="T37" fmla="*/ 8 h 19"/>
              <a:gd name="T38" fmla="*/ 2 w 27"/>
              <a:gd name="T39" fmla="*/ 8 h 19"/>
              <a:gd name="T40" fmla="*/ 2 w 27"/>
              <a:gd name="T41" fmla="*/ 8 h 19"/>
              <a:gd name="T42" fmla="*/ 1 w 27"/>
              <a:gd name="T43" fmla="*/ 9 h 19"/>
              <a:gd name="T44" fmla="*/ 0 w 27"/>
              <a:gd name="T45" fmla="*/ 12 h 19"/>
              <a:gd name="T46" fmla="*/ 0 w 27"/>
              <a:gd name="T47" fmla="*/ 13 h 19"/>
              <a:gd name="T48" fmla="*/ 1 w 27"/>
              <a:gd name="T49" fmla="*/ 15 h 19"/>
              <a:gd name="T50" fmla="*/ 1 w 27"/>
              <a:gd name="T51" fmla="*/ 17 h 19"/>
              <a:gd name="T52" fmla="*/ 2 w 27"/>
              <a:gd name="T53" fmla="*/ 17 h 19"/>
              <a:gd name="T54" fmla="*/ 3 w 27"/>
              <a:gd name="T55" fmla="*/ 19 h 19"/>
              <a:gd name="T56" fmla="*/ 3 w 27"/>
              <a:gd name="T57" fmla="*/ 19 h 19"/>
              <a:gd name="T58" fmla="*/ 4 w 27"/>
              <a:gd name="T59" fmla="*/ 19 h 19"/>
              <a:gd name="T60" fmla="*/ 4 w 27"/>
              <a:gd name="T61" fmla="*/ 17 h 19"/>
              <a:gd name="T62" fmla="*/ 5 w 27"/>
              <a:gd name="T63" fmla="*/ 17 h 19"/>
              <a:gd name="T64" fmla="*/ 6 w 27"/>
              <a:gd name="T65" fmla="*/ 17 h 19"/>
              <a:gd name="T66" fmla="*/ 8 w 27"/>
              <a:gd name="T67" fmla="*/ 17 h 19"/>
              <a:gd name="T68" fmla="*/ 8 w 27"/>
              <a:gd name="T69" fmla="*/ 15 h 19"/>
              <a:gd name="T70" fmla="*/ 10 w 27"/>
              <a:gd name="T71" fmla="*/ 14 h 19"/>
              <a:gd name="T72" fmla="*/ 12 w 27"/>
              <a:gd name="T73" fmla="*/ 15 h 19"/>
              <a:gd name="T74" fmla="*/ 16 w 27"/>
              <a:gd name="T75" fmla="*/ 16 h 19"/>
              <a:gd name="T76" fmla="*/ 17 w 27"/>
              <a:gd name="T77" fmla="*/ 14 h 19"/>
              <a:gd name="T78" fmla="*/ 19 w 27"/>
              <a:gd name="T79" fmla="*/ 14 h 19"/>
              <a:gd name="T80" fmla="*/ 21 w 27"/>
              <a:gd name="T81" fmla="*/ 14 h 19"/>
              <a:gd name="T82" fmla="*/ 23 w 27"/>
              <a:gd name="T83" fmla="*/ 13 h 19"/>
              <a:gd name="T84" fmla="*/ 25 w 27"/>
              <a:gd name="T85" fmla="*/ 14 h 19"/>
              <a:gd name="T86" fmla="*/ 27 w 27"/>
              <a:gd name="T87" fmla="*/ 13 h 19"/>
              <a:gd name="T88" fmla="*/ 26 w 27"/>
              <a:gd name="T89" fmla="*/ 12 h 19"/>
              <a:gd name="T90" fmla="*/ 25 w 27"/>
              <a:gd name="T9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19">
                <a:moveTo>
                  <a:pt x="25" y="11"/>
                </a:moveTo>
                <a:cubicBezTo>
                  <a:pt x="25" y="10"/>
                  <a:pt x="25" y="10"/>
                  <a:pt x="24" y="9"/>
                </a:cubicBezTo>
                <a:cubicBezTo>
                  <a:pt x="23" y="9"/>
                  <a:pt x="23" y="9"/>
                  <a:pt x="23" y="8"/>
                </a:cubicBezTo>
                <a:cubicBezTo>
                  <a:pt x="23" y="8"/>
                  <a:pt x="23" y="8"/>
                  <a:pt x="22" y="7"/>
                </a:cubicBezTo>
                <a:cubicBezTo>
                  <a:pt x="21" y="6"/>
                  <a:pt x="20" y="6"/>
                  <a:pt x="20" y="6"/>
                </a:cubicBezTo>
                <a:cubicBezTo>
                  <a:pt x="20" y="5"/>
                  <a:pt x="20" y="5"/>
                  <a:pt x="20" y="5"/>
                </a:cubicBezTo>
                <a:cubicBezTo>
                  <a:pt x="19" y="5"/>
                  <a:pt x="19" y="5"/>
                  <a:pt x="19" y="5"/>
                </a:cubicBezTo>
                <a:cubicBezTo>
                  <a:pt x="19" y="5"/>
                  <a:pt x="18" y="5"/>
                  <a:pt x="19" y="4"/>
                </a:cubicBezTo>
                <a:cubicBezTo>
                  <a:pt x="20" y="4"/>
                  <a:pt x="19" y="3"/>
                  <a:pt x="19" y="2"/>
                </a:cubicBezTo>
                <a:cubicBezTo>
                  <a:pt x="19" y="2"/>
                  <a:pt x="18" y="1"/>
                  <a:pt x="17" y="0"/>
                </a:cubicBezTo>
                <a:cubicBezTo>
                  <a:pt x="17" y="0"/>
                  <a:pt x="17" y="0"/>
                  <a:pt x="17" y="0"/>
                </a:cubicBezTo>
                <a:cubicBezTo>
                  <a:pt x="17" y="0"/>
                  <a:pt x="16" y="0"/>
                  <a:pt x="15" y="1"/>
                </a:cubicBezTo>
                <a:cubicBezTo>
                  <a:pt x="15" y="1"/>
                  <a:pt x="15" y="2"/>
                  <a:pt x="15" y="2"/>
                </a:cubicBezTo>
                <a:cubicBezTo>
                  <a:pt x="14" y="2"/>
                  <a:pt x="13" y="3"/>
                  <a:pt x="13" y="4"/>
                </a:cubicBezTo>
                <a:cubicBezTo>
                  <a:pt x="12" y="5"/>
                  <a:pt x="10" y="5"/>
                  <a:pt x="9" y="5"/>
                </a:cubicBezTo>
                <a:cubicBezTo>
                  <a:pt x="9" y="5"/>
                  <a:pt x="10" y="6"/>
                  <a:pt x="9" y="6"/>
                </a:cubicBezTo>
                <a:cubicBezTo>
                  <a:pt x="9" y="6"/>
                  <a:pt x="8" y="7"/>
                  <a:pt x="7" y="7"/>
                </a:cubicBezTo>
                <a:cubicBezTo>
                  <a:pt x="7" y="7"/>
                  <a:pt x="5" y="7"/>
                  <a:pt x="5" y="8"/>
                </a:cubicBezTo>
                <a:cubicBezTo>
                  <a:pt x="4" y="8"/>
                  <a:pt x="4" y="7"/>
                  <a:pt x="4" y="8"/>
                </a:cubicBezTo>
                <a:cubicBezTo>
                  <a:pt x="3" y="8"/>
                  <a:pt x="3" y="9"/>
                  <a:pt x="2" y="8"/>
                </a:cubicBezTo>
                <a:cubicBezTo>
                  <a:pt x="2" y="8"/>
                  <a:pt x="2" y="8"/>
                  <a:pt x="2" y="8"/>
                </a:cubicBezTo>
                <a:cubicBezTo>
                  <a:pt x="2" y="8"/>
                  <a:pt x="1" y="9"/>
                  <a:pt x="1" y="9"/>
                </a:cubicBezTo>
                <a:cubicBezTo>
                  <a:pt x="1" y="10"/>
                  <a:pt x="0" y="11"/>
                  <a:pt x="0" y="12"/>
                </a:cubicBezTo>
                <a:cubicBezTo>
                  <a:pt x="0" y="12"/>
                  <a:pt x="0" y="13"/>
                  <a:pt x="0" y="13"/>
                </a:cubicBezTo>
                <a:cubicBezTo>
                  <a:pt x="0" y="14"/>
                  <a:pt x="0" y="15"/>
                  <a:pt x="1" y="15"/>
                </a:cubicBezTo>
                <a:cubicBezTo>
                  <a:pt x="1" y="16"/>
                  <a:pt x="1" y="17"/>
                  <a:pt x="1" y="17"/>
                </a:cubicBezTo>
                <a:cubicBezTo>
                  <a:pt x="1" y="17"/>
                  <a:pt x="1" y="17"/>
                  <a:pt x="2" y="17"/>
                </a:cubicBezTo>
                <a:cubicBezTo>
                  <a:pt x="2" y="18"/>
                  <a:pt x="3" y="18"/>
                  <a:pt x="3" y="19"/>
                </a:cubicBezTo>
                <a:cubicBezTo>
                  <a:pt x="3" y="19"/>
                  <a:pt x="3" y="19"/>
                  <a:pt x="3" y="19"/>
                </a:cubicBezTo>
                <a:cubicBezTo>
                  <a:pt x="4" y="19"/>
                  <a:pt x="4" y="19"/>
                  <a:pt x="4" y="19"/>
                </a:cubicBezTo>
                <a:cubicBezTo>
                  <a:pt x="4" y="18"/>
                  <a:pt x="4" y="17"/>
                  <a:pt x="4" y="17"/>
                </a:cubicBezTo>
                <a:cubicBezTo>
                  <a:pt x="5" y="17"/>
                  <a:pt x="5" y="17"/>
                  <a:pt x="5" y="17"/>
                </a:cubicBezTo>
                <a:cubicBezTo>
                  <a:pt x="6" y="17"/>
                  <a:pt x="6" y="17"/>
                  <a:pt x="6" y="17"/>
                </a:cubicBezTo>
                <a:cubicBezTo>
                  <a:pt x="8" y="17"/>
                  <a:pt x="8" y="17"/>
                  <a:pt x="8" y="17"/>
                </a:cubicBezTo>
                <a:cubicBezTo>
                  <a:pt x="8" y="15"/>
                  <a:pt x="8" y="15"/>
                  <a:pt x="8" y="15"/>
                </a:cubicBezTo>
                <a:cubicBezTo>
                  <a:pt x="8" y="15"/>
                  <a:pt x="9" y="14"/>
                  <a:pt x="10" y="14"/>
                </a:cubicBezTo>
                <a:cubicBezTo>
                  <a:pt x="11" y="14"/>
                  <a:pt x="12" y="15"/>
                  <a:pt x="12" y="15"/>
                </a:cubicBezTo>
                <a:cubicBezTo>
                  <a:pt x="16" y="16"/>
                  <a:pt x="16" y="16"/>
                  <a:pt x="16" y="16"/>
                </a:cubicBezTo>
                <a:cubicBezTo>
                  <a:pt x="16" y="16"/>
                  <a:pt x="17" y="15"/>
                  <a:pt x="17" y="14"/>
                </a:cubicBezTo>
                <a:cubicBezTo>
                  <a:pt x="17" y="14"/>
                  <a:pt x="18" y="15"/>
                  <a:pt x="19" y="14"/>
                </a:cubicBezTo>
                <a:cubicBezTo>
                  <a:pt x="19" y="14"/>
                  <a:pt x="20" y="14"/>
                  <a:pt x="21" y="14"/>
                </a:cubicBezTo>
                <a:cubicBezTo>
                  <a:pt x="22" y="14"/>
                  <a:pt x="23" y="14"/>
                  <a:pt x="23" y="13"/>
                </a:cubicBezTo>
                <a:cubicBezTo>
                  <a:pt x="23" y="12"/>
                  <a:pt x="25" y="14"/>
                  <a:pt x="25" y="14"/>
                </a:cubicBezTo>
                <a:cubicBezTo>
                  <a:pt x="27" y="13"/>
                  <a:pt x="27" y="13"/>
                  <a:pt x="27" y="13"/>
                </a:cubicBezTo>
                <a:cubicBezTo>
                  <a:pt x="26" y="12"/>
                  <a:pt x="26" y="12"/>
                  <a:pt x="26" y="12"/>
                </a:cubicBezTo>
                <a:cubicBezTo>
                  <a:pt x="26" y="12"/>
                  <a:pt x="25" y="11"/>
                  <a:pt x="25"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6"/>
          <p:cNvSpPr>
            <a:spLocks/>
          </p:cNvSpPr>
          <p:nvPr/>
        </p:nvSpPr>
        <p:spPr bwMode="auto">
          <a:xfrm>
            <a:off x="2230140" y="3132381"/>
            <a:ext cx="125120" cy="100096"/>
          </a:xfrm>
          <a:custGeom>
            <a:avLst/>
            <a:gdLst>
              <a:gd name="T0" fmla="*/ 16 w 26"/>
              <a:gd name="T1" fmla="*/ 16 h 21"/>
              <a:gd name="T2" fmla="*/ 18 w 26"/>
              <a:gd name="T3" fmla="*/ 15 h 21"/>
              <a:gd name="T4" fmla="*/ 19 w 26"/>
              <a:gd name="T5" fmla="*/ 17 h 21"/>
              <a:gd name="T6" fmla="*/ 20 w 26"/>
              <a:gd name="T7" fmla="*/ 16 h 21"/>
              <a:gd name="T8" fmla="*/ 22 w 26"/>
              <a:gd name="T9" fmla="*/ 12 h 21"/>
              <a:gd name="T10" fmla="*/ 23 w 26"/>
              <a:gd name="T11" fmla="*/ 11 h 21"/>
              <a:gd name="T12" fmla="*/ 23 w 26"/>
              <a:gd name="T13" fmla="*/ 10 h 21"/>
              <a:gd name="T14" fmla="*/ 24 w 26"/>
              <a:gd name="T15" fmla="*/ 8 h 21"/>
              <a:gd name="T16" fmla="*/ 25 w 26"/>
              <a:gd name="T17" fmla="*/ 6 h 21"/>
              <a:gd name="T18" fmla="*/ 26 w 26"/>
              <a:gd name="T19" fmla="*/ 5 h 21"/>
              <a:gd name="T20" fmla="*/ 26 w 26"/>
              <a:gd name="T21" fmla="*/ 4 h 21"/>
              <a:gd name="T22" fmla="*/ 25 w 26"/>
              <a:gd name="T23" fmla="*/ 3 h 21"/>
              <a:gd name="T24" fmla="*/ 25 w 26"/>
              <a:gd name="T25" fmla="*/ 2 h 21"/>
              <a:gd name="T26" fmla="*/ 24 w 26"/>
              <a:gd name="T27" fmla="*/ 1 h 21"/>
              <a:gd name="T28" fmla="*/ 24 w 26"/>
              <a:gd name="T29" fmla="*/ 0 h 21"/>
              <a:gd name="T30" fmla="*/ 22 w 26"/>
              <a:gd name="T31" fmla="*/ 2 h 21"/>
              <a:gd name="T32" fmla="*/ 20 w 26"/>
              <a:gd name="T33" fmla="*/ 1 h 21"/>
              <a:gd name="T34" fmla="*/ 17 w 26"/>
              <a:gd name="T35" fmla="*/ 1 h 21"/>
              <a:gd name="T36" fmla="*/ 16 w 26"/>
              <a:gd name="T37" fmla="*/ 2 h 21"/>
              <a:gd name="T38" fmla="*/ 14 w 26"/>
              <a:gd name="T39" fmla="*/ 2 h 21"/>
              <a:gd name="T40" fmla="*/ 12 w 26"/>
              <a:gd name="T41" fmla="*/ 1 h 21"/>
              <a:gd name="T42" fmla="*/ 10 w 26"/>
              <a:gd name="T43" fmla="*/ 2 h 21"/>
              <a:gd name="T44" fmla="*/ 9 w 26"/>
              <a:gd name="T45" fmla="*/ 1 h 21"/>
              <a:gd name="T46" fmla="*/ 7 w 26"/>
              <a:gd name="T47" fmla="*/ 0 h 21"/>
              <a:gd name="T48" fmla="*/ 6 w 26"/>
              <a:gd name="T49" fmla="*/ 1 h 21"/>
              <a:gd name="T50" fmla="*/ 4 w 26"/>
              <a:gd name="T51" fmla="*/ 1 h 21"/>
              <a:gd name="T52" fmla="*/ 3 w 26"/>
              <a:gd name="T53" fmla="*/ 2 h 21"/>
              <a:gd name="T54" fmla="*/ 2 w 26"/>
              <a:gd name="T55" fmla="*/ 4 h 21"/>
              <a:gd name="T56" fmla="*/ 2 w 26"/>
              <a:gd name="T57" fmla="*/ 4 h 21"/>
              <a:gd name="T58" fmla="*/ 2 w 26"/>
              <a:gd name="T59" fmla="*/ 6 h 21"/>
              <a:gd name="T60" fmla="*/ 2 w 26"/>
              <a:gd name="T61" fmla="*/ 9 h 21"/>
              <a:gd name="T62" fmla="*/ 1 w 26"/>
              <a:gd name="T63" fmla="*/ 10 h 21"/>
              <a:gd name="T64" fmla="*/ 0 w 26"/>
              <a:gd name="T65" fmla="*/ 12 h 21"/>
              <a:gd name="T66" fmla="*/ 0 w 26"/>
              <a:gd name="T67" fmla="*/ 14 h 21"/>
              <a:gd name="T68" fmla="*/ 1 w 26"/>
              <a:gd name="T69" fmla="*/ 16 h 21"/>
              <a:gd name="T70" fmla="*/ 1 w 26"/>
              <a:gd name="T71" fmla="*/ 16 h 21"/>
              <a:gd name="T72" fmla="*/ 4 w 26"/>
              <a:gd name="T73" fmla="*/ 17 h 21"/>
              <a:gd name="T74" fmla="*/ 6 w 26"/>
              <a:gd name="T75" fmla="*/ 19 h 21"/>
              <a:gd name="T76" fmla="*/ 8 w 26"/>
              <a:gd name="T77" fmla="*/ 21 h 21"/>
              <a:gd name="T78" fmla="*/ 10 w 26"/>
              <a:gd name="T79" fmla="*/ 21 h 21"/>
              <a:gd name="T80" fmla="*/ 13 w 26"/>
              <a:gd name="T81" fmla="*/ 20 h 21"/>
              <a:gd name="T82" fmla="*/ 13 w 26"/>
              <a:gd name="T83" fmla="*/ 20 h 21"/>
              <a:gd name="T84" fmla="*/ 14 w 26"/>
              <a:gd name="T85" fmla="*/ 18 h 21"/>
              <a:gd name="T86" fmla="*/ 16 w 26"/>
              <a:gd name="T8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1">
                <a:moveTo>
                  <a:pt x="16" y="16"/>
                </a:moveTo>
                <a:cubicBezTo>
                  <a:pt x="17" y="16"/>
                  <a:pt x="17" y="16"/>
                  <a:pt x="18" y="15"/>
                </a:cubicBezTo>
                <a:cubicBezTo>
                  <a:pt x="18" y="15"/>
                  <a:pt x="19" y="16"/>
                  <a:pt x="19" y="17"/>
                </a:cubicBezTo>
                <a:cubicBezTo>
                  <a:pt x="19" y="17"/>
                  <a:pt x="20" y="16"/>
                  <a:pt x="20" y="16"/>
                </a:cubicBezTo>
                <a:cubicBezTo>
                  <a:pt x="20" y="15"/>
                  <a:pt x="22" y="13"/>
                  <a:pt x="22" y="12"/>
                </a:cubicBezTo>
                <a:cubicBezTo>
                  <a:pt x="22" y="12"/>
                  <a:pt x="23" y="11"/>
                  <a:pt x="23" y="11"/>
                </a:cubicBezTo>
                <a:cubicBezTo>
                  <a:pt x="23" y="11"/>
                  <a:pt x="23" y="10"/>
                  <a:pt x="23" y="10"/>
                </a:cubicBezTo>
                <a:cubicBezTo>
                  <a:pt x="23" y="10"/>
                  <a:pt x="24" y="9"/>
                  <a:pt x="24" y="8"/>
                </a:cubicBezTo>
                <a:cubicBezTo>
                  <a:pt x="23" y="8"/>
                  <a:pt x="25" y="6"/>
                  <a:pt x="25" y="6"/>
                </a:cubicBezTo>
                <a:cubicBezTo>
                  <a:pt x="25" y="6"/>
                  <a:pt x="26" y="6"/>
                  <a:pt x="26" y="5"/>
                </a:cubicBezTo>
                <a:cubicBezTo>
                  <a:pt x="26" y="4"/>
                  <a:pt x="26" y="4"/>
                  <a:pt x="26" y="4"/>
                </a:cubicBezTo>
                <a:cubicBezTo>
                  <a:pt x="26" y="4"/>
                  <a:pt x="25" y="3"/>
                  <a:pt x="25" y="3"/>
                </a:cubicBezTo>
                <a:cubicBezTo>
                  <a:pt x="25" y="3"/>
                  <a:pt x="25" y="2"/>
                  <a:pt x="25" y="2"/>
                </a:cubicBezTo>
                <a:cubicBezTo>
                  <a:pt x="25" y="2"/>
                  <a:pt x="25" y="1"/>
                  <a:pt x="24" y="1"/>
                </a:cubicBezTo>
                <a:cubicBezTo>
                  <a:pt x="24" y="0"/>
                  <a:pt x="24" y="0"/>
                  <a:pt x="24" y="0"/>
                </a:cubicBezTo>
                <a:cubicBezTo>
                  <a:pt x="23" y="0"/>
                  <a:pt x="23" y="1"/>
                  <a:pt x="22" y="2"/>
                </a:cubicBezTo>
                <a:cubicBezTo>
                  <a:pt x="21" y="2"/>
                  <a:pt x="21" y="1"/>
                  <a:pt x="20" y="1"/>
                </a:cubicBezTo>
                <a:cubicBezTo>
                  <a:pt x="20" y="1"/>
                  <a:pt x="18" y="1"/>
                  <a:pt x="17" y="1"/>
                </a:cubicBezTo>
                <a:cubicBezTo>
                  <a:pt x="17" y="1"/>
                  <a:pt x="16" y="2"/>
                  <a:pt x="16" y="2"/>
                </a:cubicBezTo>
                <a:cubicBezTo>
                  <a:pt x="15" y="2"/>
                  <a:pt x="14" y="2"/>
                  <a:pt x="14" y="2"/>
                </a:cubicBezTo>
                <a:cubicBezTo>
                  <a:pt x="13" y="2"/>
                  <a:pt x="12" y="1"/>
                  <a:pt x="12" y="1"/>
                </a:cubicBezTo>
                <a:cubicBezTo>
                  <a:pt x="11" y="1"/>
                  <a:pt x="11" y="1"/>
                  <a:pt x="10" y="2"/>
                </a:cubicBezTo>
                <a:cubicBezTo>
                  <a:pt x="9" y="2"/>
                  <a:pt x="9" y="1"/>
                  <a:pt x="9" y="1"/>
                </a:cubicBezTo>
                <a:cubicBezTo>
                  <a:pt x="8" y="0"/>
                  <a:pt x="8" y="1"/>
                  <a:pt x="7" y="0"/>
                </a:cubicBezTo>
                <a:cubicBezTo>
                  <a:pt x="7" y="0"/>
                  <a:pt x="6" y="1"/>
                  <a:pt x="6" y="1"/>
                </a:cubicBezTo>
                <a:cubicBezTo>
                  <a:pt x="5" y="1"/>
                  <a:pt x="4" y="0"/>
                  <a:pt x="4" y="1"/>
                </a:cubicBezTo>
                <a:cubicBezTo>
                  <a:pt x="3" y="1"/>
                  <a:pt x="3" y="2"/>
                  <a:pt x="3" y="2"/>
                </a:cubicBezTo>
                <a:cubicBezTo>
                  <a:pt x="3" y="3"/>
                  <a:pt x="2" y="3"/>
                  <a:pt x="2" y="4"/>
                </a:cubicBezTo>
                <a:cubicBezTo>
                  <a:pt x="2" y="4"/>
                  <a:pt x="2" y="4"/>
                  <a:pt x="2" y="4"/>
                </a:cubicBezTo>
                <a:cubicBezTo>
                  <a:pt x="2" y="5"/>
                  <a:pt x="2" y="6"/>
                  <a:pt x="2" y="6"/>
                </a:cubicBezTo>
                <a:cubicBezTo>
                  <a:pt x="2" y="6"/>
                  <a:pt x="2" y="8"/>
                  <a:pt x="2" y="9"/>
                </a:cubicBezTo>
                <a:cubicBezTo>
                  <a:pt x="1" y="9"/>
                  <a:pt x="1" y="10"/>
                  <a:pt x="1" y="10"/>
                </a:cubicBezTo>
                <a:cubicBezTo>
                  <a:pt x="1" y="10"/>
                  <a:pt x="0" y="11"/>
                  <a:pt x="0" y="12"/>
                </a:cubicBezTo>
                <a:cubicBezTo>
                  <a:pt x="0" y="13"/>
                  <a:pt x="0" y="14"/>
                  <a:pt x="0" y="14"/>
                </a:cubicBezTo>
                <a:cubicBezTo>
                  <a:pt x="0" y="15"/>
                  <a:pt x="1" y="15"/>
                  <a:pt x="1" y="16"/>
                </a:cubicBezTo>
                <a:cubicBezTo>
                  <a:pt x="1" y="16"/>
                  <a:pt x="1" y="16"/>
                  <a:pt x="1" y="16"/>
                </a:cubicBezTo>
                <a:cubicBezTo>
                  <a:pt x="1" y="17"/>
                  <a:pt x="3" y="17"/>
                  <a:pt x="4" y="17"/>
                </a:cubicBezTo>
                <a:cubicBezTo>
                  <a:pt x="5" y="17"/>
                  <a:pt x="6" y="19"/>
                  <a:pt x="6" y="19"/>
                </a:cubicBezTo>
                <a:cubicBezTo>
                  <a:pt x="6" y="20"/>
                  <a:pt x="7" y="21"/>
                  <a:pt x="8" y="21"/>
                </a:cubicBezTo>
                <a:cubicBezTo>
                  <a:pt x="8" y="21"/>
                  <a:pt x="9" y="21"/>
                  <a:pt x="10" y="21"/>
                </a:cubicBezTo>
                <a:cubicBezTo>
                  <a:pt x="10" y="21"/>
                  <a:pt x="12" y="21"/>
                  <a:pt x="13" y="20"/>
                </a:cubicBezTo>
                <a:cubicBezTo>
                  <a:pt x="13" y="20"/>
                  <a:pt x="13" y="20"/>
                  <a:pt x="13" y="20"/>
                </a:cubicBezTo>
                <a:cubicBezTo>
                  <a:pt x="14" y="19"/>
                  <a:pt x="14" y="18"/>
                  <a:pt x="14" y="18"/>
                </a:cubicBezTo>
                <a:cubicBezTo>
                  <a:pt x="14" y="18"/>
                  <a:pt x="16" y="16"/>
                  <a:pt x="16"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7"/>
          <p:cNvSpPr>
            <a:spLocks/>
          </p:cNvSpPr>
          <p:nvPr/>
        </p:nvSpPr>
        <p:spPr bwMode="auto">
          <a:xfrm>
            <a:off x="2208691" y="3146680"/>
            <a:ext cx="32174" cy="64347"/>
          </a:xfrm>
          <a:custGeom>
            <a:avLst/>
            <a:gdLst>
              <a:gd name="T0" fmla="*/ 4 w 6"/>
              <a:gd name="T1" fmla="*/ 9 h 14"/>
              <a:gd name="T2" fmla="*/ 5 w 6"/>
              <a:gd name="T3" fmla="*/ 7 h 14"/>
              <a:gd name="T4" fmla="*/ 6 w 6"/>
              <a:gd name="T5" fmla="*/ 6 h 14"/>
              <a:gd name="T6" fmla="*/ 6 w 6"/>
              <a:gd name="T7" fmla="*/ 3 h 14"/>
              <a:gd name="T8" fmla="*/ 6 w 6"/>
              <a:gd name="T9" fmla="*/ 1 h 14"/>
              <a:gd name="T10" fmla="*/ 5 w 6"/>
              <a:gd name="T11" fmla="*/ 1 h 14"/>
              <a:gd name="T12" fmla="*/ 5 w 6"/>
              <a:gd name="T13" fmla="*/ 0 h 14"/>
              <a:gd name="T14" fmla="*/ 4 w 6"/>
              <a:gd name="T15" fmla="*/ 1 h 14"/>
              <a:gd name="T16" fmla="*/ 3 w 6"/>
              <a:gd name="T17" fmla="*/ 2 h 14"/>
              <a:gd name="T18" fmla="*/ 1 w 6"/>
              <a:gd name="T19" fmla="*/ 3 h 14"/>
              <a:gd name="T20" fmla="*/ 0 w 6"/>
              <a:gd name="T21" fmla="*/ 3 h 14"/>
              <a:gd name="T22" fmla="*/ 0 w 6"/>
              <a:gd name="T23" fmla="*/ 3 h 14"/>
              <a:gd name="T24" fmla="*/ 1 w 6"/>
              <a:gd name="T25" fmla="*/ 5 h 14"/>
              <a:gd name="T26" fmla="*/ 1 w 6"/>
              <a:gd name="T27" fmla="*/ 7 h 14"/>
              <a:gd name="T28" fmla="*/ 2 w 6"/>
              <a:gd name="T29" fmla="*/ 10 h 14"/>
              <a:gd name="T30" fmla="*/ 2 w 6"/>
              <a:gd name="T31" fmla="*/ 14 h 14"/>
              <a:gd name="T32" fmla="*/ 3 w 6"/>
              <a:gd name="T33" fmla="*/ 14 h 14"/>
              <a:gd name="T34" fmla="*/ 5 w 6"/>
              <a:gd name="T35" fmla="*/ 13 h 14"/>
              <a:gd name="T36" fmla="*/ 4 w 6"/>
              <a:gd name="T37" fmla="*/ 11 h 14"/>
              <a:gd name="T38" fmla="*/ 4 w 6"/>
              <a:gd name="T3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14">
                <a:moveTo>
                  <a:pt x="4" y="9"/>
                </a:moveTo>
                <a:cubicBezTo>
                  <a:pt x="4" y="8"/>
                  <a:pt x="5" y="7"/>
                  <a:pt x="5" y="7"/>
                </a:cubicBezTo>
                <a:cubicBezTo>
                  <a:pt x="5" y="7"/>
                  <a:pt x="5" y="6"/>
                  <a:pt x="6" y="6"/>
                </a:cubicBezTo>
                <a:cubicBezTo>
                  <a:pt x="6" y="5"/>
                  <a:pt x="6" y="3"/>
                  <a:pt x="6" y="3"/>
                </a:cubicBezTo>
                <a:cubicBezTo>
                  <a:pt x="6" y="3"/>
                  <a:pt x="6" y="2"/>
                  <a:pt x="6" y="1"/>
                </a:cubicBezTo>
                <a:cubicBezTo>
                  <a:pt x="6" y="1"/>
                  <a:pt x="6" y="1"/>
                  <a:pt x="5" y="1"/>
                </a:cubicBezTo>
                <a:cubicBezTo>
                  <a:pt x="5" y="1"/>
                  <a:pt x="5" y="0"/>
                  <a:pt x="5" y="0"/>
                </a:cubicBezTo>
                <a:cubicBezTo>
                  <a:pt x="4" y="0"/>
                  <a:pt x="4" y="1"/>
                  <a:pt x="4" y="1"/>
                </a:cubicBezTo>
                <a:cubicBezTo>
                  <a:pt x="4" y="2"/>
                  <a:pt x="3" y="2"/>
                  <a:pt x="3" y="2"/>
                </a:cubicBezTo>
                <a:cubicBezTo>
                  <a:pt x="3" y="2"/>
                  <a:pt x="2" y="3"/>
                  <a:pt x="1" y="3"/>
                </a:cubicBezTo>
                <a:cubicBezTo>
                  <a:pt x="1" y="3"/>
                  <a:pt x="1" y="3"/>
                  <a:pt x="0" y="3"/>
                </a:cubicBezTo>
                <a:cubicBezTo>
                  <a:pt x="0" y="3"/>
                  <a:pt x="0" y="3"/>
                  <a:pt x="0" y="3"/>
                </a:cubicBezTo>
                <a:cubicBezTo>
                  <a:pt x="0" y="5"/>
                  <a:pt x="0" y="5"/>
                  <a:pt x="1" y="5"/>
                </a:cubicBezTo>
                <a:cubicBezTo>
                  <a:pt x="2" y="6"/>
                  <a:pt x="1" y="7"/>
                  <a:pt x="1" y="7"/>
                </a:cubicBezTo>
                <a:cubicBezTo>
                  <a:pt x="2" y="8"/>
                  <a:pt x="2" y="9"/>
                  <a:pt x="2" y="10"/>
                </a:cubicBezTo>
                <a:cubicBezTo>
                  <a:pt x="2" y="10"/>
                  <a:pt x="2" y="12"/>
                  <a:pt x="2" y="14"/>
                </a:cubicBezTo>
                <a:cubicBezTo>
                  <a:pt x="2" y="14"/>
                  <a:pt x="3" y="14"/>
                  <a:pt x="3" y="14"/>
                </a:cubicBezTo>
                <a:cubicBezTo>
                  <a:pt x="4" y="14"/>
                  <a:pt x="5" y="13"/>
                  <a:pt x="5" y="13"/>
                </a:cubicBezTo>
                <a:cubicBezTo>
                  <a:pt x="5" y="12"/>
                  <a:pt x="4" y="12"/>
                  <a:pt x="4" y="11"/>
                </a:cubicBezTo>
                <a:cubicBezTo>
                  <a:pt x="4" y="11"/>
                  <a:pt x="4" y="10"/>
                  <a:pt x="4"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8"/>
          <p:cNvSpPr>
            <a:spLocks/>
          </p:cNvSpPr>
          <p:nvPr/>
        </p:nvSpPr>
        <p:spPr bwMode="auto">
          <a:xfrm>
            <a:off x="2201541" y="3160979"/>
            <a:ext cx="17874" cy="57198"/>
          </a:xfrm>
          <a:custGeom>
            <a:avLst/>
            <a:gdLst>
              <a:gd name="T0" fmla="*/ 3 w 4"/>
              <a:gd name="T1" fmla="*/ 4 h 12"/>
              <a:gd name="T2" fmla="*/ 3 w 4"/>
              <a:gd name="T3" fmla="*/ 2 h 12"/>
              <a:gd name="T4" fmla="*/ 2 w 4"/>
              <a:gd name="T5" fmla="*/ 0 h 12"/>
              <a:gd name="T6" fmla="*/ 0 w 4"/>
              <a:gd name="T7" fmla="*/ 0 h 12"/>
              <a:gd name="T8" fmla="*/ 0 w 4"/>
              <a:gd name="T9" fmla="*/ 0 h 12"/>
              <a:gd name="T10" fmla="*/ 0 w 4"/>
              <a:gd name="T11" fmla="*/ 2 h 12"/>
              <a:gd name="T12" fmla="*/ 1 w 4"/>
              <a:gd name="T13" fmla="*/ 3 h 12"/>
              <a:gd name="T14" fmla="*/ 1 w 4"/>
              <a:gd name="T15" fmla="*/ 6 h 12"/>
              <a:gd name="T16" fmla="*/ 1 w 4"/>
              <a:gd name="T17" fmla="*/ 9 h 12"/>
              <a:gd name="T18" fmla="*/ 2 w 4"/>
              <a:gd name="T19" fmla="*/ 12 h 12"/>
              <a:gd name="T20" fmla="*/ 3 w 4"/>
              <a:gd name="T21" fmla="*/ 11 h 12"/>
              <a:gd name="T22" fmla="*/ 4 w 4"/>
              <a:gd name="T23" fmla="*/ 11 h 12"/>
              <a:gd name="T24" fmla="*/ 4 w 4"/>
              <a:gd name="T25" fmla="*/ 7 h 12"/>
              <a:gd name="T26" fmla="*/ 3 w 4"/>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3" y="4"/>
                </a:moveTo>
                <a:cubicBezTo>
                  <a:pt x="3" y="4"/>
                  <a:pt x="4" y="3"/>
                  <a:pt x="3" y="2"/>
                </a:cubicBezTo>
                <a:cubicBezTo>
                  <a:pt x="2" y="2"/>
                  <a:pt x="2" y="2"/>
                  <a:pt x="2" y="0"/>
                </a:cubicBezTo>
                <a:cubicBezTo>
                  <a:pt x="1" y="0"/>
                  <a:pt x="1" y="0"/>
                  <a:pt x="0" y="0"/>
                </a:cubicBezTo>
                <a:cubicBezTo>
                  <a:pt x="0" y="0"/>
                  <a:pt x="0" y="0"/>
                  <a:pt x="0" y="0"/>
                </a:cubicBezTo>
                <a:cubicBezTo>
                  <a:pt x="0" y="1"/>
                  <a:pt x="0" y="2"/>
                  <a:pt x="0" y="2"/>
                </a:cubicBezTo>
                <a:cubicBezTo>
                  <a:pt x="1" y="2"/>
                  <a:pt x="1" y="2"/>
                  <a:pt x="1" y="3"/>
                </a:cubicBezTo>
                <a:cubicBezTo>
                  <a:pt x="1" y="4"/>
                  <a:pt x="1" y="5"/>
                  <a:pt x="1" y="6"/>
                </a:cubicBezTo>
                <a:cubicBezTo>
                  <a:pt x="1" y="7"/>
                  <a:pt x="1" y="8"/>
                  <a:pt x="1" y="9"/>
                </a:cubicBezTo>
                <a:cubicBezTo>
                  <a:pt x="1" y="10"/>
                  <a:pt x="2" y="11"/>
                  <a:pt x="2" y="12"/>
                </a:cubicBezTo>
                <a:cubicBezTo>
                  <a:pt x="2" y="12"/>
                  <a:pt x="3" y="11"/>
                  <a:pt x="3" y="11"/>
                </a:cubicBezTo>
                <a:cubicBezTo>
                  <a:pt x="3" y="11"/>
                  <a:pt x="3" y="11"/>
                  <a:pt x="4" y="11"/>
                </a:cubicBezTo>
                <a:cubicBezTo>
                  <a:pt x="4" y="9"/>
                  <a:pt x="4" y="7"/>
                  <a:pt x="4" y="7"/>
                </a:cubicBezTo>
                <a:cubicBezTo>
                  <a:pt x="4" y="6"/>
                  <a:pt x="4" y="5"/>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9"/>
          <p:cNvSpPr>
            <a:spLocks/>
          </p:cNvSpPr>
          <p:nvPr/>
        </p:nvSpPr>
        <p:spPr bwMode="auto">
          <a:xfrm>
            <a:off x="2290912" y="3139530"/>
            <a:ext cx="78647" cy="121545"/>
          </a:xfrm>
          <a:custGeom>
            <a:avLst/>
            <a:gdLst>
              <a:gd name="T0" fmla="*/ 7 w 16"/>
              <a:gd name="T1" fmla="*/ 24 h 25"/>
              <a:gd name="T2" fmla="*/ 13 w 16"/>
              <a:gd name="T3" fmla="*/ 24 h 25"/>
              <a:gd name="T4" fmla="*/ 16 w 16"/>
              <a:gd name="T5" fmla="*/ 25 h 25"/>
              <a:gd name="T6" fmla="*/ 16 w 16"/>
              <a:gd name="T7" fmla="*/ 23 h 25"/>
              <a:gd name="T8" fmla="*/ 16 w 16"/>
              <a:gd name="T9" fmla="*/ 23 h 25"/>
              <a:gd name="T10" fmla="*/ 15 w 16"/>
              <a:gd name="T11" fmla="*/ 21 h 25"/>
              <a:gd name="T12" fmla="*/ 14 w 16"/>
              <a:gd name="T13" fmla="*/ 21 h 25"/>
              <a:gd name="T14" fmla="*/ 14 w 16"/>
              <a:gd name="T15" fmla="*/ 19 h 25"/>
              <a:gd name="T16" fmla="*/ 13 w 16"/>
              <a:gd name="T17" fmla="*/ 17 h 25"/>
              <a:gd name="T18" fmla="*/ 13 w 16"/>
              <a:gd name="T19" fmla="*/ 16 h 25"/>
              <a:gd name="T20" fmla="*/ 14 w 16"/>
              <a:gd name="T21" fmla="*/ 13 h 25"/>
              <a:gd name="T22" fmla="*/ 15 w 16"/>
              <a:gd name="T23" fmla="*/ 12 h 25"/>
              <a:gd name="T24" fmla="*/ 14 w 16"/>
              <a:gd name="T25" fmla="*/ 10 h 25"/>
              <a:gd name="T26" fmla="*/ 13 w 16"/>
              <a:gd name="T27" fmla="*/ 9 h 25"/>
              <a:gd name="T28" fmla="*/ 12 w 16"/>
              <a:gd name="T29" fmla="*/ 7 h 25"/>
              <a:gd name="T30" fmla="*/ 14 w 16"/>
              <a:gd name="T31" fmla="*/ 7 h 25"/>
              <a:gd name="T32" fmla="*/ 15 w 16"/>
              <a:gd name="T33" fmla="*/ 6 h 25"/>
              <a:gd name="T34" fmla="*/ 14 w 16"/>
              <a:gd name="T35" fmla="*/ 4 h 25"/>
              <a:gd name="T36" fmla="*/ 14 w 16"/>
              <a:gd name="T37" fmla="*/ 2 h 25"/>
              <a:gd name="T38" fmla="*/ 12 w 16"/>
              <a:gd name="T39" fmla="*/ 0 h 25"/>
              <a:gd name="T40" fmla="*/ 12 w 16"/>
              <a:gd name="T41" fmla="*/ 0 h 25"/>
              <a:gd name="T42" fmla="*/ 12 w 16"/>
              <a:gd name="T43" fmla="*/ 1 h 25"/>
              <a:gd name="T44" fmla="*/ 13 w 16"/>
              <a:gd name="T45" fmla="*/ 2 h 25"/>
              <a:gd name="T46" fmla="*/ 13 w 16"/>
              <a:gd name="T47" fmla="*/ 3 h 25"/>
              <a:gd name="T48" fmla="*/ 12 w 16"/>
              <a:gd name="T49" fmla="*/ 4 h 25"/>
              <a:gd name="T50" fmla="*/ 11 w 16"/>
              <a:gd name="T51" fmla="*/ 6 h 25"/>
              <a:gd name="T52" fmla="*/ 10 w 16"/>
              <a:gd name="T53" fmla="*/ 8 h 25"/>
              <a:gd name="T54" fmla="*/ 10 w 16"/>
              <a:gd name="T55" fmla="*/ 9 h 25"/>
              <a:gd name="T56" fmla="*/ 9 w 16"/>
              <a:gd name="T57" fmla="*/ 10 h 25"/>
              <a:gd name="T58" fmla="*/ 7 w 16"/>
              <a:gd name="T59" fmla="*/ 14 h 25"/>
              <a:gd name="T60" fmla="*/ 6 w 16"/>
              <a:gd name="T61" fmla="*/ 15 h 25"/>
              <a:gd name="T62" fmla="*/ 5 w 16"/>
              <a:gd name="T63" fmla="*/ 13 h 25"/>
              <a:gd name="T64" fmla="*/ 3 w 16"/>
              <a:gd name="T65" fmla="*/ 14 h 25"/>
              <a:gd name="T66" fmla="*/ 1 w 16"/>
              <a:gd name="T67" fmla="*/ 16 h 25"/>
              <a:gd name="T68" fmla="*/ 0 w 16"/>
              <a:gd name="T69" fmla="*/ 18 h 25"/>
              <a:gd name="T70" fmla="*/ 1 w 16"/>
              <a:gd name="T71" fmla="*/ 20 h 25"/>
              <a:gd name="T72" fmla="*/ 3 w 16"/>
              <a:gd name="T73" fmla="*/ 20 h 25"/>
              <a:gd name="T74" fmla="*/ 3 w 16"/>
              <a:gd name="T75" fmla="*/ 22 h 25"/>
              <a:gd name="T76" fmla="*/ 3 w 16"/>
              <a:gd name="T77" fmla="*/ 24 h 25"/>
              <a:gd name="T78" fmla="*/ 6 w 16"/>
              <a:gd name="T79" fmla="*/ 24 h 25"/>
              <a:gd name="T80" fmla="*/ 7 w 16"/>
              <a:gd name="T8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25">
                <a:moveTo>
                  <a:pt x="7" y="24"/>
                </a:moveTo>
                <a:cubicBezTo>
                  <a:pt x="7" y="24"/>
                  <a:pt x="12" y="24"/>
                  <a:pt x="13" y="24"/>
                </a:cubicBezTo>
                <a:cubicBezTo>
                  <a:pt x="13" y="24"/>
                  <a:pt x="16" y="25"/>
                  <a:pt x="16" y="25"/>
                </a:cubicBezTo>
                <a:cubicBezTo>
                  <a:pt x="16" y="25"/>
                  <a:pt x="16" y="24"/>
                  <a:pt x="16" y="23"/>
                </a:cubicBezTo>
                <a:cubicBezTo>
                  <a:pt x="16" y="23"/>
                  <a:pt x="16" y="23"/>
                  <a:pt x="16" y="23"/>
                </a:cubicBezTo>
                <a:cubicBezTo>
                  <a:pt x="16" y="22"/>
                  <a:pt x="15" y="22"/>
                  <a:pt x="15" y="21"/>
                </a:cubicBezTo>
                <a:cubicBezTo>
                  <a:pt x="14" y="21"/>
                  <a:pt x="14" y="21"/>
                  <a:pt x="14" y="21"/>
                </a:cubicBezTo>
                <a:cubicBezTo>
                  <a:pt x="14" y="21"/>
                  <a:pt x="14" y="20"/>
                  <a:pt x="14" y="19"/>
                </a:cubicBezTo>
                <a:cubicBezTo>
                  <a:pt x="13" y="19"/>
                  <a:pt x="13" y="18"/>
                  <a:pt x="13" y="17"/>
                </a:cubicBezTo>
                <a:cubicBezTo>
                  <a:pt x="13" y="17"/>
                  <a:pt x="13" y="16"/>
                  <a:pt x="13" y="16"/>
                </a:cubicBezTo>
                <a:cubicBezTo>
                  <a:pt x="13" y="15"/>
                  <a:pt x="14" y="14"/>
                  <a:pt x="14" y="13"/>
                </a:cubicBezTo>
                <a:cubicBezTo>
                  <a:pt x="14" y="13"/>
                  <a:pt x="15" y="12"/>
                  <a:pt x="15" y="12"/>
                </a:cubicBezTo>
                <a:cubicBezTo>
                  <a:pt x="15" y="12"/>
                  <a:pt x="15" y="11"/>
                  <a:pt x="14" y="10"/>
                </a:cubicBezTo>
                <a:cubicBezTo>
                  <a:pt x="14" y="10"/>
                  <a:pt x="13" y="9"/>
                  <a:pt x="13" y="9"/>
                </a:cubicBezTo>
                <a:cubicBezTo>
                  <a:pt x="12" y="8"/>
                  <a:pt x="12" y="7"/>
                  <a:pt x="12" y="7"/>
                </a:cubicBezTo>
                <a:cubicBezTo>
                  <a:pt x="12" y="7"/>
                  <a:pt x="13" y="7"/>
                  <a:pt x="14" y="7"/>
                </a:cubicBezTo>
                <a:cubicBezTo>
                  <a:pt x="15" y="7"/>
                  <a:pt x="15" y="7"/>
                  <a:pt x="15" y="6"/>
                </a:cubicBezTo>
                <a:cubicBezTo>
                  <a:pt x="15" y="6"/>
                  <a:pt x="14" y="5"/>
                  <a:pt x="14" y="4"/>
                </a:cubicBezTo>
                <a:cubicBezTo>
                  <a:pt x="14" y="3"/>
                  <a:pt x="14" y="2"/>
                  <a:pt x="14" y="2"/>
                </a:cubicBezTo>
                <a:cubicBezTo>
                  <a:pt x="14" y="1"/>
                  <a:pt x="13" y="0"/>
                  <a:pt x="12" y="0"/>
                </a:cubicBezTo>
                <a:cubicBezTo>
                  <a:pt x="12" y="0"/>
                  <a:pt x="12" y="0"/>
                  <a:pt x="12" y="0"/>
                </a:cubicBezTo>
                <a:cubicBezTo>
                  <a:pt x="12" y="0"/>
                  <a:pt x="12" y="1"/>
                  <a:pt x="12" y="1"/>
                </a:cubicBezTo>
                <a:cubicBezTo>
                  <a:pt x="12" y="1"/>
                  <a:pt x="13" y="2"/>
                  <a:pt x="13" y="2"/>
                </a:cubicBezTo>
                <a:cubicBezTo>
                  <a:pt x="13" y="2"/>
                  <a:pt x="13" y="3"/>
                  <a:pt x="13" y="3"/>
                </a:cubicBezTo>
                <a:cubicBezTo>
                  <a:pt x="13" y="4"/>
                  <a:pt x="12" y="4"/>
                  <a:pt x="12" y="4"/>
                </a:cubicBezTo>
                <a:cubicBezTo>
                  <a:pt x="12" y="4"/>
                  <a:pt x="10" y="6"/>
                  <a:pt x="11" y="6"/>
                </a:cubicBezTo>
                <a:cubicBezTo>
                  <a:pt x="11" y="7"/>
                  <a:pt x="10" y="8"/>
                  <a:pt x="10" y="8"/>
                </a:cubicBezTo>
                <a:cubicBezTo>
                  <a:pt x="10" y="8"/>
                  <a:pt x="10" y="9"/>
                  <a:pt x="10" y="9"/>
                </a:cubicBezTo>
                <a:cubicBezTo>
                  <a:pt x="10" y="9"/>
                  <a:pt x="9" y="10"/>
                  <a:pt x="9" y="10"/>
                </a:cubicBezTo>
                <a:cubicBezTo>
                  <a:pt x="9" y="11"/>
                  <a:pt x="7" y="13"/>
                  <a:pt x="7" y="14"/>
                </a:cubicBezTo>
                <a:cubicBezTo>
                  <a:pt x="7" y="14"/>
                  <a:pt x="6" y="15"/>
                  <a:pt x="6" y="15"/>
                </a:cubicBezTo>
                <a:cubicBezTo>
                  <a:pt x="6" y="14"/>
                  <a:pt x="5" y="13"/>
                  <a:pt x="5" y="13"/>
                </a:cubicBezTo>
                <a:cubicBezTo>
                  <a:pt x="4" y="14"/>
                  <a:pt x="4" y="14"/>
                  <a:pt x="3" y="14"/>
                </a:cubicBezTo>
                <a:cubicBezTo>
                  <a:pt x="3" y="14"/>
                  <a:pt x="1" y="16"/>
                  <a:pt x="1" y="16"/>
                </a:cubicBezTo>
                <a:cubicBezTo>
                  <a:pt x="1" y="16"/>
                  <a:pt x="1" y="17"/>
                  <a:pt x="0" y="18"/>
                </a:cubicBezTo>
                <a:cubicBezTo>
                  <a:pt x="0" y="19"/>
                  <a:pt x="1" y="19"/>
                  <a:pt x="1" y="20"/>
                </a:cubicBezTo>
                <a:cubicBezTo>
                  <a:pt x="1" y="20"/>
                  <a:pt x="2" y="20"/>
                  <a:pt x="3" y="20"/>
                </a:cubicBezTo>
                <a:cubicBezTo>
                  <a:pt x="3" y="20"/>
                  <a:pt x="3" y="22"/>
                  <a:pt x="3" y="22"/>
                </a:cubicBezTo>
                <a:cubicBezTo>
                  <a:pt x="3" y="23"/>
                  <a:pt x="3" y="24"/>
                  <a:pt x="3" y="24"/>
                </a:cubicBezTo>
                <a:cubicBezTo>
                  <a:pt x="6" y="24"/>
                  <a:pt x="6" y="24"/>
                  <a:pt x="6" y="24"/>
                </a:cubicBezTo>
                <a:lnTo>
                  <a:pt x="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0"/>
          <p:cNvSpPr>
            <a:spLocks/>
          </p:cNvSpPr>
          <p:nvPr/>
        </p:nvSpPr>
        <p:spPr bwMode="auto">
          <a:xfrm>
            <a:off x="2108595" y="3164554"/>
            <a:ext cx="67922" cy="67922"/>
          </a:xfrm>
          <a:custGeom>
            <a:avLst/>
            <a:gdLst>
              <a:gd name="T0" fmla="*/ 13 w 14"/>
              <a:gd name="T1" fmla="*/ 12 h 14"/>
              <a:gd name="T2" fmla="*/ 12 w 14"/>
              <a:gd name="T3" fmla="*/ 9 h 14"/>
              <a:gd name="T4" fmla="*/ 13 w 14"/>
              <a:gd name="T5" fmla="*/ 7 h 14"/>
              <a:gd name="T6" fmla="*/ 14 w 14"/>
              <a:gd name="T7" fmla="*/ 6 h 14"/>
              <a:gd name="T8" fmla="*/ 13 w 14"/>
              <a:gd name="T9" fmla="*/ 2 h 14"/>
              <a:gd name="T10" fmla="*/ 12 w 14"/>
              <a:gd name="T11" fmla="*/ 2 h 14"/>
              <a:gd name="T12" fmla="*/ 10 w 14"/>
              <a:gd name="T13" fmla="*/ 2 h 14"/>
              <a:gd name="T14" fmla="*/ 8 w 14"/>
              <a:gd name="T15" fmla="*/ 1 h 14"/>
              <a:gd name="T16" fmla="*/ 6 w 14"/>
              <a:gd name="T17" fmla="*/ 1 h 14"/>
              <a:gd name="T18" fmla="*/ 5 w 14"/>
              <a:gd name="T19" fmla="*/ 1 h 14"/>
              <a:gd name="T20" fmla="*/ 4 w 14"/>
              <a:gd name="T21" fmla="*/ 1 h 14"/>
              <a:gd name="T22" fmla="*/ 3 w 14"/>
              <a:gd name="T23" fmla="*/ 1 h 14"/>
              <a:gd name="T24" fmla="*/ 2 w 14"/>
              <a:gd name="T25" fmla="*/ 1 h 14"/>
              <a:gd name="T26" fmla="*/ 1 w 14"/>
              <a:gd name="T27" fmla="*/ 1 h 14"/>
              <a:gd name="T28" fmla="*/ 1 w 14"/>
              <a:gd name="T29" fmla="*/ 3 h 14"/>
              <a:gd name="T30" fmla="*/ 1 w 14"/>
              <a:gd name="T31" fmla="*/ 4 h 14"/>
              <a:gd name="T32" fmla="*/ 2 w 14"/>
              <a:gd name="T33" fmla="*/ 5 h 14"/>
              <a:gd name="T34" fmla="*/ 1 w 14"/>
              <a:gd name="T35" fmla="*/ 5 h 14"/>
              <a:gd name="T36" fmla="*/ 1 w 14"/>
              <a:gd name="T37" fmla="*/ 7 h 14"/>
              <a:gd name="T38" fmla="*/ 0 w 14"/>
              <a:gd name="T39" fmla="*/ 8 h 14"/>
              <a:gd name="T40" fmla="*/ 0 w 14"/>
              <a:gd name="T41" fmla="*/ 10 h 14"/>
              <a:gd name="T42" fmla="*/ 1 w 14"/>
              <a:gd name="T43" fmla="*/ 10 h 14"/>
              <a:gd name="T44" fmla="*/ 3 w 14"/>
              <a:gd name="T45" fmla="*/ 12 h 14"/>
              <a:gd name="T46" fmla="*/ 2 w 14"/>
              <a:gd name="T47" fmla="*/ 14 h 14"/>
              <a:gd name="T48" fmla="*/ 8 w 14"/>
              <a:gd name="T49" fmla="*/ 13 h 14"/>
              <a:gd name="T50" fmla="*/ 13 w 14"/>
              <a:gd name="T51" fmla="*/ 13 h 14"/>
              <a:gd name="T52" fmla="*/ 13 w 14"/>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4">
                <a:moveTo>
                  <a:pt x="13" y="12"/>
                </a:moveTo>
                <a:cubicBezTo>
                  <a:pt x="13" y="11"/>
                  <a:pt x="12" y="10"/>
                  <a:pt x="12" y="9"/>
                </a:cubicBezTo>
                <a:cubicBezTo>
                  <a:pt x="12" y="9"/>
                  <a:pt x="13" y="8"/>
                  <a:pt x="13" y="7"/>
                </a:cubicBezTo>
                <a:cubicBezTo>
                  <a:pt x="13" y="7"/>
                  <a:pt x="14" y="6"/>
                  <a:pt x="14" y="6"/>
                </a:cubicBezTo>
                <a:cubicBezTo>
                  <a:pt x="14" y="5"/>
                  <a:pt x="13" y="3"/>
                  <a:pt x="13" y="2"/>
                </a:cubicBezTo>
                <a:cubicBezTo>
                  <a:pt x="13" y="2"/>
                  <a:pt x="13" y="2"/>
                  <a:pt x="12" y="2"/>
                </a:cubicBezTo>
                <a:cubicBezTo>
                  <a:pt x="12" y="2"/>
                  <a:pt x="10" y="2"/>
                  <a:pt x="10" y="2"/>
                </a:cubicBezTo>
                <a:cubicBezTo>
                  <a:pt x="9" y="3"/>
                  <a:pt x="8" y="2"/>
                  <a:pt x="8" y="1"/>
                </a:cubicBezTo>
                <a:cubicBezTo>
                  <a:pt x="8" y="1"/>
                  <a:pt x="7" y="0"/>
                  <a:pt x="6" y="1"/>
                </a:cubicBezTo>
                <a:cubicBezTo>
                  <a:pt x="5" y="1"/>
                  <a:pt x="5" y="1"/>
                  <a:pt x="5" y="1"/>
                </a:cubicBezTo>
                <a:cubicBezTo>
                  <a:pt x="5" y="0"/>
                  <a:pt x="4" y="0"/>
                  <a:pt x="4" y="1"/>
                </a:cubicBezTo>
                <a:cubicBezTo>
                  <a:pt x="4" y="1"/>
                  <a:pt x="3" y="2"/>
                  <a:pt x="3" y="1"/>
                </a:cubicBezTo>
                <a:cubicBezTo>
                  <a:pt x="3" y="1"/>
                  <a:pt x="2" y="0"/>
                  <a:pt x="2" y="1"/>
                </a:cubicBezTo>
                <a:cubicBezTo>
                  <a:pt x="2" y="1"/>
                  <a:pt x="1" y="1"/>
                  <a:pt x="1" y="1"/>
                </a:cubicBezTo>
                <a:cubicBezTo>
                  <a:pt x="1" y="2"/>
                  <a:pt x="1" y="3"/>
                  <a:pt x="1" y="3"/>
                </a:cubicBezTo>
                <a:cubicBezTo>
                  <a:pt x="2" y="3"/>
                  <a:pt x="2" y="4"/>
                  <a:pt x="1" y="4"/>
                </a:cubicBezTo>
                <a:cubicBezTo>
                  <a:pt x="1" y="4"/>
                  <a:pt x="2" y="5"/>
                  <a:pt x="2" y="5"/>
                </a:cubicBezTo>
                <a:cubicBezTo>
                  <a:pt x="2" y="6"/>
                  <a:pt x="1" y="5"/>
                  <a:pt x="1" y="5"/>
                </a:cubicBezTo>
                <a:cubicBezTo>
                  <a:pt x="1" y="6"/>
                  <a:pt x="1" y="6"/>
                  <a:pt x="1" y="7"/>
                </a:cubicBezTo>
                <a:cubicBezTo>
                  <a:pt x="1" y="7"/>
                  <a:pt x="0" y="7"/>
                  <a:pt x="0" y="8"/>
                </a:cubicBezTo>
                <a:cubicBezTo>
                  <a:pt x="0" y="9"/>
                  <a:pt x="0" y="9"/>
                  <a:pt x="0" y="10"/>
                </a:cubicBezTo>
                <a:cubicBezTo>
                  <a:pt x="0" y="10"/>
                  <a:pt x="0" y="10"/>
                  <a:pt x="1" y="10"/>
                </a:cubicBezTo>
                <a:cubicBezTo>
                  <a:pt x="2" y="11"/>
                  <a:pt x="3" y="11"/>
                  <a:pt x="3" y="12"/>
                </a:cubicBezTo>
                <a:cubicBezTo>
                  <a:pt x="3" y="13"/>
                  <a:pt x="2" y="13"/>
                  <a:pt x="2" y="14"/>
                </a:cubicBezTo>
                <a:cubicBezTo>
                  <a:pt x="3" y="14"/>
                  <a:pt x="6" y="13"/>
                  <a:pt x="8" y="13"/>
                </a:cubicBezTo>
                <a:cubicBezTo>
                  <a:pt x="10" y="12"/>
                  <a:pt x="12" y="13"/>
                  <a:pt x="13" y="13"/>
                </a:cubicBezTo>
                <a:cubicBezTo>
                  <a:pt x="13" y="12"/>
                  <a:pt x="13" y="12"/>
                  <a:pt x="13"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1"/>
          <p:cNvSpPr>
            <a:spLocks/>
          </p:cNvSpPr>
          <p:nvPr/>
        </p:nvSpPr>
        <p:spPr bwMode="auto">
          <a:xfrm>
            <a:off x="2165793" y="3160979"/>
            <a:ext cx="42898" cy="71497"/>
          </a:xfrm>
          <a:custGeom>
            <a:avLst/>
            <a:gdLst>
              <a:gd name="T0" fmla="*/ 8 w 9"/>
              <a:gd name="T1" fmla="*/ 6 h 15"/>
              <a:gd name="T2" fmla="*/ 8 w 9"/>
              <a:gd name="T3" fmla="*/ 3 h 15"/>
              <a:gd name="T4" fmla="*/ 7 w 9"/>
              <a:gd name="T5" fmla="*/ 2 h 15"/>
              <a:gd name="T6" fmla="*/ 7 w 9"/>
              <a:gd name="T7" fmla="*/ 0 h 15"/>
              <a:gd name="T8" fmla="*/ 6 w 9"/>
              <a:gd name="T9" fmla="*/ 1 h 15"/>
              <a:gd name="T10" fmla="*/ 1 w 9"/>
              <a:gd name="T11" fmla="*/ 1 h 15"/>
              <a:gd name="T12" fmla="*/ 1 w 9"/>
              <a:gd name="T13" fmla="*/ 3 h 15"/>
              <a:gd name="T14" fmla="*/ 1 w 9"/>
              <a:gd name="T15" fmla="*/ 3 h 15"/>
              <a:gd name="T16" fmla="*/ 2 w 9"/>
              <a:gd name="T17" fmla="*/ 7 h 15"/>
              <a:gd name="T18" fmla="*/ 1 w 9"/>
              <a:gd name="T19" fmla="*/ 8 h 15"/>
              <a:gd name="T20" fmla="*/ 0 w 9"/>
              <a:gd name="T21" fmla="*/ 10 h 15"/>
              <a:gd name="T22" fmla="*/ 1 w 9"/>
              <a:gd name="T23" fmla="*/ 13 h 15"/>
              <a:gd name="T24" fmla="*/ 1 w 9"/>
              <a:gd name="T25" fmla="*/ 14 h 15"/>
              <a:gd name="T26" fmla="*/ 2 w 9"/>
              <a:gd name="T27" fmla="*/ 14 h 15"/>
              <a:gd name="T28" fmla="*/ 7 w 9"/>
              <a:gd name="T29" fmla="*/ 13 h 15"/>
              <a:gd name="T30" fmla="*/ 9 w 9"/>
              <a:gd name="T31" fmla="*/ 12 h 15"/>
              <a:gd name="T32" fmla="*/ 8 w 9"/>
              <a:gd name="T33" fmla="*/ 9 h 15"/>
              <a:gd name="T34" fmla="*/ 8 w 9"/>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5">
                <a:moveTo>
                  <a:pt x="8" y="6"/>
                </a:moveTo>
                <a:cubicBezTo>
                  <a:pt x="8" y="5"/>
                  <a:pt x="8" y="4"/>
                  <a:pt x="8" y="3"/>
                </a:cubicBezTo>
                <a:cubicBezTo>
                  <a:pt x="8" y="2"/>
                  <a:pt x="8" y="2"/>
                  <a:pt x="7" y="2"/>
                </a:cubicBezTo>
                <a:cubicBezTo>
                  <a:pt x="7" y="2"/>
                  <a:pt x="7" y="1"/>
                  <a:pt x="7" y="0"/>
                </a:cubicBezTo>
                <a:cubicBezTo>
                  <a:pt x="6" y="0"/>
                  <a:pt x="6" y="1"/>
                  <a:pt x="6" y="1"/>
                </a:cubicBezTo>
                <a:cubicBezTo>
                  <a:pt x="6" y="0"/>
                  <a:pt x="1" y="0"/>
                  <a:pt x="1" y="1"/>
                </a:cubicBezTo>
                <a:cubicBezTo>
                  <a:pt x="0" y="1"/>
                  <a:pt x="1" y="2"/>
                  <a:pt x="1" y="3"/>
                </a:cubicBezTo>
                <a:cubicBezTo>
                  <a:pt x="1" y="3"/>
                  <a:pt x="1" y="3"/>
                  <a:pt x="1" y="3"/>
                </a:cubicBezTo>
                <a:cubicBezTo>
                  <a:pt x="1" y="4"/>
                  <a:pt x="2" y="6"/>
                  <a:pt x="2" y="7"/>
                </a:cubicBezTo>
                <a:cubicBezTo>
                  <a:pt x="2" y="7"/>
                  <a:pt x="1" y="8"/>
                  <a:pt x="1" y="8"/>
                </a:cubicBezTo>
                <a:cubicBezTo>
                  <a:pt x="1" y="9"/>
                  <a:pt x="0" y="10"/>
                  <a:pt x="0" y="10"/>
                </a:cubicBezTo>
                <a:cubicBezTo>
                  <a:pt x="0" y="11"/>
                  <a:pt x="1" y="12"/>
                  <a:pt x="1" y="13"/>
                </a:cubicBezTo>
                <a:cubicBezTo>
                  <a:pt x="1" y="13"/>
                  <a:pt x="1" y="13"/>
                  <a:pt x="1" y="14"/>
                </a:cubicBezTo>
                <a:cubicBezTo>
                  <a:pt x="2" y="14"/>
                  <a:pt x="2" y="14"/>
                  <a:pt x="2" y="14"/>
                </a:cubicBezTo>
                <a:cubicBezTo>
                  <a:pt x="3" y="15"/>
                  <a:pt x="6" y="13"/>
                  <a:pt x="7" y="13"/>
                </a:cubicBezTo>
                <a:cubicBezTo>
                  <a:pt x="8" y="12"/>
                  <a:pt x="9" y="12"/>
                  <a:pt x="9" y="12"/>
                </a:cubicBezTo>
                <a:cubicBezTo>
                  <a:pt x="9" y="11"/>
                  <a:pt x="8" y="10"/>
                  <a:pt x="8" y="9"/>
                </a:cubicBezTo>
                <a:cubicBezTo>
                  <a:pt x="8" y="8"/>
                  <a:pt x="8"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2"/>
          <p:cNvSpPr>
            <a:spLocks/>
          </p:cNvSpPr>
          <p:nvPr/>
        </p:nvSpPr>
        <p:spPr bwMode="auto">
          <a:xfrm>
            <a:off x="2037098" y="3146680"/>
            <a:ext cx="82221" cy="57198"/>
          </a:xfrm>
          <a:custGeom>
            <a:avLst/>
            <a:gdLst>
              <a:gd name="T0" fmla="*/ 6 w 17"/>
              <a:gd name="T1" fmla="*/ 6 h 12"/>
              <a:gd name="T2" fmla="*/ 7 w 17"/>
              <a:gd name="T3" fmla="*/ 6 h 12"/>
              <a:gd name="T4" fmla="*/ 9 w 17"/>
              <a:gd name="T5" fmla="*/ 6 h 12"/>
              <a:gd name="T6" fmla="*/ 10 w 17"/>
              <a:gd name="T7" fmla="*/ 8 h 12"/>
              <a:gd name="T8" fmla="*/ 11 w 17"/>
              <a:gd name="T9" fmla="*/ 9 h 12"/>
              <a:gd name="T10" fmla="*/ 11 w 17"/>
              <a:gd name="T11" fmla="*/ 9 h 12"/>
              <a:gd name="T12" fmla="*/ 12 w 17"/>
              <a:gd name="T13" fmla="*/ 9 h 12"/>
              <a:gd name="T14" fmla="*/ 13 w 17"/>
              <a:gd name="T15" fmla="*/ 11 h 12"/>
              <a:gd name="T16" fmla="*/ 14 w 17"/>
              <a:gd name="T17" fmla="*/ 12 h 12"/>
              <a:gd name="T18" fmla="*/ 15 w 17"/>
              <a:gd name="T19" fmla="*/ 11 h 12"/>
              <a:gd name="T20" fmla="*/ 15 w 17"/>
              <a:gd name="T21" fmla="*/ 11 h 12"/>
              <a:gd name="T22" fmla="*/ 16 w 17"/>
              <a:gd name="T23" fmla="*/ 11 h 12"/>
              <a:gd name="T24" fmla="*/ 16 w 17"/>
              <a:gd name="T25" fmla="*/ 9 h 12"/>
              <a:gd name="T26" fmla="*/ 17 w 17"/>
              <a:gd name="T27" fmla="*/ 9 h 12"/>
              <a:gd name="T28" fmla="*/ 16 w 17"/>
              <a:gd name="T29" fmla="*/ 8 h 12"/>
              <a:gd name="T30" fmla="*/ 16 w 17"/>
              <a:gd name="T31" fmla="*/ 7 h 12"/>
              <a:gd name="T32" fmla="*/ 16 w 17"/>
              <a:gd name="T33" fmla="*/ 5 h 12"/>
              <a:gd name="T34" fmla="*/ 16 w 17"/>
              <a:gd name="T35" fmla="*/ 5 h 12"/>
              <a:gd name="T36" fmla="*/ 15 w 17"/>
              <a:gd name="T37" fmla="*/ 4 h 12"/>
              <a:gd name="T38" fmla="*/ 15 w 17"/>
              <a:gd name="T39" fmla="*/ 3 h 12"/>
              <a:gd name="T40" fmla="*/ 14 w 17"/>
              <a:gd name="T41" fmla="*/ 2 h 12"/>
              <a:gd name="T42" fmla="*/ 14 w 17"/>
              <a:gd name="T43" fmla="*/ 0 h 12"/>
              <a:gd name="T44" fmla="*/ 12 w 17"/>
              <a:gd name="T45" fmla="*/ 1 h 12"/>
              <a:gd name="T46" fmla="*/ 11 w 17"/>
              <a:gd name="T47" fmla="*/ 1 h 12"/>
              <a:gd name="T48" fmla="*/ 9 w 17"/>
              <a:gd name="T49" fmla="*/ 1 h 12"/>
              <a:gd name="T50" fmla="*/ 9 w 17"/>
              <a:gd name="T51" fmla="*/ 1 h 12"/>
              <a:gd name="T52" fmla="*/ 9 w 17"/>
              <a:gd name="T53" fmla="*/ 0 h 12"/>
              <a:gd name="T54" fmla="*/ 8 w 17"/>
              <a:gd name="T55" fmla="*/ 0 h 12"/>
              <a:gd name="T56" fmla="*/ 5 w 17"/>
              <a:gd name="T57" fmla="*/ 0 h 12"/>
              <a:gd name="T58" fmla="*/ 4 w 17"/>
              <a:gd name="T59" fmla="*/ 0 h 12"/>
              <a:gd name="T60" fmla="*/ 3 w 17"/>
              <a:gd name="T61" fmla="*/ 1 h 12"/>
              <a:gd name="T62" fmla="*/ 3 w 17"/>
              <a:gd name="T63" fmla="*/ 2 h 12"/>
              <a:gd name="T64" fmla="*/ 3 w 17"/>
              <a:gd name="T65" fmla="*/ 2 h 12"/>
              <a:gd name="T66" fmla="*/ 1 w 17"/>
              <a:gd name="T67" fmla="*/ 3 h 12"/>
              <a:gd name="T68" fmla="*/ 0 w 17"/>
              <a:gd name="T69" fmla="*/ 3 h 12"/>
              <a:gd name="T70" fmla="*/ 2 w 17"/>
              <a:gd name="T71" fmla="*/ 5 h 12"/>
              <a:gd name="T72" fmla="*/ 5 w 17"/>
              <a:gd name="T73" fmla="*/ 8 h 12"/>
              <a:gd name="T74" fmla="*/ 6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6" y="6"/>
                </a:moveTo>
                <a:cubicBezTo>
                  <a:pt x="6" y="6"/>
                  <a:pt x="7" y="6"/>
                  <a:pt x="7" y="6"/>
                </a:cubicBezTo>
                <a:cubicBezTo>
                  <a:pt x="8" y="6"/>
                  <a:pt x="8" y="6"/>
                  <a:pt x="9" y="6"/>
                </a:cubicBezTo>
                <a:cubicBezTo>
                  <a:pt x="9" y="6"/>
                  <a:pt x="10" y="7"/>
                  <a:pt x="10" y="8"/>
                </a:cubicBezTo>
                <a:cubicBezTo>
                  <a:pt x="10" y="8"/>
                  <a:pt x="11" y="9"/>
                  <a:pt x="11" y="9"/>
                </a:cubicBezTo>
                <a:cubicBezTo>
                  <a:pt x="11" y="9"/>
                  <a:pt x="11" y="9"/>
                  <a:pt x="11" y="9"/>
                </a:cubicBezTo>
                <a:cubicBezTo>
                  <a:pt x="12" y="9"/>
                  <a:pt x="12" y="9"/>
                  <a:pt x="12" y="9"/>
                </a:cubicBezTo>
                <a:cubicBezTo>
                  <a:pt x="13" y="9"/>
                  <a:pt x="13" y="10"/>
                  <a:pt x="13" y="11"/>
                </a:cubicBezTo>
                <a:cubicBezTo>
                  <a:pt x="13" y="12"/>
                  <a:pt x="14" y="12"/>
                  <a:pt x="14" y="12"/>
                </a:cubicBezTo>
                <a:cubicBezTo>
                  <a:pt x="14" y="11"/>
                  <a:pt x="15" y="11"/>
                  <a:pt x="15" y="11"/>
                </a:cubicBezTo>
                <a:cubicBezTo>
                  <a:pt x="15" y="11"/>
                  <a:pt x="15" y="11"/>
                  <a:pt x="15" y="11"/>
                </a:cubicBezTo>
                <a:cubicBezTo>
                  <a:pt x="16" y="11"/>
                  <a:pt x="16" y="11"/>
                  <a:pt x="16" y="11"/>
                </a:cubicBezTo>
                <a:cubicBezTo>
                  <a:pt x="16" y="10"/>
                  <a:pt x="16" y="10"/>
                  <a:pt x="16" y="9"/>
                </a:cubicBezTo>
                <a:cubicBezTo>
                  <a:pt x="16" y="9"/>
                  <a:pt x="17" y="10"/>
                  <a:pt x="17" y="9"/>
                </a:cubicBezTo>
                <a:cubicBezTo>
                  <a:pt x="17" y="9"/>
                  <a:pt x="16" y="8"/>
                  <a:pt x="16" y="8"/>
                </a:cubicBezTo>
                <a:cubicBezTo>
                  <a:pt x="17" y="8"/>
                  <a:pt x="17" y="7"/>
                  <a:pt x="16" y="7"/>
                </a:cubicBezTo>
                <a:cubicBezTo>
                  <a:pt x="16" y="7"/>
                  <a:pt x="16" y="6"/>
                  <a:pt x="16" y="5"/>
                </a:cubicBezTo>
                <a:cubicBezTo>
                  <a:pt x="16" y="5"/>
                  <a:pt x="16" y="5"/>
                  <a:pt x="16" y="5"/>
                </a:cubicBezTo>
                <a:cubicBezTo>
                  <a:pt x="16" y="4"/>
                  <a:pt x="16" y="4"/>
                  <a:pt x="15" y="4"/>
                </a:cubicBezTo>
                <a:cubicBezTo>
                  <a:pt x="15" y="4"/>
                  <a:pt x="15" y="3"/>
                  <a:pt x="15" y="3"/>
                </a:cubicBezTo>
                <a:cubicBezTo>
                  <a:pt x="16" y="3"/>
                  <a:pt x="14" y="2"/>
                  <a:pt x="14" y="2"/>
                </a:cubicBezTo>
                <a:cubicBezTo>
                  <a:pt x="14" y="1"/>
                  <a:pt x="14" y="0"/>
                  <a:pt x="14" y="0"/>
                </a:cubicBezTo>
                <a:cubicBezTo>
                  <a:pt x="13" y="0"/>
                  <a:pt x="12" y="1"/>
                  <a:pt x="12" y="1"/>
                </a:cubicBezTo>
                <a:cubicBezTo>
                  <a:pt x="12" y="1"/>
                  <a:pt x="11" y="0"/>
                  <a:pt x="11" y="1"/>
                </a:cubicBezTo>
                <a:cubicBezTo>
                  <a:pt x="10" y="2"/>
                  <a:pt x="10" y="1"/>
                  <a:pt x="9" y="1"/>
                </a:cubicBezTo>
                <a:cubicBezTo>
                  <a:pt x="9" y="2"/>
                  <a:pt x="9" y="1"/>
                  <a:pt x="9" y="1"/>
                </a:cubicBezTo>
                <a:cubicBezTo>
                  <a:pt x="9" y="1"/>
                  <a:pt x="9" y="1"/>
                  <a:pt x="9" y="0"/>
                </a:cubicBezTo>
                <a:cubicBezTo>
                  <a:pt x="9" y="0"/>
                  <a:pt x="9" y="0"/>
                  <a:pt x="8" y="0"/>
                </a:cubicBezTo>
                <a:cubicBezTo>
                  <a:pt x="7" y="1"/>
                  <a:pt x="5" y="1"/>
                  <a:pt x="5" y="0"/>
                </a:cubicBezTo>
                <a:cubicBezTo>
                  <a:pt x="5" y="0"/>
                  <a:pt x="4" y="0"/>
                  <a:pt x="4" y="0"/>
                </a:cubicBezTo>
                <a:cubicBezTo>
                  <a:pt x="4" y="0"/>
                  <a:pt x="4" y="0"/>
                  <a:pt x="3" y="1"/>
                </a:cubicBezTo>
                <a:cubicBezTo>
                  <a:pt x="3" y="1"/>
                  <a:pt x="3" y="1"/>
                  <a:pt x="3" y="2"/>
                </a:cubicBezTo>
                <a:cubicBezTo>
                  <a:pt x="3" y="2"/>
                  <a:pt x="3" y="2"/>
                  <a:pt x="3" y="2"/>
                </a:cubicBezTo>
                <a:cubicBezTo>
                  <a:pt x="2" y="2"/>
                  <a:pt x="1" y="3"/>
                  <a:pt x="1" y="3"/>
                </a:cubicBezTo>
                <a:cubicBezTo>
                  <a:pt x="1" y="3"/>
                  <a:pt x="1" y="3"/>
                  <a:pt x="0" y="3"/>
                </a:cubicBezTo>
                <a:cubicBezTo>
                  <a:pt x="1" y="4"/>
                  <a:pt x="1" y="5"/>
                  <a:pt x="2" y="5"/>
                </a:cubicBezTo>
                <a:cubicBezTo>
                  <a:pt x="3" y="6"/>
                  <a:pt x="4" y="7"/>
                  <a:pt x="5" y="8"/>
                </a:cubicBezTo>
                <a:cubicBezTo>
                  <a:pt x="5" y="7"/>
                  <a:pt x="6" y="7"/>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3"/>
          <p:cNvSpPr>
            <a:spLocks/>
          </p:cNvSpPr>
          <p:nvPr/>
        </p:nvSpPr>
        <p:spPr bwMode="auto">
          <a:xfrm>
            <a:off x="2076421" y="3189578"/>
            <a:ext cx="46473" cy="42898"/>
          </a:xfrm>
          <a:custGeom>
            <a:avLst/>
            <a:gdLst>
              <a:gd name="T0" fmla="*/ 8 w 10"/>
              <a:gd name="T1" fmla="*/ 5 h 9"/>
              <a:gd name="T2" fmla="*/ 7 w 10"/>
              <a:gd name="T3" fmla="*/ 5 h 9"/>
              <a:gd name="T4" fmla="*/ 7 w 10"/>
              <a:gd name="T5" fmla="*/ 3 h 9"/>
              <a:gd name="T6" fmla="*/ 7 w 10"/>
              <a:gd name="T7" fmla="*/ 2 h 9"/>
              <a:gd name="T8" fmla="*/ 7 w 10"/>
              <a:gd name="T9" fmla="*/ 2 h 9"/>
              <a:gd name="T10" fmla="*/ 6 w 10"/>
              <a:gd name="T11" fmla="*/ 3 h 9"/>
              <a:gd name="T12" fmla="*/ 5 w 10"/>
              <a:gd name="T13" fmla="*/ 2 h 9"/>
              <a:gd name="T14" fmla="*/ 4 w 10"/>
              <a:gd name="T15" fmla="*/ 0 h 9"/>
              <a:gd name="T16" fmla="*/ 3 w 10"/>
              <a:gd name="T17" fmla="*/ 0 h 9"/>
              <a:gd name="T18" fmla="*/ 3 w 10"/>
              <a:gd name="T19" fmla="*/ 2 h 9"/>
              <a:gd name="T20" fmla="*/ 1 w 10"/>
              <a:gd name="T21" fmla="*/ 3 h 9"/>
              <a:gd name="T22" fmla="*/ 0 w 10"/>
              <a:gd name="T23" fmla="*/ 4 h 9"/>
              <a:gd name="T24" fmla="*/ 3 w 10"/>
              <a:gd name="T25" fmla="*/ 6 h 9"/>
              <a:gd name="T26" fmla="*/ 8 w 10"/>
              <a:gd name="T27" fmla="*/ 9 h 9"/>
              <a:gd name="T28" fmla="*/ 9 w 10"/>
              <a:gd name="T29" fmla="*/ 9 h 9"/>
              <a:gd name="T30" fmla="*/ 10 w 10"/>
              <a:gd name="T31" fmla="*/ 7 h 9"/>
              <a:gd name="T32" fmla="*/ 8 w 10"/>
              <a:gd name="T3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9">
                <a:moveTo>
                  <a:pt x="8" y="5"/>
                </a:moveTo>
                <a:cubicBezTo>
                  <a:pt x="7" y="5"/>
                  <a:pt x="7" y="5"/>
                  <a:pt x="7" y="5"/>
                </a:cubicBezTo>
                <a:cubicBezTo>
                  <a:pt x="7" y="4"/>
                  <a:pt x="7" y="4"/>
                  <a:pt x="7" y="3"/>
                </a:cubicBezTo>
                <a:cubicBezTo>
                  <a:pt x="7" y="3"/>
                  <a:pt x="7" y="3"/>
                  <a:pt x="7" y="2"/>
                </a:cubicBezTo>
                <a:cubicBezTo>
                  <a:pt x="7" y="2"/>
                  <a:pt x="7" y="2"/>
                  <a:pt x="7" y="2"/>
                </a:cubicBezTo>
                <a:cubicBezTo>
                  <a:pt x="7" y="2"/>
                  <a:pt x="6" y="2"/>
                  <a:pt x="6" y="3"/>
                </a:cubicBezTo>
                <a:cubicBezTo>
                  <a:pt x="6" y="3"/>
                  <a:pt x="5" y="3"/>
                  <a:pt x="5" y="2"/>
                </a:cubicBezTo>
                <a:cubicBezTo>
                  <a:pt x="5" y="1"/>
                  <a:pt x="5" y="0"/>
                  <a:pt x="4" y="0"/>
                </a:cubicBezTo>
                <a:cubicBezTo>
                  <a:pt x="4" y="0"/>
                  <a:pt x="4" y="0"/>
                  <a:pt x="3" y="0"/>
                </a:cubicBezTo>
                <a:cubicBezTo>
                  <a:pt x="3" y="1"/>
                  <a:pt x="3" y="1"/>
                  <a:pt x="3" y="2"/>
                </a:cubicBezTo>
                <a:cubicBezTo>
                  <a:pt x="3" y="2"/>
                  <a:pt x="1" y="3"/>
                  <a:pt x="1" y="3"/>
                </a:cubicBezTo>
                <a:cubicBezTo>
                  <a:pt x="1" y="3"/>
                  <a:pt x="1" y="3"/>
                  <a:pt x="0" y="4"/>
                </a:cubicBezTo>
                <a:cubicBezTo>
                  <a:pt x="1" y="4"/>
                  <a:pt x="2" y="5"/>
                  <a:pt x="3" y="6"/>
                </a:cubicBezTo>
                <a:cubicBezTo>
                  <a:pt x="5" y="7"/>
                  <a:pt x="7" y="8"/>
                  <a:pt x="8" y="9"/>
                </a:cubicBezTo>
                <a:cubicBezTo>
                  <a:pt x="9" y="9"/>
                  <a:pt x="9" y="9"/>
                  <a:pt x="9" y="9"/>
                </a:cubicBezTo>
                <a:cubicBezTo>
                  <a:pt x="9" y="8"/>
                  <a:pt x="10" y="8"/>
                  <a:pt x="10" y="7"/>
                </a:cubicBezTo>
                <a:cubicBezTo>
                  <a:pt x="10" y="6"/>
                  <a:pt x="9" y="6"/>
                  <a:pt x="8"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4"/>
          <p:cNvSpPr>
            <a:spLocks/>
          </p:cNvSpPr>
          <p:nvPr/>
        </p:nvSpPr>
        <p:spPr bwMode="auto">
          <a:xfrm>
            <a:off x="2062122" y="3175279"/>
            <a:ext cx="28599" cy="32174"/>
          </a:xfrm>
          <a:custGeom>
            <a:avLst/>
            <a:gdLst>
              <a:gd name="T0" fmla="*/ 6 w 6"/>
              <a:gd name="T1" fmla="*/ 5 h 7"/>
              <a:gd name="T2" fmla="*/ 6 w 6"/>
              <a:gd name="T3" fmla="*/ 3 h 7"/>
              <a:gd name="T4" fmla="*/ 5 w 6"/>
              <a:gd name="T5" fmla="*/ 2 h 7"/>
              <a:gd name="T6" fmla="*/ 4 w 6"/>
              <a:gd name="T7" fmla="*/ 0 h 7"/>
              <a:gd name="T8" fmla="*/ 2 w 6"/>
              <a:gd name="T9" fmla="*/ 0 h 7"/>
              <a:gd name="T10" fmla="*/ 1 w 6"/>
              <a:gd name="T11" fmla="*/ 0 h 7"/>
              <a:gd name="T12" fmla="*/ 0 w 6"/>
              <a:gd name="T13" fmla="*/ 2 h 7"/>
              <a:gd name="T14" fmla="*/ 0 w 6"/>
              <a:gd name="T15" fmla="*/ 3 h 7"/>
              <a:gd name="T16" fmla="*/ 2 w 6"/>
              <a:gd name="T17" fmla="*/ 6 h 7"/>
              <a:gd name="T18" fmla="*/ 3 w 6"/>
              <a:gd name="T19" fmla="*/ 7 h 7"/>
              <a:gd name="T20" fmla="*/ 4 w 6"/>
              <a:gd name="T21" fmla="*/ 6 h 7"/>
              <a:gd name="T22" fmla="*/ 6 w 6"/>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5"/>
                </a:moveTo>
                <a:cubicBezTo>
                  <a:pt x="6" y="4"/>
                  <a:pt x="6" y="4"/>
                  <a:pt x="6" y="3"/>
                </a:cubicBezTo>
                <a:cubicBezTo>
                  <a:pt x="6" y="3"/>
                  <a:pt x="5" y="2"/>
                  <a:pt x="5" y="2"/>
                </a:cubicBezTo>
                <a:cubicBezTo>
                  <a:pt x="5" y="1"/>
                  <a:pt x="4" y="0"/>
                  <a:pt x="4" y="0"/>
                </a:cubicBezTo>
                <a:cubicBezTo>
                  <a:pt x="3" y="0"/>
                  <a:pt x="3" y="0"/>
                  <a:pt x="2" y="0"/>
                </a:cubicBezTo>
                <a:cubicBezTo>
                  <a:pt x="2" y="0"/>
                  <a:pt x="1" y="0"/>
                  <a:pt x="1" y="0"/>
                </a:cubicBezTo>
                <a:cubicBezTo>
                  <a:pt x="1" y="1"/>
                  <a:pt x="0" y="1"/>
                  <a:pt x="0" y="2"/>
                </a:cubicBezTo>
                <a:cubicBezTo>
                  <a:pt x="0" y="2"/>
                  <a:pt x="0" y="2"/>
                  <a:pt x="0" y="3"/>
                </a:cubicBezTo>
                <a:cubicBezTo>
                  <a:pt x="0" y="5"/>
                  <a:pt x="1" y="5"/>
                  <a:pt x="2" y="6"/>
                </a:cubicBezTo>
                <a:cubicBezTo>
                  <a:pt x="2" y="6"/>
                  <a:pt x="3" y="6"/>
                  <a:pt x="3" y="7"/>
                </a:cubicBezTo>
                <a:cubicBezTo>
                  <a:pt x="4" y="6"/>
                  <a:pt x="4" y="6"/>
                  <a:pt x="4" y="6"/>
                </a:cubicBezTo>
                <a:cubicBezTo>
                  <a:pt x="4" y="6"/>
                  <a:pt x="6" y="5"/>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5"/>
          <p:cNvSpPr>
            <a:spLocks/>
          </p:cNvSpPr>
          <p:nvPr/>
        </p:nvSpPr>
        <p:spPr bwMode="auto">
          <a:xfrm>
            <a:off x="2015649" y="2975087"/>
            <a:ext cx="92946" cy="75072"/>
          </a:xfrm>
          <a:custGeom>
            <a:avLst/>
            <a:gdLst>
              <a:gd name="T0" fmla="*/ 9 w 19"/>
              <a:gd name="T1" fmla="*/ 11 h 15"/>
              <a:gd name="T2" fmla="*/ 11 w 19"/>
              <a:gd name="T3" fmla="*/ 10 h 15"/>
              <a:gd name="T4" fmla="*/ 11 w 19"/>
              <a:gd name="T5" fmla="*/ 4 h 15"/>
              <a:gd name="T6" fmla="*/ 19 w 19"/>
              <a:gd name="T7" fmla="*/ 4 h 15"/>
              <a:gd name="T8" fmla="*/ 19 w 19"/>
              <a:gd name="T9" fmla="*/ 1 h 15"/>
              <a:gd name="T10" fmla="*/ 17 w 19"/>
              <a:gd name="T11" fmla="*/ 0 h 15"/>
              <a:gd name="T12" fmla="*/ 9 w 19"/>
              <a:gd name="T13" fmla="*/ 0 h 15"/>
              <a:gd name="T14" fmla="*/ 8 w 19"/>
              <a:gd name="T15" fmla="*/ 2 h 15"/>
              <a:gd name="T16" fmla="*/ 5 w 19"/>
              <a:gd name="T17" fmla="*/ 6 h 15"/>
              <a:gd name="T18" fmla="*/ 1 w 19"/>
              <a:gd name="T19" fmla="*/ 13 h 15"/>
              <a:gd name="T20" fmla="*/ 0 w 19"/>
              <a:gd name="T21" fmla="*/ 15 h 15"/>
              <a:gd name="T22" fmla="*/ 9 w 19"/>
              <a:gd name="T23" fmla="*/ 15 h 15"/>
              <a:gd name="T24" fmla="*/ 9 w 19"/>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9" y="11"/>
                </a:moveTo>
                <a:cubicBezTo>
                  <a:pt x="9" y="11"/>
                  <a:pt x="11" y="10"/>
                  <a:pt x="11" y="10"/>
                </a:cubicBezTo>
                <a:cubicBezTo>
                  <a:pt x="11" y="4"/>
                  <a:pt x="11" y="4"/>
                  <a:pt x="11" y="4"/>
                </a:cubicBezTo>
                <a:cubicBezTo>
                  <a:pt x="11" y="4"/>
                  <a:pt x="18" y="4"/>
                  <a:pt x="19" y="4"/>
                </a:cubicBezTo>
                <a:cubicBezTo>
                  <a:pt x="19" y="4"/>
                  <a:pt x="19" y="2"/>
                  <a:pt x="19" y="1"/>
                </a:cubicBezTo>
                <a:cubicBezTo>
                  <a:pt x="18" y="0"/>
                  <a:pt x="19" y="0"/>
                  <a:pt x="17" y="0"/>
                </a:cubicBezTo>
                <a:cubicBezTo>
                  <a:pt x="9" y="0"/>
                  <a:pt x="9" y="0"/>
                  <a:pt x="9" y="0"/>
                </a:cubicBezTo>
                <a:cubicBezTo>
                  <a:pt x="8" y="0"/>
                  <a:pt x="8" y="1"/>
                  <a:pt x="8" y="2"/>
                </a:cubicBezTo>
                <a:cubicBezTo>
                  <a:pt x="7" y="3"/>
                  <a:pt x="5" y="4"/>
                  <a:pt x="5" y="6"/>
                </a:cubicBezTo>
                <a:cubicBezTo>
                  <a:pt x="5" y="7"/>
                  <a:pt x="2" y="10"/>
                  <a:pt x="1" y="13"/>
                </a:cubicBezTo>
                <a:cubicBezTo>
                  <a:pt x="0" y="14"/>
                  <a:pt x="0" y="14"/>
                  <a:pt x="0" y="15"/>
                </a:cubicBezTo>
                <a:cubicBezTo>
                  <a:pt x="9" y="15"/>
                  <a:pt x="9" y="15"/>
                  <a:pt x="9" y="15"/>
                </a:cubicBezTo>
                <a:lnTo>
                  <a:pt x="9"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6"/>
          <p:cNvSpPr>
            <a:spLocks/>
          </p:cNvSpPr>
          <p:nvPr/>
        </p:nvSpPr>
        <p:spPr bwMode="auto">
          <a:xfrm>
            <a:off x="2015649" y="2982237"/>
            <a:ext cx="132269" cy="139419"/>
          </a:xfrm>
          <a:custGeom>
            <a:avLst/>
            <a:gdLst>
              <a:gd name="T0" fmla="*/ 2 w 27"/>
              <a:gd name="T1" fmla="*/ 25 h 29"/>
              <a:gd name="T2" fmla="*/ 4 w 27"/>
              <a:gd name="T3" fmla="*/ 25 h 29"/>
              <a:gd name="T4" fmla="*/ 6 w 27"/>
              <a:gd name="T5" fmla="*/ 25 h 29"/>
              <a:gd name="T6" fmla="*/ 7 w 27"/>
              <a:gd name="T7" fmla="*/ 26 h 29"/>
              <a:gd name="T8" fmla="*/ 8 w 27"/>
              <a:gd name="T9" fmla="*/ 26 h 29"/>
              <a:gd name="T10" fmla="*/ 10 w 27"/>
              <a:gd name="T11" fmla="*/ 28 h 29"/>
              <a:gd name="T12" fmla="*/ 11 w 27"/>
              <a:gd name="T13" fmla="*/ 29 h 29"/>
              <a:gd name="T14" fmla="*/ 12 w 27"/>
              <a:gd name="T15" fmla="*/ 28 h 29"/>
              <a:gd name="T16" fmla="*/ 13 w 27"/>
              <a:gd name="T17" fmla="*/ 28 h 29"/>
              <a:gd name="T18" fmla="*/ 14 w 27"/>
              <a:gd name="T19" fmla="*/ 28 h 29"/>
              <a:gd name="T20" fmla="*/ 16 w 27"/>
              <a:gd name="T21" fmla="*/ 28 h 29"/>
              <a:gd name="T22" fmla="*/ 17 w 27"/>
              <a:gd name="T23" fmla="*/ 27 h 29"/>
              <a:gd name="T24" fmla="*/ 26 w 27"/>
              <a:gd name="T25" fmla="*/ 27 h 29"/>
              <a:gd name="T26" fmla="*/ 26 w 27"/>
              <a:gd name="T27" fmla="*/ 25 h 29"/>
              <a:gd name="T28" fmla="*/ 25 w 27"/>
              <a:gd name="T29" fmla="*/ 25 h 29"/>
              <a:gd name="T30" fmla="*/ 23 w 27"/>
              <a:gd name="T31" fmla="*/ 5 h 29"/>
              <a:gd name="T32" fmla="*/ 27 w 27"/>
              <a:gd name="T33" fmla="*/ 5 h 29"/>
              <a:gd name="T34" fmla="*/ 19 w 27"/>
              <a:gd name="T35" fmla="*/ 0 h 29"/>
              <a:gd name="T36" fmla="*/ 19 w 27"/>
              <a:gd name="T37" fmla="*/ 0 h 29"/>
              <a:gd name="T38" fmla="*/ 19 w 27"/>
              <a:gd name="T39" fmla="*/ 3 h 29"/>
              <a:gd name="T40" fmla="*/ 11 w 27"/>
              <a:gd name="T41" fmla="*/ 3 h 29"/>
              <a:gd name="T42" fmla="*/ 11 w 27"/>
              <a:gd name="T43" fmla="*/ 9 h 29"/>
              <a:gd name="T44" fmla="*/ 9 w 27"/>
              <a:gd name="T45" fmla="*/ 10 h 29"/>
              <a:gd name="T46" fmla="*/ 9 w 27"/>
              <a:gd name="T47" fmla="*/ 14 h 29"/>
              <a:gd name="T48" fmla="*/ 0 w 27"/>
              <a:gd name="T49" fmla="*/ 14 h 29"/>
              <a:gd name="T50" fmla="*/ 1 w 27"/>
              <a:gd name="T51" fmla="*/ 16 h 29"/>
              <a:gd name="T52" fmla="*/ 2 w 27"/>
              <a:gd name="T53" fmla="*/ 20 h 29"/>
              <a:gd name="T54" fmla="*/ 1 w 27"/>
              <a:gd name="T55" fmla="*/ 24 h 29"/>
              <a:gd name="T56" fmla="*/ 1 w 27"/>
              <a:gd name="T57" fmla="*/ 26 h 29"/>
              <a:gd name="T58" fmla="*/ 1 w 27"/>
              <a:gd name="T59" fmla="*/ 26 h 29"/>
              <a:gd name="T60" fmla="*/ 2 w 27"/>
              <a:gd name="T6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2" y="25"/>
                </a:moveTo>
                <a:cubicBezTo>
                  <a:pt x="3" y="25"/>
                  <a:pt x="4" y="25"/>
                  <a:pt x="4" y="25"/>
                </a:cubicBezTo>
                <a:cubicBezTo>
                  <a:pt x="4" y="25"/>
                  <a:pt x="5" y="25"/>
                  <a:pt x="6" y="25"/>
                </a:cubicBezTo>
                <a:cubicBezTo>
                  <a:pt x="7" y="25"/>
                  <a:pt x="7" y="26"/>
                  <a:pt x="7" y="26"/>
                </a:cubicBezTo>
                <a:cubicBezTo>
                  <a:pt x="8" y="26"/>
                  <a:pt x="8" y="26"/>
                  <a:pt x="8" y="26"/>
                </a:cubicBezTo>
                <a:cubicBezTo>
                  <a:pt x="8" y="26"/>
                  <a:pt x="9" y="28"/>
                  <a:pt x="10" y="28"/>
                </a:cubicBezTo>
                <a:cubicBezTo>
                  <a:pt x="10" y="28"/>
                  <a:pt x="10" y="29"/>
                  <a:pt x="11" y="29"/>
                </a:cubicBezTo>
                <a:cubicBezTo>
                  <a:pt x="11" y="29"/>
                  <a:pt x="12" y="29"/>
                  <a:pt x="12" y="28"/>
                </a:cubicBezTo>
                <a:cubicBezTo>
                  <a:pt x="12" y="28"/>
                  <a:pt x="12" y="27"/>
                  <a:pt x="13" y="28"/>
                </a:cubicBezTo>
                <a:cubicBezTo>
                  <a:pt x="14" y="29"/>
                  <a:pt x="14" y="28"/>
                  <a:pt x="14" y="28"/>
                </a:cubicBezTo>
                <a:cubicBezTo>
                  <a:pt x="14" y="27"/>
                  <a:pt x="15" y="28"/>
                  <a:pt x="16" y="28"/>
                </a:cubicBezTo>
                <a:cubicBezTo>
                  <a:pt x="16" y="28"/>
                  <a:pt x="17" y="27"/>
                  <a:pt x="17" y="27"/>
                </a:cubicBezTo>
                <a:cubicBezTo>
                  <a:pt x="17" y="27"/>
                  <a:pt x="25" y="27"/>
                  <a:pt x="26" y="27"/>
                </a:cubicBezTo>
                <a:cubicBezTo>
                  <a:pt x="26" y="27"/>
                  <a:pt x="26" y="25"/>
                  <a:pt x="26" y="25"/>
                </a:cubicBezTo>
                <a:cubicBezTo>
                  <a:pt x="25" y="25"/>
                  <a:pt x="25" y="25"/>
                  <a:pt x="25" y="25"/>
                </a:cubicBezTo>
                <a:cubicBezTo>
                  <a:pt x="23" y="5"/>
                  <a:pt x="23" y="5"/>
                  <a:pt x="23" y="5"/>
                </a:cubicBezTo>
                <a:cubicBezTo>
                  <a:pt x="27" y="5"/>
                  <a:pt x="27" y="5"/>
                  <a:pt x="27" y="5"/>
                </a:cubicBezTo>
                <a:cubicBezTo>
                  <a:pt x="23" y="2"/>
                  <a:pt x="20" y="0"/>
                  <a:pt x="19" y="0"/>
                </a:cubicBezTo>
                <a:cubicBezTo>
                  <a:pt x="19" y="0"/>
                  <a:pt x="19" y="0"/>
                  <a:pt x="19" y="0"/>
                </a:cubicBezTo>
                <a:cubicBezTo>
                  <a:pt x="19" y="1"/>
                  <a:pt x="19" y="3"/>
                  <a:pt x="19" y="3"/>
                </a:cubicBezTo>
                <a:cubicBezTo>
                  <a:pt x="18" y="3"/>
                  <a:pt x="11" y="3"/>
                  <a:pt x="11" y="3"/>
                </a:cubicBezTo>
                <a:cubicBezTo>
                  <a:pt x="11" y="9"/>
                  <a:pt x="11" y="9"/>
                  <a:pt x="11" y="9"/>
                </a:cubicBezTo>
                <a:cubicBezTo>
                  <a:pt x="11" y="9"/>
                  <a:pt x="9" y="10"/>
                  <a:pt x="9" y="10"/>
                </a:cubicBezTo>
                <a:cubicBezTo>
                  <a:pt x="9" y="14"/>
                  <a:pt x="9" y="14"/>
                  <a:pt x="9" y="14"/>
                </a:cubicBezTo>
                <a:cubicBezTo>
                  <a:pt x="0" y="14"/>
                  <a:pt x="0" y="14"/>
                  <a:pt x="0" y="14"/>
                </a:cubicBezTo>
                <a:cubicBezTo>
                  <a:pt x="0" y="15"/>
                  <a:pt x="1" y="16"/>
                  <a:pt x="1" y="16"/>
                </a:cubicBezTo>
                <a:cubicBezTo>
                  <a:pt x="2" y="17"/>
                  <a:pt x="1" y="18"/>
                  <a:pt x="2" y="20"/>
                </a:cubicBezTo>
                <a:cubicBezTo>
                  <a:pt x="3" y="21"/>
                  <a:pt x="2" y="23"/>
                  <a:pt x="1" y="24"/>
                </a:cubicBezTo>
                <a:cubicBezTo>
                  <a:pt x="1" y="25"/>
                  <a:pt x="1" y="25"/>
                  <a:pt x="1" y="26"/>
                </a:cubicBezTo>
                <a:cubicBezTo>
                  <a:pt x="1" y="26"/>
                  <a:pt x="1" y="26"/>
                  <a:pt x="1" y="26"/>
                </a:cubicBezTo>
                <a:cubicBezTo>
                  <a:pt x="2" y="26"/>
                  <a:pt x="1" y="25"/>
                  <a:pt x="2"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7"/>
          <p:cNvSpPr>
            <a:spLocks/>
          </p:cNvSpPr>
          <p:nvPr/>
        </p:nvSpPr>
        <p:spPr bwMode="auto">
          <a:xfrm>
            <a:off x="2069272" y="3003686"/>
            <a:ext cx="178742" cy="171593"/>
          </a:xfrm>
          <a:custGeom>
            <a:avLst/>
            <a:gdLst>
              <a:gd name="T0" fmla="*/ 35 w 37"/>
              <a:gd name="T1" fmla="*/ 14 h 35"/>
              <a:gd name="T2" fmla="*/ 33 w 37"/>
              <a:gd name="T3" fmla="*/ 12 h 35"/>
              <a:gd name="T4" fmla="*/ 31 w 37"/>
              <a:gd name="T5" fmla="*/ 11 h 35"/>
              <a:gd name="T6" fmla="*/ 30 w 37"/>
              <a:gd name="T7" fmla="*/ 9 h 35"/>
              <a:gd name="T8" fmla="*/ 16 w 37"/>
              <a:gd name="T9" fmla="*/ 0 h 35"/>
              <a:gd name="T10" fmla="*/ 12 w 37"/>
              <a:gd name="T11" fmla="*/ 0 h 35"/>
              <a:gd name="T12" fmla="*/ 14 w 37"/>
              <a:gd name="T13" fmla="*/ 20 h 35"/>
              <a:gd name="T14" fmla="*/ 15 w 37"/>
              <a:gd name="T15" fmla="*/ 20 h 35"/>
              <a:gd name="T16" fmla="*/ 15 w 37"/>
              <a:gd name="T17" fmla="*/ 22 h 35"/>
              <a:gd name="T18" fmla="*/ 6 w 37"/>
              <a:gd name="T19" fmla="*/ 22 h 35"/>
              <a:gd name="T20" fmla="*/ 5 w 37"/>
              <a:gd name="T21" fmla="*/ 23 h 35"/>
              <a:gd name="T22" fmla="*/ 3 w 37"/>
              <a:gd name="T23" fmla="*/ 23 h 35"/>
              <a:gd name="T24" fmla="*/ 2 w 37"/>
              <a:gd name="T25" fmla="*/ 23 h 35"/>
              <a:gd name="T26" fmla="*/ 1 w 37"/>
              <a:gd name="T27" fmla="*/ 23 h 35"/>
              <a:gd name="T28" fmla="*/ 0 w 37"/>
              <a:gd name="T29" fmla="*/ 24 h 35"/>
              <a:gd name="T30" fmla="*/ 0 w 37"/>
              <a:gd name="T31" fmla="*/ 25 h 35"/>
              <a:gd name="T32" fmla="*/ 0 w 37"/>
              <a:gd name="T33" fmla="*/ 25 h 35"/>
              <a:gd name="T34" fmla="*/ 0 w 37"/>
              <a:gd name="T35" fmla="*/ 27 h 35"/>
              <a:gd name="T36" fmla="*/ 2 w 37"/>
              <a:gd name="T37" fmla="*/ 28 h 35"/>
              <a:gd name="T38" fmla="*/ 2 w 37"/>
              <a:gd name="T39" fmla="*/ 30 h 35"/>
              <a:gd name="T40" fmla="*/ 2 w 37"/>
              <a:gd name="T41" fmla="*/ 30 h 35"/>
              <a:gd name="T42" fmla="*/ 4 w 37"/>
              <a:gd name="T43" fmla="*/ 30 h 35"/>
              <a:gd name="T44" fmla="*/ 5 w 37"/>
              <a:gd name="T45" fmla="*/ 30 h 35"/>
              <a:gd name="T46" fmla="*/ 7 w 37"/>
              <a:gd name="T47" fmla="*/ 29 h 35"/>
              <a:gd name="T48" fmla="*/ 7 w 37"/>
              <a:gd name="T49" fmla="*/ 31 h 35"/>
              <a:gd name="T50" fmla="*/ 8 w 37"/>
              <a:gd name="T51" fmla="*/ 32 h 35"/>
              <a:gd name="T52" fmla="*/ 8 w 37"/>
              <a:gd name="T53" fmla="*/ 33 h 35"/>
              <a:gd name="T54" fmla="*/ 9 w 37"/>
              <a:gd name="T55" fmla="*/ 34 h 35"/>
              <a:gd name="T56" fmla="*/ 10 w 37"/>
              <a:gd name="T57" fmla="*/ 34 h 35"/>
              <a:gd name="T58" fmla="*/ 11 w 37"/>
              <a:gd name="T59" fmla="*/ 34 h 35"/>
              <a:gd name="T60" fmla="*/ 12 w 37"/>
              <a:gd name="T61" fmla="*/ 34 h 35"/>
              <a:gd name="T62" fmla="*/ 13 w 37"/>
              <a:gd name="T63" fmla="*/ 34 h 35"/>
              <a:gd name="T64" fmla="*/ 14 w 37"/>
              <a:gd name="T65" fmla="*/ 34 h 35"/>
              <a:gd name="T66" fmla="*/ 15 w 37"/>
              <a:gd name="T67" fmla="*/ 34 h 35"/>
              <a:gd name="T68" fmla="*/ 15 w 37"/>
              <a:gd name="T69" fmla="*/ 32 h 35"/>
              <a:gd name="T70" fmla="*/ 15 w 37"/>
              <a:gd name="T71" fmla="*/ 31 h 35"/>
              <a:gd name="T72" fmla="*/ 17 w 37"/>
              <a:gd name="T73" fmla="*/ 30 h 35"/>
              <a:gd name="T74" fmla="*/ 18 w 37"/>
              <a:gd name="T75" fmla="*/ 28 h 35"/>
              <a:gd name="T76" fmla="*/ 18 w 37"/>
              <a:gd name="T77" fmla="*/ 27 h 35"/>
              <a:gd name="T78" fmla="*/ 20 w 37"/>
              <a:gd name="T79" fmla="*/ 27 h 35"/>
              <a:gd name="T80" fmla="*/ 21 w 37"/>
              <a:gd name="T81" fmla="*/ 26 h 35"/>
              <a:gd name="T82" fmla="*/ 22 w 37"/>
              <a:gd name="T83" fmla="*/ 25 h 35"/>
              <a:gd name="T84" fmla="*/ 23 w 37"/>
              <a:gd name="T85" fmla="*/ 25 h 35"/>
              <a:gd name="T86" fmla="*/ 25 w 37"/>
              <a:gd name="T87" fmla="*/ 24 h 35"/>
              <a:gd name="T88" fmla="*/ 26 w 37"/>
              <a:gd name="T89" fmla="*/ 23 h 35"/>
              <a:gd name="T90" fmla="*/ 29 w 37"/>
              <a:gd name="T91" fmla="*/ 23 h 35"/>
              <a:gd name="T92" fmla="*/ 31 w 37"/>
              <a:gd name="T93" fmla="*/ 23 h 35"/>
              <a:gd name="T94" fmla="*/ 34 w 37"/>
              <a:gd name="T95" fmla="*/ 23 h 35"/>
              <a:gd name="T96" fmla="*/ 36 w 37"/>
              <a:gd name="T97" fmla="*/ 22 h 35"/>
              <a:gd name="T98" fmla="*/ 36 w 37"/>
              <a:gd name="T99" fmla="*/ 20 h 35"/>
              <a:gd name="T100" fmla="*/ 36 w 37"/>
              <a:gd name="T101" fmla="*/ 14 h 35"/>
              <a:gd name="T102" fmla="*/ 35 w 37"/>
              <a:gd name="T10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35">
                <a:moveTo>
                  <a:pt x="35" y="14"/>
                </a:moveTo>
                <a:cubicBezTo>
                  <a:pt x="35" y="14"/>
                  <a:pt x="35" y="13"/>
                  <a:pt x="33" y="12"/>
                </a:cubicBezTo>
                <a:cubicBezTo>
                  <a:pt x="32" y="11"/>
                  <a:pt x="31" y="11"/>
                  <a:pt x="31" y="11"/>
                </a:cubicBezTo>
                <a:cubicBezTo>
                  <a:pt x="31" y="11"/>
                  <a:pt x="30" y="10"/>
                  <a:pt x="30" y="9"/>
                </a:cubicBezTo>
                <a:cubicBezTo>
                  <a:pt x="29" y="9"/>
                  <a:pt x="22" y="4"/>
                  <a:pt x="16" y="0"/>
                </a:cubicBezTo>
                <a:cubicBezTo>
                  <a:pt x="12" y="0"/>
                  <a:pt x="12" y="0"/>
                  <a:pt x="12" y="0"/>
                </a:cubicBezTo>
                <a:cubicBezTo>
                  <a:pt x="14" y="20"/>
                  <a:pt x="14" y="20"/>
                  <a:pt x="14" y="20"/>
                </a:cubicBezTo>
                <a:cubicBezTo>
                  <a:pt x="15" y="20"/>
                  <a:pt x="15" y="20"/>
                  <a:pt x="15" y="20"/>
                </a:cubicBezTo>
                <a:cubicBezTo>
                  <a:pt x="15" y="20"/>
                  <a:pt x="15" y="22"/>
                  <a:pt x="15" y="22"/>
                </a:cubicBezTo>
                <a:cubicBezTo>
                  <a:pt x="14" y="22"/>
                  <a:pt x="6" y="22"/>
                  <a:pt x="6" y="22"/>
                </a:cubicBezTo>
                <a:cubicBezTo>
                  <a:pt x="6" y="22"/>
                  <a:pt x="5" y="23"/>
                  <a:pt x="5" y="23"/>
                </a:cubicBezTo>
                <a:cubicBezTo>
                  <a:pt x="4" y="23"/>
                  <a:pt x="3" y="22"/>
                  <a:pt x="3" y="23"/>
                </a:cubicBezTo>
                <a:cubicBezTo>
                  <a:pt x="3" y="23"/>
                  <a:pt x="3" y="24"/>
                  <a:pt x="2" y="23"/>
                </a:cubicBezTo>
                <a:cubicBezTo>
                  <a:pt x="1" y="22"/>
                  <a:pt x="1" y="23"/>
                  <a:pt x="1" y="23"/>
                </a:cubicBezTo>
                <a:cubicBezTo>
                  <a:pt x="1" y="24"/>
                  <a:pt x="0" y="24"/>
                  <a:pt x="0" y="24"/>
                </a:cubicBezTo>
                <a:cubicBezTo>
                  <a:pt x="0" y="24"/>
                  <a:pt x="0" y="25"/>
                  <a:pt x="0" y="25"/>
                </a:cubicBezTo>
                <a:cubicBezTo>
                  <a:pt x="0" y="25"/>
                  <a:pt x="0" y="25"/>
                  <a:pt x="0" y="25"/>
                </a:cubicBezTo>
                <a:cubicBezTo>
                  <a:pt x="0" y="25"/>
                  <a:pt x="0" y="26"/>
                  <a:pt x="0" y="27"/>
                </a:cubicBezTo>
                <a:cubicBezTo>
                  <a:pt x="1" y="27"/>
                  <a:pt x="2" y="28"/>
                  <a:pt x="2" y="28"/>
                </a:cubicBezTo>
                <a:cubicBezTo>
                  <a:pt x="2" y="28"/>
                  <a:pt x="2" y="30"/>
                  <a:pt x="2" y="30"/>
                </a:cubicBezTo>
                <a:cubicBezTo>
                  <a:pt x="2" y="30"/>
                  <a:pt x="2" y="31"/>
                  <a:pt x="2" y="30"/>
                </a:cubicBezTo>
                <a:cubicBezTo>
                  <a:pt x="3" y="30"/>
                  <a:pt x="3" y="31"/>
                  <a:pt x="4" y="30"/>
                </a:cubicBezTo>
                <a:cubicBezTo>
                  <a:pt x="4" y="29"/>
                  <a:pt x="5" y="30"/>
                  <a:pt x="5" y="30"/>
                </a:cubicBezTo>
                <a:cubicBezTo>
                  <a:pt x="5" y="30"/>
                  <a:pt x="6" y="29"/>
                  <a:pt x="7" y="29"/>
                </a:cubicBezTo>
                <a:cubicBezTo>
                  <a:pt x="7" y="29"/>
                  <a:pt x="7" y="30"/>
                  <a:pt x="7" y="31"/>
                </a:cubicBezTo>
                <a:cubicBezTo>
                  <a:pt x="7" y="31"/>
                  <a:pt x="9" y="32"/>
                  <a:pt x="8" y="32"/>
                </a:cubicBezTo>
                <a:cubicBezTo>
                  <a:pt x="8" y="32"/>
                  <a:pt x="8" y="33"/>
                  <a:pt x="8" y="33"/>
                </a:cubicBezTo>
                <a:cubicBezTo>
                  <a:pt x="9" y="33"/>
                  <a:pt x="9" y="33"/>
                  <a:pt x="9" y="34"/>
                </a:cubicBezTo>
                <a:cubicBezTo>
                  <a:pt x="9" y="34"/>
                  <a:pt x="10" y="35"/>
                  <a:pt x="10" y="34"/>
                </a:cubicBezTo>
                <a:cubicBezTo>
                  <a:pt x="10" y="33"/>
                  <a:pt x="11" y="34"/>
                  <a:pt x="11" y="34"/>
                </a:cubicBezTo>
                <a:cubicBezTo>
                  <a:pt x="11" y="35"/>
                  <a:pt x="12" y="34"/>
                  <a:pt x="12" y="34"/>
                </a:cubicBezTo>
                <a:cubicBezTo>
                  <a:pt x="12" y="33"/>
                  <a:pt x="13" y="33"/>
                  <a:pt x="13" y="34"/>
                </a:cubicBezTo>
                <a:cubicBezTo>
                  <a:pt x="13" y="34"/>
                  <a:pt x="13" y="34"/>
                  <a:pt x="14" y="34"/>
                </a:cubicBezTo>
                <a:cubicBezTo>
                  <a:pt x="14" y="34"/>
                  <a:pt x="14" y="34"/>
                  <a:pt x="15" y="34"/>
                </a:cubicBezTo>
                <a:cubicBezTo>
                  <a:pt x="15" y="33"/>
                  <a:pt x="15" y="32"/>
                  <a:pt x="15" y="32"/>
                </a:cubicBezTo>
                <a:cubicBezTo>
                  <a:pt x="16" y="32"/>
                  <a:pt x="15" y="31"/>
                  <a:pt x="15" y="31"/>
                </a:cubicBezTo>
                <a:cubicBezTo>
                  <a:pt x="16" y="30"/>
                  <a:pt x="17" y="31"/>
                  <a:pt x="17" y="30"/>
                </a:cubicBezTo>
                <a:cubicBezTo>
                  <a:pt x="17" y="29"/>
                  <a:pt x="18" y="28"/>
                  <a:pt x="18" y="28"/>
                </a:cubicBezTo>
                <a:cubicBezTo>
                  <a:pt x="18" y="28"/>
                  <a:pt x="18" y="26"/>
                  <a:pt x="18" y="27"/>
                </a:cubicBezTo>
                <a:cubicBezTo>
                  <a:pt x="19" y="27"/>
                  <a:pt x="20" y="28"/>
                  <a:pt x="20" y="27"/>
                </a:cubicBezTo>
                <a:cubicBezTo>
                  <a:pt x="20" y="26"/>
                  <a:pt x="21" y="27"/>
                  <a:pt x="21" y="26"/>
                </a:cubicBezTo>
                <a:cubicBezTo>
                  <a:pt x="21" y="25"/>
                  <a:pt x="21" y="25"/>
                  <a:pt x="22" y="25"/>
                </a:cubicBezTo>
                <a:cubicBezTo>
                  <a:pt x="22" y="25"/>
                  <a:pt x="23" y="25"/>
                  <a:pt x="23" y="25"/>
                </a:cubicBezTo>
                <a:cubicBezTo>
                  <a:pt x="23" y="24"/>
                  <a:pt x="24" y="25"/>
                  <a:pt x="25" y="24"/>
                </a:cubicBezTo>
                <a:cubicBezTo>
                  <a:pt x="25" y="23"/>
                  <a:pt x="26" y="23"/>
                  <a:pt x="26" y="23"/>
                </a:cubicBezTo>
                <a:cubicBezTo>
                  <a:pt x="27" y="24"/>
                  <a:pt x="29" y="24"/>
                  <a:pt x="29" y="23"/>
                </a:cubicBezTo>
                <a:cubicBezTo>
                  <a:pt x="29" y="23"/>
                  <a:pt x="30" y="23"/>
                  <a:pt x="31" y="23"/>
                </a:cubicBezTo>
                <a:cubicBezTo>
                  <a:pt x="32" y="23"/>
                  <a:pt x="33" y="23"/>
                  <a:pt x="34" y="23"/>
                </a:cubicBezTo>
                <a:cubicBezTo>
                  <a:pt x="35" y="23"/>
                  <a:pt x="35" y="22"/>
                  <a:pt x="36" y="22"/>
                </a:cubicBezTo>
                <a:cubicBezTo>
                  <a:pt x="36" y="21"/>
                  <a:pt x="36" y="20"/>
                  <a:pt x="36" y="20"/>
                </a:cubicBezTo>
                <a:cubicBezTo>
                  <a:pt x="37" y="20"/>
                  <a:pt x="36" y="16"/>
                  <a:pt x="36" y="14"/>
                </a:cubicBezTo>
                <a:cubicBezTo>
                  <a:pt x="36" y="14"/>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8"/>
          <p:cNvSpPr>
            <a:spLocks/>
          </p:cNvSpPr>
          <p:nvPr/>
        </p:nvSpPr>
        <p:spPr bwMode="auto">
          <a:xfrm>
            <a:off x="2144344" y="3114506"/>
            <a:ext cx="85796" cy="64347"/>
          </a:xfrm>
          <a:custGeom>
            <a:avLst/>
            <a:gdLst>
              <a:gd name="T0" fmla="*/ 18 w 18"/>
              <a:gd name="T1" fmla="*/ 7 h 13"/>
              <a:gd name="T2" fmla="*/ 17 w 18"/>
              <a:gd name="T3" fmla="*/ 7 h 13"/>
              <a:gd name="T4" fmla="*/ 17 w 18"/>
              <a:gd name="T5" fmla="*/ 6 h 13"/>
              <a:gd name="T6" fmla="*/ 16 w 18"/>
              <a:gd name="T7" fmla="*/ 6 h 13"/>
              <a:gd name="T8" fmla="*/ 15 w 18"/>
              <a:gd name="T9" fmla="*/ 5 h 13"/>
              <a:gd name="T10" fmla="*/ 14 w 18"/>
              <a:gd name="T11" fmla="*/ 4 h 13"/>
              <a:gd name="T12" fmla="*/ 13 w 18"/>
              <a:gd name="T13" fmla="*/ 3 h 13"/>
              <a:gd name="T14" fmla="*/ 13 w 18"/>
              <a:gd name="T15" fmla="*/ 2 h 13"/>
              <a:gd name="T16" fmla="*/ 13 w 18"/>
              <a:gd name="T17" fmla="*/ 1 h 13"/>
              <a:gd name="T18" fmla="*/ 11 w 18"/>
              <a:gd name="T19" fmla="*/ 0 h 13"/>
              <a:gd name="T20" fmla="*/ 10 w 18"/>
              <a:gd name="T21" fmla="*/ 1 h 13"/>
              <a:gd name="T22" fmla="*/ 8 w 18"/>
              <a:gd name="T23" fmla="*/ 2 h 13"/>
              <a:gd name="T24" fmla="*/ 7 w 18"/>
              <a:gd name="T25" fmla="*/ 2 h 13"/>
              <a:gd name="T26" fmla="*/ 6 w 18"/>
              <a:gd name="T27" fmla="*/ 3 h 13"/>
              <a:gd name="T28" fmla="*/ 5 w 18"/>
              <a:gd name="T29" fmla="*/ 4 h 13"/>
              <a:gd name="T30" fmla="*/ 3 w 18"/>
              <a:gd name="T31" fmla="*/ 4 h 13"/>
              <a:gd name="T32" fmla="*/ 3 w 18"/>
              <a:gd name="T33" fmla="*/ 5 h 13"/>
              <a:gd name="T34" fmla="*/ 2 w 18"/>
              <a:gd name="T35" fmla="*/ 7 h 13"/>
              <a:gd name="T36" fmla="*/ 0 w 18"/>
              <a:gd name="T37" fmla="*/ 8 h 13"/>
              <a:gd name="T38" fmla="*/ 0 w 18"/>
              <a:gd name="T39" fmla="*/ 9 h 13"/>
              <a:gd name="T40" fmla="*/ 0 w 18"/>
              <a:gd name="T41" fmla="*/ 11 h 13"/>
              <a:gd name="T42" fmla="*/ 1 w 18"/>
              <a:gd name="T43" fmla="*/ 11 h 13"/>
              <a:gd name="T44" fmla="*/ 3 w 18"/>
              <a:gd name="T45" fmla="*/ 12 h 13"/>
              <a:gd name="T46" fmla="*/ 5 w 18"/>
              <a:gd name="T47" fmla="*/ 12 h 13"/>
              <a:gd name="T48" fmla="*/ 6 w 18"/>
              <a:gd name="T49" fmla="*/ 12 h 13"/>
              <a:gd name="T50" fmla="*/ 6 w 18"/>
              <a:gd name="T51" fmla="*/ 10 h 13"/>
              <a:gd name="T52" fmla="*/ 11 w 18"/>
              <a:gd name="T53" fmla="*/ 10 h 13"/>
              <a:gd name="T54" fmla="*/ 12 w 18"/>
              <a:gd name="T55" fmla="*/ 9 h 13"/>
              <a:gd name="T56" fmla="*/ 14 w 18"/>
              <a:gd name="T57" fmla="*/ 9 h 13"/>
              <a:gd name="T58" fmla="*/ 15 w 18"/>
              <a:gd name="T59" fmla="*/ 9 h 13"/>
              <a:gd name="T60" fmla="*/ 17 w 18"/>
              <a:gd name="T61" fmla="*/ 8 h 13"/>
              <a:gd name="T62" fmla="*/ 18 w 18"/>
              <a:gd name="T63" fmla="*/ 7 h 13"/>
              <a:gd name="T64" fmla="*/ 18 w 18"/>
              <a:gd name="T6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8" y="7"/>
                </a:moveTo>
                <a:cubicBezTo>
                  <a:pt x="17" y="7"/>
                  <a:pt x="17" y="7"/>
                  <a:pt x="17" y="7"/>
                </a:cubicBezTo>
                <a:cubicBezTo>
                  <a:pt x="17" y="7"/>
                  <a:pt x="17" y="6"/>
                  <a:pt x="17" y="6"/>
                </a:cubicBezTo>
                <a:cubicBezTo>
                  <a:pt x="17" y="6"/>
                  <a:pt x="16" y="6"/>
                  <a:pt x="16" y="6"/>
                </a:cubicBezTo>
                <a:cubicBezTo>
                  <a:pt x="15" y="6"/>
                  <a:pt x="15" y="5"/>
                  <a:pt x="15" y="5"/>
                </a:cubicBezTo>
                <a:cubicBezTo>
                  <a:pt x="14" y="5"/>
                  <a:pt x="14" y="5"/>
                  <a:pt x="14" y="4"/>
                </a:cubicBezTo>
                <a:cubicBezTo>
                  <a:pt x="14" y="4"/>
                  <a:pt x="14" y="3"/>
                  <a:pt x="13" y="3"/>
                </a:cubicBezTo>
                <a:cubicBezTo>
                  <a:pt x="13" y="3"/>
                  <a:pt x="13" y="2"/>
                  <a:pt x="13" y="2"/>
                </a:cubicBezTo>
                <a:cubicBezTo>
                  <a:pt x="12" y="2"/>
                  <a:pt x="12" y="1"/>
                  <a:pt x="13" y="1"/>
                </a:cubicBezTo>
                <a:cubicBezTo>
                  <a:pt x="12" y="1"/>
                  <a:pt x="11" y="0"/>
                  <a:pt x="11" y="0"/>
                </a:cubicBezTo>
                <a:cubicBezTo>
                  <a:pt x="11" y="0"/>
                  <a:pt x="10" y="0"/>
                  <a:pt x="10" y="1"/>
                </a:cubicBezTo>
                <a:cubicBezTo>
                  <a:pt x="9" y="2"/>
                  <a:pt x="8" y="1"/>
                  <a:pt x="8" y="2"/>
                </a:cubicBezTo>
                <a:cubicBezTo>
                  <a:pt x="8" y="2"/>
                  <a:pt x="7" y="2"/>
                  <a:pt x="7" y="2"/>
                </a:cubicBezTo>
                <a:cubicBezTo>
                  <a:pt x="6" y="2"/>
                  <a:pt x="6" y="2"/>
                  <a:pt x="6" y="3"/>
                </a:cubicBezTo>
                <a:cubicBezTo>
                  <a:pt x="6" y="4"/>
                  <a:pt x="5" y="3"/>
                  <a:pt x="5" y="4"/>
                </a:cubicBezTo>
                <a:cubicBezTo>
                  <a:pt x="5" y="5"/>
                  <a:pt x="4" y="4"/>
                  <a:pt x="3" y="4"/>
                </a:cubicBezTo>
                <a:cubicBezTo>
                  <a:pt x="3" y="3"/>
                  <a:pt x="3" y="5"/>
                  <a:pt x="3" y="5"/>
                </a:cubicBezTo>
                <a:cubicBezTo>
                  <a:pt x="3" y="5"/>
                  <a:pt x="2" y="6"/>
                  <a:pt x="2" y="7"/>
                </a:cubicBezTo>
                <a:cubicBezTo>
                  <a:pt x="2" y="8"/>
                  <a:pt x="1" y="7"/>
                  <a:pt x="0" y="8"/>
                </a:cubicBezTo>
                <a:cubicBezTo>
                  <a:pt x="0" y="8"/>
                  <a:pt x="1" y="9"/>
                  <a:pt x="0" y="9"/>
                </a:cubicBezTo>
                <a:cubicBezTo>
                  <a:pt x="0" y="9"/>
                  <a:pt x="0" y="10"/>
                  <a:pt x="0" y="11"/>
                </a:cubicBezTo>
                <a:cubicBezTo>
                  <a:pt x="0" y="11"/>
                  <a:pt x="1" y="11"/>
                  <a:pt x="1" y="11"/>
                </a:cubicBezTo>
                <a:cubicBezTo>
                  <a:pt x="1" y="12"/>
                  <a:pt x="2" y="13"/>
                  <a:pt x="3" y="12"/>
                </a:cubicBezTo>
                <a:cubicBezTo>
                  <a:pt x="3" y="12"/>
                  <a:pt x="5" y="12"/>
                  <a:pt x="5" y="12"/>
                </a:cubicBezTo>
                <a:cubicBezTo>
                  <a:pt x="6" y="12"/>
                  <a:pt x="6" y="12"/>
                  <a:pt x="6" y="12"/>
                </a:cubicBezTo>
                <a:cubicBezTo>
                  <a:pt x="6" y="11"/>
                  <a:pt x="5" y="10"/>
                  <a:pt x="6" y="10"/>
                </a:cubicBezTo>
                <a:cubicBezTo>
                  <a:pt x="6" y="9"/>
                  <a:pt x="11" y="9"/>
                  <a:pt x="11" y="10"/>
                </a:cubicBezTo>
                <a:cubicBezTo>
                  <a:pt x="11" y="10"/>
                  <a:pt x="11" y="9"/>
                  <a:pt x="12" y="9"/>
                </a:cubicBezTo>
                <a:cubicBezTo>
                  <a:pt x="13" y="9"/>
                  <a:pt x="14" y="10"/>
                  <a:pt x="14" y="9"/>
                </a:cubicBezTo>
                <a:cubicBezTo>
                  <a:pt x="15" y="9"/>
                  <a:pt x="15" y="9"/>
                  <a:pt x="15" y="9"/>
                </a:cubicBezTo>
                <a:cubicBezTo>
                  <a:pt x="16" y="9"/>
                  <a:pt x="17" y="8"/>
                  <a:pt x="17" y="8"/>
                </a:cubicBezTo>
                <a:cubicBezTo>
                  <a:pt x="17" y="8"/>
                  <a:pt x="18" y="8"/>
                  <a:pt x="18" y="7"/>
                </a:cubicBezTo>
                <a:cubicBezTo>
                  <a:pt x="18" y="7"/>
                  <a:pt x="18" y="7"/>
                  <a:pt x="1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69"/>
          <p:cNvSpPr>
            <a:spLocks/>
          </p:cNvSpPr>
          <p:nvPr/>
        </p:nvSpPr>
        <p:spPr bwMode="auto">
          <a:xfrm>
            <a:off x="2201541" y="3025135"/>
            <a:ext cx="168018" cy="128695"/>
          </a:xfrm>
          <a:custGeom>
            <a:avLst/>
            <a:gdLst>
              <a:gd name="T0" fmla="*/ 33 w 35"/>
              <a:gd name="T1" fmla="*/ 4 h 27"/>
              <a:gd name="T2" fmla="*/ 33 w 35"/>
              <a:gd name="T3" fmla="*/ 1 h 27"/>
              <a:gd name="T4" fmla="*/ 31 w 35"/>
              <a:gd name="T5" fmla="*/ 2 h 27"/>
              <a:gd name="T6" fmla="*/ 30 w 35"/>
              <a:gd name="T7" fmla="*/ 0 h 27"/>
              <a:gd name="T8" fmla="*/ 27 w 35"/>
              <a:gd name="T9" fmla="*/ 0 h 27"/>
              <a:gd name="T10" fmla="*/ 17 w 35"/>
              <a:gd name="T11" fmla="*/ 6 h 27"/>
              <a:gd name="T12" fmla="*/ 13 w 35"/>
              <a:gd name="T13" fmla="*/ 9 h 27"/>
              <a:gd name="T14" fmla="*/ 10 w 35"/>
              <a:gd name="T15" fmla="*/ 10 h 27"/>
              <a:gd name="T16" fmla="*/ 9 w 35"/>
              <a:gd name="T17" fmla="*/ 10 h 27"/>
              <a:gd name="T18" fmla="*/ 9 w 35"/>
              <a:gd name="T19" fmla="*/ 16 h 27"/>
              <a:gd name="T20" fmla="*/ 9 w 35"/>
              <a:gd name="T21" fmla="*/ 18 h 27"/>
              <a:gd name="T22" fmla="*/ 7 w 35"/>
              <a:gd name="T23" fmla="*/ 19 h 27"/>
              <a:gd name="T24" fmla="*/ 4 w 35"/>
              <a:gd name="T25" fmla="*/ 19 h 27"/>
              <a:gd name="T26" fmla="*/ 2 w 35"/>
              <a:gd name="T27" fmla="*/ 19 h 27"/>
              <a:gd name="T28" fmla="*/ 1 w 35"/>
              <a:gd name="T29" fmla="*/ 20 h 27"/>
              <a:gd name="T30" fmla="*/ 1 w 35"/>
              <a:gd name="T31" fmla="*/ 21 h 27"/>
              <a:gd name="T32" fmla="*/ 1 w 35"/>
              <a:gd name="T33" fmla="*/ 22 h 27"/>
              <a:gd name="T34" fmla="*/ 2 w 35"/>
              <a:gd name="T35" fmla="*/ 23 h 27"/>
              <a:gd name="T36" fmla="*/ 3 w 35"/>
              <a:gd name="T37" fmla="*/ 24 h 27"/>
              <a:gd name="T38" fmla="*/ 4 w 35"/>
              <a:gd name="T39" fmla="*/ 25 h 27"/>
              <a:gd name="T40" fmla="*/ 5 w 35"/>
              <a:gd name="T41" fmla="*/ 25 h 27"/>
              <a:gd name="T42" fmla="*/ 5 w 35"/>
              <a:gd name="T43" fmla="*/ 26 h 27"/>
              <a:gd name="T44" fmla="*/ 6 w 35"/>
              <a:gd name="T45" fmla="*/ 26 h 27"/>
              <a:gd name="T46" fmla="*/ 7 w 35"/>
              <a:gd name="T47" fmla="*/ 25 h 27"/>
              <a:gd name="T48" fmla="*/ 7 w 35"/>
              <a:gd name="T49" fmla="*/ 26 h 27"/>
              <a:gd name="T50" fmla="*/ 8 w 35"/>
              <a:gd name="T51" fmla="*/ 26 h 27"/>
              <a:gd name="T52" fmla="*/ 9 w 35"/>
              <a:gd name="T53" fmla="*/ 24 h 27"/>
              <a:gd name="T54" fmla="*/ 10 w 35"/>
              <a:gd name="T55" fmla="*/ 23 h 27"/>
              <a:gd name="T56" fmla="*/ 12 w 35"/>
              <a:gd name="T57" fmla="*/ 23 h 27"/>
              <a:gd name="T58" fmla="*/ 13 w 35"/>
              <a:gd name="T59" fmla="*/ 22 h 27"/>
              <a:gd name="T60" fmla="*/ 15 w 35"/>
              <a:gd name="T61" fmla="*/ 23 h 27"/>
              <a:gd name="T62" fmla="*/ 16 w 35"/>
              <a:gd name="T63" fmla="*/ 24 h 27"/>
              <a:gd name="T64" fmla="*/ 18 w 35"/>
              <a:gd name="T65" fmla="*/ 23 h 27"/>
              <a:gd name="T66" fmla="*/ 20 w 35"/>
              <a:gd name="T67" fmla="*/ 24 h 27"/>
              <a:gd name="T68" fmla="*/ 22 w 35"/>
              <a:gd name="T69" fmla="*/ 24 h 27"/>
              <a:gd name="T70" fmla="*/ 23 w 35"/>
              <a:gd name="T71" fmla="*/ 23 h 27"/>
              <a:gd name="T72" fmla="*/ 26 w 35"/>
              <a:gd name="T73" fmla="*/ 23 h 27"/>
              <a:gd name="T74" fmla="*/ 28 w 35"/>
              <a:gd name="T75" fmla="*/ 24 h 27"/>
              <a:gd name="T76" fmla="*/ 30 w 35"/>
              <a:gd name="T77" fmla="*/ 22 h 27"/>
              <a:gd name="T78" fmla="*/ 30 w 35"/>
              <a:gd name="T79" fmla="*/ 22 h 27"/>
              <a:gd name="T80" fmla="*/ 30 w 35"/>
              <a:gd name="T81" fmla="*/ 22 h 27"/>
              <a:gd name="T82" fmla="*/ 30 w 35"/>
              <a:gd name="T83" fmla="*/ 20 h 27"/>
              <a:gd name="T84" fmla="*/ 34 w 35"/>
              <a:gd name="T85" fmla="*/ 15 h 27"/>
              <a:gd name="T86" fmla="*/ 34 w 35"/>
              <a:gd name="T87" fmla="*/ 10 h 27"/>
              <a:gd name="T88" fmla="*/ 35 w 35"/>
              <a:gd name="T89" fmla="*/ 7 h 27"/>
              <a:gd name="T90" fmla="*/ 34 w 35"/>
              <a:gd name="T91" fmla="*/ 6 h 27"/>
              <a:gd name="T92" fmla="*/ 33 w 35"/>
              <a:gd name="T9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27">
                <a:moveTo>
                  <a:pt x="33" y="4"/>
                </a:moveTo>
                <a:cubicBezTo>
                  <a:pt x="33" y="3"/>
                  <a:pt x="33" y="2"/>
                  <a:pt x="33" y="1"/>
                </a:cubicBezTo>
                <a:cubicBezTo>
                  <a:pt x="31" y="2"/>
                  <a:pt x="31" y="2"/>
                  <a:pt x="31" y="2"/>
                </a:cubicBezTo>
                <a:cubicBezTo>
                  <a:pt x="31" y="2"/>
                  <a:pt x="31" y="1"/>
                  <a:pt x="30" y="0"/>
                </a:cubicBezTo>
                <a:cubicBezTo>
                  <a:pt x="29" y="0"/>
                  <a:pt x="27" y="0"/>
                  <a:pt x="27" y="0"/>
                </a:cubicBezTo>
                <a:cubicBezTo>
                  <a:pt x="17" y="6"/>
                  <a:pt x="17" y="6"/>
                  <a:pt x="17" y="6"/>
                </a:cubicBezTo>
                <a:cubicBezTo>
                  <a:pt x="13" y="9"/>
                  <a:pt x="13" y="9"/>
                  <a:pt x="13" y="9"/>
                </a:cubicBezTo>
                <a:cubicBezTo>
                  <a:pt x="13" y="9"/>
                  <a:pt x="11" y="10"/>
                  <a:pt x="10" y="10"/>
                </a:cubicBezTo>
                <a:cubicBezTo>
                  <a:pt x="10" y="10"/>
                  <a:pt x="10" y="10"/>
                  <a:pt x="9" y="10"/>
                </a:cubicBezTo>
                <a:cubicBezTo>
                  <a:pt x="9" y="12"/>
                  <a:pt x="10" y="16"/>
                  <a:pt x="9" y="16"/>
                </a:cubicBezTo>
                <a:cubicBezTo>
                  <a:pt x="9" y="16"/>
                  <a:pt x="9" y="17"/>
                  <a:pt x="9" y="18"/>
                </a:cubicBezTo>
                <a:cubicBezTo>
                  <a:pt x="8" y="18"/>
                  <a:pt x="8" y="19"/>
                  <a:pt x="7" y="19"/>
                </a:cubicBezTo>
                <a:cubicBezTo>
                  <a:pt x="6" y="19"/>
                  <a:pt x="5" y="19"/>
                  <a:pt x="4" y="19"/>
                </a:cubicBezTo>
                <a:cubicBezTo>
                  <a:pt x="3" y="19"/>
                  <a:pt x="2" y="19"/>
                  <a:pt x="2" y="19"/>
                </a:cubicBezTo>
                <a:cubicBezTo>
                  <a:pt x="2" y="20"/>
                  <a:pt x="1" y="20"/>
                  <a:pt x="1" y="20"/>
                </a:cubicBezTo>
                <a:cubicBezTo>
                  <a:pt x="0" y="20"/>
                  <a:pt x="0" y="21"/>
                  <a:pt x="1" y="21"/>
                </a:cubicBezTo>
                <a:cubicBezTo>
                  <a:pt x="1" y="21"/>
                  <a:pt x="1" y="22"/>
                  <a:pt x="1" y="22"/>
                </a:cubicBezTo>
                <a:cubicBezTo>
                  <a:pt x="2" y="22"/>
                  <a:pt x="2" y="23"/>
                  <a:pt x="2" y="23"/>
                </a:cubicBezTo>
                <a:cubicBezTo>
                  <a:pt x="2" y="24"/>
                  <a:pt x="2" y="24"/>
                  <a:pt x="3" y="24"/>
                </a:cubicBezTo>
                <a:cubicBezTo>
                  <a:pt x="3" y="24"/>
                  <a:pt x="3" y="25"/>
                  <a:pt x="4" y="25"/>
                </a:cubicBezTo>
                <a:cubicBezTo>
                  <a:pt x="4" y="25"/>
                  <a:pt x="5" y="25"/>
                  <a:pt x="5" y="25"/>
                </a:cubicBezTo>
                <a:cubicBezTo>
                  <a:pt x="5" y="25"/>
                  <a:pt x="5" y="26"/>
                  <a:pt x="5" y="26"/>
                </a:cubicBezTo>
                <a:cubicBezTo>
                  <a:pt x="5" y="26"/>
                  <a:pt x="5" y="26"/>
                  <a:pt x="6" y="26"/>
                </a:cubicBezTo>
                <a:cubicBezTo>
                  <a:pt x="6" y="26"/>
                  <a:pt x="6" y="25"/>
                  <a:pt x="7" y="25"/>
                </a:cubicBezTo>
                <a:cubicBezTo>
                  <a:pt x="7" y="25"/>
                  <a:pt x="7" y="26"/>
                  <a:pt x="7" y="26"/>
                </a:cubicBezTo>
                <a:cubicBezTo>
                  <a:pt x="8" y="27"/>
                  <a:pt x="8" y="26"/>
                  <a:pt x="8" y="26"/>
                </a:cubicBezTo>
                <a:cubicBezTo>
                  <a:pt x="8" y="25"/>
                  <a:pt x="9" y="25"/>
                  <a:pt x="9" y="24"/>
                </a:cubicBezTo>
                <a:cubicBezTo>
                  <a:pt x="9" y="24"/>
                  <a:pt x="9" y="23"/>
                  <a:pt x="10" y="23"/>
                </a:cubicBezTo>
                <a:cubicBezTo>
                  <a:pt x="10" y="22"/>
                  <a:pt x="11" y="23"/>
                  <a:pt x="12" y="23"/>
                </a:cubicBezTo>
                <a:cubicBezTo>
                  <a:pt x="12" y="23"/>
                  <a:pt x="13" y="22"/>
                  <a:pt x="13" y="22"/>
                </a:cubicBezTo>
                <a:cubicBezTo>
                  <a:pt x="14" y="23"/>
                  <a:pt x="14" y="22"/>
                  <a:pt x="15" y="23"/>
                </a:cubicBezTo>
                <a:cubicBezTo>
                  <a:pt x="15" y="23"/>
                  <a:pt x="15" y="24"/>
                  <a:pt x="16" y="24"/>
                </a:cubicBezTo>
                <a:cubicBezTo>
                  <a:pt x="17" y="23"/>
                  <a:pt x="17" y="23"/>
                  <a:pt x="18" y="23"/>
                </a:cubicBezTo>
                <a:cubicBezTo>
                  <a:pt x="18" y="23"/>
                  <a:pt x="19" y="24"/>
                  <a:pt x="20" y="24"/>
                </a:cubicBezTo>
                <a:cubicBezTo>
                  <a:pt x="20" y="24"/>
                  <a:pt x="21" y="24"/>
                  <a:pt x="22" y="24"/>
                </a:cubicBezTo>
                <a:cubicBezTo>
                  <a:pt x="22" y="24"/>
                  <a:pt x="23" y="23"/>
                  <a:pt x="23" y="23"/>
                </a:cubicBezTo>
                <a:cubicBezTo>
                  <a:pt x="24" y="23"/>
                  <a:pt x="26" y="23"/>
                  <a:pt x="26" y="23"/>
                </a:cubicBezTo>
                <a:cubicBezTo>
                  <a:pt x="27" y="23"/>
                  <a:pt x="27" y="24"/>
                  <a:pt x="28" y="24"/>
                </a:cubicBezTo>
                <a:cubicBezTo>
                  <a:pt x="29" y="23"/>
                  <a:pt x="29" y="22"/>
                  <a:pt x="30" y="22"/>
                </a:cubicBezTo>
                <a:cubicBezTo>
                  <a:pt x="30" y="22"/>
                  <a:pt x="30" y="22"/>
                  <a:pt x="30" y="22"/>
                </a:cubicBezTo>
                <a:cubicBezTo>
                  <a:pt x="30" y="22"/>
                  <a:pt x="30" y="22"/>
                  <a:pt x="30" y="22"/>
                </a:cubicBezTo>
                <a:cubicBezTo>
                  <a:pt x="30" y="20"/>
                  <a:pt x="30" y="21"/>
                  <a:pt x="30" y="20"/>
                </a:cubicBezTo>
                <a:cubicBezTo>
                  <a:pt x="31" y="18"/>
                  <a:pt x="34" y="15"/>
                  <a:pt x="34" y="15"/>
                </a:cubicBezTo>
                <a:cubicBezTo>
                  <a:pt x="34" y="15"/>
                  <a:pt x="34" y="10"/>
                  <a:pt x="34" y="10"/>
                </a:cubicBezTo>
                <a:cubicBezTo>
                  <a:pt x="34" y="9"/>
                  <a:pt x="34" y="8"/>
                  <a:pt x="35" y="7"/>
                </a:cubicBezTo>
                <a:cubicBezTo>
                  <a:pt x="35" y="6"/>
                  <a:pt x="34" y="6"/>
                  <a:pt x="34" y="6"/>
                </a:cubicBezTo>
                <a:cubicBezTo>
                  <a:pt x="34" y="5"/>
                  <a:pt x="33" y="4"/>
                  <a:pt x="3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70"/>
          <p:cNvSpPr>
            <a:spLocks/>
          </p:cNvSpPr>
          <p:nvPr/>
        </p:nvSpPr>
        <p:spPr bwMode="auto">
          <a:xfrm>
            <a:off x="2344535" y="3025135"/>
            <a:ext cx="107245" cy="178742"/>
          </a:xfrm>
          <a:custGeom>
            <a:avLst/>
            <a:gdLst>
              <a:gd name="T0" fmla="*/ 22 w 22"/>
              <a:gd name="T1" fmla="*/ 9 h 37"/>
              <a:gd name="T2" fmla="*/ 5 w 22"/>
              <a:gd name="T3" fmla="*/ 0 h 37"/>
              <a:gd name="T4" fmla="*/ 3 w 22"/>
              <a:gd name="T5" fmla="*/ 1 h 37"/>
              <a:gd name="T6" fmla="*/ 3 w 22"/>
              <a:gd name="T7" fmla="*/ 4 h 37"/>
              <a:gd name="T8" fmla="*/ 4 w 22"/>
              <a:gd name="T9" fmla="*/ 6 h 37"/>
              <a:gd name="T10" fmla="*/ 5 w 22"/>
              <a:gd name="T11" fmla="*/ 7 h 37"/>
              <a:gd name="T12" fmla="*/ 4 w 22"/>
              <a:gd name="T13" fmla="*/ 10 h 37"/>
              <a:gd name="T14" fmla="*/ 4 w 22"/>
              <a:gd name="T15" fmla="*/ 15 h 37"/>
              <a:gd name="T16" fmla="*/ 0 w 22"/>
              <a:gd name="T17" fmla="*/ 20 h 37"/>
              <a:gd name="T18" fmla="*/ 0 w 22"/>
              <a:gd name="T19" fmla="*/ 22 h 37"/>
              <a:gd name="T20" fmla="*/ 0 w 22"/>
              <a:gd name="T21" fmla="*/ 22 h 37"/>
              <a:gd name="T22" fmla="*/ 0 w 22"/>
              <a:gd name="T23" fmla="*/ 23 h 37"/>
              <a:gd name="T24" fmla="*/ 1 w 22"/>
              <a:gd name="T25" fmla="*/ 24 h 37"/>
              <a:gd name="T26" fmla="*/ 3 w 22"/>
              <a:gd name="T27" fmla="*/ 26 h 37"/>
              <a:gd name="T28" fmla="*/ 3 w 22"/>
              <a:gd name="T29" fmla="*/ 28 h 37"/>
              <a:gd name="T30" fmla="*/ 4 w 22"/>
              <a:gd name="T31" fmla="*/ 30 h 37"/>
              <a:gd name="T32" fmla="*/ 3 w 22"/>
              <a:gd name="T33" fmla="*/ 31 h 37"/>
              <a:gd name="T34" fmla="*/ 1 w 22"/>
              <a:gd name="T35" fmla="*/ 31 h 37"/>
              <a:gd name="T36" fmla="*/ 2 w 22"/>
              <a:gd name="T37" fmla="*/ 33 h 37"/>
              <a:gd name="T38" fmla="*/ 3 w 22"/>
              <a:gd name="T39" fmla="*/ 34 h 37"/>
              <a:gd name="T40" fmla="*/ 4 w 22"/>
              <a:gd name="T41" fmla="*/ 36 h 37"/>
              <a:gd name="T42" fmla="*/ 6 w 22"/>
              <a:gd name="T43" fmla="*/ 36 h 37"/>
              <a:gd name="T44" fmla="*/ 7 w 22"/>
              <a:gd name="T45" fmla="*/ 36 h 37"/>
              <a:gd name="T46" fmla="*/ 9 w 22"/>
              <a:gd name="T47" fmla="*/ 35 h 37"/>
              <a:gd name="T48" fmla="*/ 11 w 22"/>
              <a:gd name="T49" fmla="*/ 34 h 37"/>
              <a:gd name="T50" fmla="*/ 11 w 22"/>
              <a:gd name="T51" fmla="*/ 33 h 37"/>
              <a:gd name="T52" fmla="*/ 15 w 22"/>
              <a:gd name="T53" fmla="*/ 32 h 37"/>
              <a:gd name="T54" fmla="*/ 17 w 22"/>
              <a:gd name="T55" fmla="*/ 30 h 37"/>
              <a:gd name="T56" fmla="*/ 17 w 22"/>
              <a:gd name="T57" fmla="*/ 29 h 37"/>
              <a:gd name="T58" fmla="*/ 19 w 22"/>
              <a:gd name="T59" fmla="*/ 28 h 37"/>
              <a:gd name="T60" fmla="*/ 19 w 22"/>
              <a:gd name="T61" fmla="*/ 28 h 37"/>
              <a:gd name="T62" fmla="*/ 19 w 22"/>
              <a:gd name="T63" fmla="*/ 28 h 37"/>
              <a:gd name="T64" fmla="*/ 20 w 22"/>
              <a:gd name="T65" fmla="*/ 27 h 37"/>
              <a:gd name="T66" fmla="*/ 19 w 22"/>
              <a:gd name="T67" fmla="*/ 26 h 37"/>
              <a:gd name="T68" fmla="*/ 18 w 22"/>
              <a:gd name="T69" fmla="*/ 24 h 37"/>
              <a:gd name="T70" fmla="*/ 18 w 22"/>
              <a:gd name="T71" fmla="*/ 23 h 37"/>
              <a:gd name="T72" fmla="*/ 18 w 22"/>
              <a:gd name="T73" fmla="*/ 21 h 37"/>
              <a:gd name="T74" fmla="*/ 19 w 22"/>
              <a:gd name="T75" fmla="*/ 20 h 37"/>
              <a:gd name="T76" fmla="*/ 20 w 22"/>
              <a:gd name="T77" fmla="*/ 18 h 37"/>
              <a:gd name="T78" fmla="*/ 22 w 22"/>
              <a:gd name="T79" fmla="*/ 17 h 37"/>
              <a:gd name="T80" fmla="*/ 22 w 22"/>
              <a:gd name="T81" fmla="*/ 15 h 37"/>
              <a:gd name="T82" fmla="*/ 22 w 22"/>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37">
                <a:moveTo>
                  <a:pt x="22" y="9"/>
                </a:moveTo>
                <a:cubicBezTo>
                  <a:pt x="5" y="0"/>
                  <a:pt x="5" y="0"/>
                  <a:pt x="5" y="0"/>
                </a:cubicBezTo>
                <a:cubicBezTo>
                  <a:pt x="3" y="1"/>
                  <a:pt x="3" y="1"/>
                  <a:pt x="3" y="1"/>
                </a:cubicBezTo>
                <a:cubicBezTo>
                  <a:pt x="3" y="2"/>
                  <a:pt x="3" y="3"/>
                  <a:pt x="3" y="4"/>
                </a:cubicBezTo>
                <a:cubicBezTo>
                  <a:pt x="3" y="4"/>
                  <a:pt x="4" y="5"/>
                  <a:pt x="4" y="6"/>
                </a:cubicBezTo>
                <a:cubicBezTo>
                  <a:pt x="4" y="6"/>
                  <a:pt x="5" y="6"/>
                  <a:pt x="5" y="7"/>
                </a:cubicBezTo>
                <a:cubicBezTo>
                  <a:pt x="4" y="8"/>
                  <a:pt x="4" y="9"/>
                  <a:pt x="4" y="10"/>
                </a:cubicBezTo>
                <a:cubicBezTo>
                  <a:pt x="4" y="10"/>
                  <a:pt x="4" y="15"/>
                  <a:pt x="4" y="15"/>
                </a:cubicBezTo>
                <a:cubicBezTo>
                  <a:pt x="4" y="15"/>
                  <a:pt x="1" y="18"/>
                  <a:pt x="0" y="20"/>
                </a:cubicBezTo>
                <a:cubicBezTo>
                  <a:pt x="0" y="21"/>
                  <a:pt x="0" y="20"/>
                  <a:pt x="0" y="22"/>
                </a:cubicBezTo>
                <a:cubicBezTo>
                  <a:pt x="0" y="22"/>
                  <a:pt x="0" y="22"/>
                  <a:pt x="0" y="22"/>
                </a:cubicBezTo>
                <a:cubicBezTo>
                  <a:pt x="0" y="22"/>
                  <a:pt x="0" y="22"/>
                  <a:pt x="0" y="23"/>
                </a:cubicBezTo>
                <a:cubicBezTo>
                  <a:pt x="1" y="23"/>
                  <a:pt x="1" y="24"/>
                  <a:pt x="1" y="24"/>
                </a:cubicBezTo>
                <a:cubicBezTo>
                  <a:pt x="2" y="24"/>
                  <a:pt x="3" y="25"/>
                  <a:pt x="3" y="26"/>
                </a:cubicBezTo>
                <a:cubicBezTo>
                  <a:pt x="3" y="26"/>
                  <a:pt x="3" y="27"/>
                  <a:pt x="3" y="28"/>
                </a:cubicBezTo>
                <a:cubicBezTo>
                  <a:pt x="3" y="29"/>
                  <a:pt x="4" y="30"/>
                  <a:pt x="4" y="30"/>
                </a:cubicBezTo>
                <a:cubicBezTo>
                  <a:pt x="4" y="31"/>
                  <a:pt x="4" y="31"/>
                  <a:pt x="3" y="31"/>
                </a:cubicBezTo>
                <a:cubicBezTo>
                  <a:pt x="2" y="31"/>
                  <a:pt x="1" y="31"/>
                  <a:pt x="1" y="31"/>
                </a:cubicBezTo>
                <a:cubicBezTo>
                  <a:pt x="1" y="31"/>
                  <a:pt x="1" y="32"/>
                  <a:pt x="2" y="33"/>
                </a:cubicBezTo>
                <a:cubicBezTo>
                  <a:pt x="2" y="33"/>
                  <a:pt x="3" y="34"/>
                  <a:pt x="3" y="34"/>
                </a:cubicBezTo>
                <a:cubicBezTo>
                  <a:pt x="4" y="35"/>
                  <a:pt x="4" y="36"/>
                  <a:pt x="4" y="36"/>
                </a:cubicBezTo>
                <a:cubicBezTo>
                  <a:pt x="5" y="37"/>
                  <a:pt x="5" y="36"/>
                  <a:pt x="6" y="36"/>
                </a:cubicBezTo>
                <a:cubicBezTo>
                  <a:pt x="6" y="35"/>
                  <a:pt x="6" y="36"/>
                  <a:pt x="7" y="36"/>
                </a:cubicBezTo>
                <a:cubicBezTo>
                  <a:pt x="7" y="35"/>
                  <a:pt x="9" y="35"/>
                  <a:pt x="9" y="35"/>
                </a:cubicBezTo>
                <a:cubicBezTo>
                  <a:pt x="10" y="35"/>
                  <a:pt x="11" y="34"/>
                  <a:pt x="11" y="34"/>
                </a:cubicBezTo>
                <a:cubicBezTo>
                  <a:pt x="12" y="34"/>
                  <a:pt x="11" y="33"/>
                  <a:pt x="11" y="33"/>
                </a:cubicBezTo>
                <a:cubicBezTo>
                  <a:pt x="12" y="33"/>
                  <a:pt x="14" y="33"/>
                  <a:pt x="15" y="32"/>
                </a:cubicBezTo>
                <a:cubicBezTo>
                  <a:pt x="15" y="31"/>
                  <a:pt x="16" y="30"/>
                  <a:pt x="17" y="30"/>
                </a:cubicBezTo>
                <a:cubicBezTo>
                  <a:pt x="17" y="30"/>
                  <a:pt x="17" y="29"/>
                  <a:pt x="17" y="29"/>
                </a:cubicBezTo>
                <a:cubicBezTo>
                  <a:pt x="18" y="28"/>
                  <a:pt x="19" y="28"/>
                  <a:pt x="19" y="28"/>
                </a:cubicBezTo>
                <a:cubicBezTo>
                  <a:pt x="19" y="28"/>
                  <a:pt x="19" y="28"/>
                  <a:pt x="19" y="28"/>
                </a:cubicBezTo>
                <a:cubicBezTo>
                  <a:pt x="19" y="28"/>
                  <a:pt x="19" y="28"/>
                  <a:pt x="19" y="28"/>
                </a:cubicBezTo>
                <a:cubicBezTo>
                  <a:pt x="20" y="27"/>
                  <a:pt x="20" y="27"/>
                  <a:pt x="20" y="27"/>
                </a:cubicBezTo>
                <a:cubicBezTo>
                  <a:pt x="20" y="27"/>
                  <a:pt x="19" y="27"/>
                  <a:pt x="19" y="26"/>
                </a:cubicBezTo>
                <a:cubicBezTo>
                  <a:pt x="19" y="25"/>
                  <a:pt x="19" y="24"/>
                  <a:pt x="18" y="24"/>
                </a:cubicBezTo>
                <a:cubicBezTo>
                  <a:pt x="17" y="24"/>
                  <a:pt x="17" y="24"/>
                  <a:pt x="18" y="23"/>
                </a:cubicBezTo>
                <a:cubicBezTo>
                  <a:pt x="18" y="22"/>
                  <a:pt x="17" y="21"/>
                  <a:pt x="18" y="21"/>
                </a:cubicBezTo>
                <a:cubicBezTo>
                  <a:pt x="19" y="21"/>
                  <a:pt x="18" y="20"/>
                  <a:pt x="19" y="20"/>
                </a:cubicBezTo>
                <a:cubicBezTo>
                  <a:pt x="20" y="20"/>
                  <a:pt x="20" y="19"/>
                  <a:pt x="20" y="18"/>
                </a:cubicBezTo>
                <a:cubicBezTo>
                  <a:pt x="20" y="18"/>
                  <a:pt x="21" y="17"/>
                  <a:pt x="22" y="17"/>
                </a:cubicBezTo>
                <a:cubicBezTo>
                  <a:pt x="22" y="17"/>
                  <a:pt x="22" y="15"/>
                  <a:pt x="22" y="15"/>
                </a:cubicBezTo>
                <a:lnTo>
                  <a:pt x="2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71"/>
          <p:cNvSpPr>
            <a:spLocks/>
          </p:cNvSpPr>
          <p:nvPr/>
        </p:nvSpPr>
        <p:spPr bwMode="auto">
          <a:xfrm>
            <a:off x="2455355" y="2921465"/>
            <a:ext cx="121545" cy="117970"/>
          </a:xfrm>
          <a:custGeom>
            <a:avLst/>
            <a:gdLst>
              <a:gd name="T0" fmla="*/ 23 w 25"/>
              <a:gd name="T1" fmla="*/ 6 h 24"/>
              <a:gd name="T2" fmla="*/ 21 w 25"/>
              <a:gd name="T3" fmla="*/ 2 h 24"/>
              <a:gd name="T4" fmla="*/ 21 w 25"/>
              <a:gd name="T5" fmla="*/ 2 h 24"/>
              <a:gd name="T6" fmla="*/ 19 w 25"/>
              <a:gd name="T7" fmla="*/ 2 h 24"/>
              <a:gd name="T8" fmla="*/ 16 w 25"/>
              <a:gd name="T9" fmla="*/ 1 h 24"/>
              <a:gd name="T10" fmla="*/ 11 w 25"/>
              <a:gd name="T11" fmla="*/ 2 h 24"/>
              <a:gd name="T12" fmla="*/ 9 w 25"/>
              <a:gd name="T13" fmla="*/ 2 h 24"/>
              <a:gd name="T14" fmla="*/ 5 w 25"/>
              <a:gd name="T15" fmla="*/ 1 h 24"/>
              <a:gd name="T16" fmla="*/ 1 w 25"/>
              <a:gd name="T17" fmla="*/ 0 h 24"/>
              <a:gd name="T18" fmla="*/ 1 w 25"/>
              <a:gd name="T19" fmla="*/ 1 h 24"/>
              <a:gd name="T20" fmla="*/ 1 w 25"/>
              <a:gd name="T21" fmla="*/ 4 h 24"/>
              <a:gd name="T22" fmla="*/ 1 w 25"/>
              <a:gd name="T23" fmla="*/ 7 h 24"/>
              <a:gd name="T24" fmla="*/ 1 w 25"/>
              <a:gd name="T25" fmla="*/ 24 h 24"/>
              <a:gd name="T26" fmla="*/ 14 w 25"/>
              <a:gd name="T27" fmla="*/ 24 h 24"/>
              <a:gd name="T28" fmla="*/ 15 w 25"/>
              <a:gd name="T29" fmla="*/ 23 h 24"/>
              <a:gd name="T30" fmla="*/ 16 w 25"/>
              <a:gd name="T31" fmla="*/ 24 h 24"/>
              <a:gd name="T32" fmla="*/ 19 w 25"/>
              <a:gd name="T33" fmla="*/ 24 h 24"/>
              <a:gd name="T34" fmla="*/ 20 w 25"/>
              <a:gd name="T35" fmla="*/ 24 h 24"/>
              <a:gd name="T36" fmla="*/ 22 w 25"/>
              <a:gd name="T37" fmla="*/ 23 h 24"/>
              <a:gd name="T38" fmla="*/ 23 w 25"/>
              <a:gd name="T39" fmla="*/ 22 h 24"/>
              <a:gd name="T40" fmla="*/ 24 w 25"/>
              <a:gd name="T41" fmla="*/ 21 h 24"/>
              <a:gd name="T42" fmla="*/ 24 w 25"/>
              <a:gd name="T43" fmla="*/ 21 h 24"/>
              <a:gd name="T44" fmla="*/ 24 w 25"/>
              <a:gd name="T45" fmla="*/ 20 h 24"/>
              <a:gd name="T46" fmla="*/ 23 w 25"/>
              <a:gd name="T47" fmla="*/ 18 h 24"/>
              <a:gd name="T48" fmla="*/ 21 w 25"/>
              <a:gd name="T49" fmla="*/ 13 h 24"/>
              <a:gd name="T50" fmla="*/ 20 w 25"/>
              <a:gd name="T51" fmla="*/ 11 h 24"/>
              <a:gd name="T52" fmla="*/ 18 w 25"/>
              <a:gd name="T53" fmla="*/ 8 h 24"/>
              <a:gd name="T54" fmla="*/ 17 w 25"/>
              <a:gd name="T55" fmla="*/ 4 h 24"/>
              <a:gd name="T56" fmla="*/ 19 w 25"/>
              <a:gd name="T57" fmla="*/ 7 h 24"/>
              <a:gd name="T58" fmla="*/ 21 w 25"/>
              <a:gd name="T59" fmla="*/ 10 h 24"/>
              <a:gd name="T60" fmla="*/ 22 w 25"/>
              <a:gd name="T61" fmla="*/ 7 h 24"/>
              <a:gd name="T62" fmla="*/ 23 w 25"/>
              <a:gd name="T63" fmla="*/ 7 h 24"/>
              <a:gd name="T64" fmla="*/ 23 w 25"/>
              <a:gd name="T65" fmla="*/ 7 h 24"/>
              <a:gd name="T66" fmla="*/ 23 w 25"/>
              <a:gd name="T67"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4">
                <a:moveTo>
                  <a:pt x="23" y="6"/>
                </a:moveTo>
                <a:cubicBezTo>
                  <a:pt x="21" y="2"/>
                  <a:pt x="21" y="2"/>
                  <a:pt x="21" y="2"/>
                </a:cubicBezTo>
                <a:cubicBezTo>
                  <a:pt x="21" y="2"/>
                  <a:pt x="21" y="2"/>
                  <a:pt x="21" y="2"/>
                </a:cubicBezTo>
                <a:cubicBezTo>
                  <a:pt x="21" y="2"/>
                  <a:pt x="20" y="2"/>
                  <a:pt x="19" y="2"/>
                </a:cubicBezTo>
                <a:cubicBezTo>
                  <a:pt x="18" y="2"/>
                  <a:pt x="17" y="2"/>
                  <a:pt x="16" y="1"/>
                </a:cubicBezTo>
                <a:cubicBezTo>
                  <a:pt x="15" y="1"/>
                  <a:pt x="12" y="1"/>
                  <a:pt x="11" y="2"/>
                </a:cubicBezTo>
                <a:cubicBezTo>
                  <a:pt x="11" y="3"/>
                  <a:pt x="10" y="3"/>
                  <a:pt x="9" y="2"/>
                </a:cubicBezTo>
                <a:cubicBezTo>
                  <a:pt x="8" y="2"/>
                  <a:pt x="7" y="1"/>
                  <a:pt x="5" y="1"/>
                </a:cubicBezTo>
                <a:cubicBezTo>
                  <a:pt x="3" y="1"/>
                  <a:pt x="2" y="1"/>
                  <a:pt x="1" y="0"/>
                </a:cubicBezTo>
                <a:cubicBezTo>
                  <a:pt x="1" y="1"/>
                  <a:pt x="1" y="1"/>
                  <a:pt x="1" y="1"/>
                </a:cubicBezTo>
                <a:cubicBezTo>
                  <a:pt x="1" y="2"/>
                  <a:pt x="2" y="3"/>
                  <a:pt x="1" y="4"/>
                </a:cubicBezTo>
                <a:cubicBezTo>
                  <a:pt x="0" y="4"/>
                  <a:pt x="1" y="5"/>
                  <a:pt x="1" y="7"/>
                </a:cubicBezTo>
                <a:cubicBezTo>
                  <a:pt x="1" y="24"/>
                  <a:pt x="1" y="24"/>
                  <a:pt x="1" y="24"/>
                </a:cubicBezTo>
                <a:cubicBezTo>
                  <a:pt x="14" y="24"/>
                  <a:pt x="14" y="24"/>
                  <a:pt x="14" y="24"/>
                </a:cubicBezTo>
                <a:cubicBezTo>
                  <a:pt x="14" y="24"/>
                  <a:pt x="15" y="24"/>
                  <a:pt x="15" y="23"/>
                </a:cubicBezTo>
                <a:cubicBezTo>
                  <a:pt x="16" y="23"/>
                  <a:pt x="16" y="24"/>
                  <a:pt x="16" y="24"/>
                </a:cubicBezTo>
                <a:cubicBezTo>
                  <a:pt x="19" y="24"/>
                  <a:pt x="19" y="24"/>
                  <a:pt x="19" y="24"/>
                </a:cubicBezTo>
                <a:cubicBezTo>
                  <a:pt x="19" y="24"/>
                  <a:pt x="20" y="24"/>
                  <a:pt x="20" y="24"/>
                </a:cubicBezTo>
                <a:cubicBezTo>
                  <a:pt x="21" y="24"/>
                  <a:pt x="21" y="23"/>
                  <a:pt x="22" y="23"/>
                </a:cubicBezTo>
                <a:cubicBezTo>
                  <a:pt x="23" y="23"/>
                  <a:pt x="22" y="22"/>
                  <a:pt x="23" y="22"/>
                </a:cubicBezTo>
                <a:cubicBezTo>
                  <a:pt x="24" y="22"/>
                  <a:pt x="24" y="22"/>
                  <a:pt x="24" y="21"/>
                </a:cubicBezTo>
                <a:cubicBezTo>
                  <a:pt x="24" y="21"/>
                  <a:pt x="24" y="21"/>
                  <a:pt x="24" y="21"/>
                </a:cubicBezTo>
                <a:cubicBezTo>
                  <a:pt x="24" y="21"/>
                  <a:pt x="24" y="20"/>
                  <a:pt x="24" y="20"/>
                </a:cubicBezTo>
                <a:cubicBezTo>
                  <a:pt x="25" y="19"/>
                  <a:pt x="24" y="19"/>
                  <a:pt x="23" y="18"/>
                </a:cubicBezTo>
                <a:cubicBezTo>
                  <a:pt x="23" y="16"/>
                  <a:pt x="21" y="14"/>
                  <a:pt x="21" y="13"/>
                </a:cubicBezTo>
                <a:cubicBezTo>
                  <a:pt x="21" y="12"/>
                  <a:pt x="20" y="12"/>
                  <a:pt x="20" y="11"/>
                </a:cubicBezTo>
                <a:cubicBezTo>
                  <a:pt x="20" y="10"/>
                  <a:pt x="19" y="10"/>
                  <a:pt x="18" y="8"/>
                </a:cubicBezTo>
                <a:cubicBezTo>
                  <a:pt x="17" y="7"/>
                  <a:pt x="17" y="4"/>
                  <a:pt x="17" y="4"/>
                </a:cubicBezTo>
                <a:cubicBezTo>
                  <a:pt x="18" y="4"/>
                  <a:pt x="19" y="7"/>
                  <a:pt x="19" y="7"/>
                </a:cubicBezTo>
                <a:cubicBezTo>
                  <a:pt x="19" y="8"/>
                  <a:pt x="20" y="10"/>
                  <a:pt x="21" y="10"/>
                </a:cubicBezTo>
                <a:cubicBezTo>
                  <a:pt x="22" y="10"/>
                  <a:pt x="22" y="7"/>
                  <a:pt x="22" y="7"/>
                </a:cubicBezTo>
                <a:cubicBezTo>
                  <a:pt x="22" y="7"/>
                  <a:pt x="22" y="7"/>
                  <a:pt x="23" y="7"/>
                </a:cubicBezTo>
                <a:cubicBezTo>
                  <a:pt x="23" y="7"/>
                  <a:pt x="23" y="7"/>
                  <a:pt x="23" y="7"/>
                </a:cubicBezTo>
                <a:lnTo>
                  <a:pt x="23"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72"/>
          <p:cNvSpPr>
            <a:spLocks/>
          </p:cNvSpPr>
          <p:nvPr/>
        </p:nvSpPr>
        <p:spPr bwMode="auto">
          <a:xfrm>
            <a:off x="2290912" y="3257500"/>
            <a:ext cx="64347" cy="67922"/>
          </a:xfrm>
          <a:custGeom>
            <a:avLst/>
            <a:gdLst>
              <a:gd name="T0" fmla="*/ 7 w 13"/>
              <a:gd name="T1" fmla="*/ 13 h 14"/>
              <a:gd name="T2" fmla="*/ 7 w 13"/>
              <a:gd name="T3" fmla="*/ 11 h 14"/>
              <a:gd name="T4" fmla="*/ 8 w 13"/>
              <a:gd name="T5" fmla="*/ 10 h 14"/>
              <a:gd name="T6" fmla="*/ 9 w 13"/>
              <a:gd name="T7" fmla="*/ 9 h 14"/>
              <a:gd name="T8" fmla="*/ 11 w 13"/>
              <a:gd name="T9" fmla="*/ 10 h 14"/>
              <a:gd name="T10" fmla="*/ 12 w 13"/>
              <a:gd name="T11" fmla="*/ 11 h 14"/>
              <a:gd name="T12" fmla="*/ 13 w 13"/>
              <a:gd name="T13" fmla="*/ 8 h 14"/>
              <a:gd name="T14" fmla="*/ 12 w 13"/>
              <a:gd name="T15" fmla="*/ 6 h 14"/>
              <a:gd name="T16" fmla="*/ 12 w 13"/>
              <a:gd name="T17" fmla="*/ 4 h 14"/>
              <a:gd name="T18" fmla="*/ 12 w 13"/>
              <a:gd name="T19" fmla="*/ 2 h 14"/>
              <a:gd name="T20" fmla="*/ 10 w 13"/>
              <a:gd name="T21" fmla="*/ 2 h 14"/>
              <a:gd name="T22" fmla="*/ 10 w 13"/>
              <a:gd name="T23" fmla="*/ 0 h 14"/>
              <a:gd name="T24" fmla="*/ 7 w 13"/>
              <a:gd name="T25" fmla="*/ 0 h 14"/>
              <a:gd name="T26" fmla="*/ 7 w 13"/>
              <a:gd name="T27" fmla="*/ 0 h 14"/>
              <a:gd name="T28" fmla="*/ 6 w 13"/>
              <a:gd name="T29" fmla="*/ 3 h 14"/>
              <a:gd name="T30" fmla="*/ 3 w 13"/>
              <a:gd name="T31" fmla="*/ 3 h 14"/>
              <a:gd name="T32" fmla="*/ 2 w 13"/>
              <a:gd name="T33" fmla="*/ 3 h 14"/>
              <a:gd name="T34" fmla="*/ 2 w 13"/>
              <a:gd name="T35" fmla="*/ 4 h 14"/>
              <a:gd name="T36" fmla="*/ 3 w 13"/>
              <a:gd name="T37" fmla="*/ 5 h 14"/>
              <a:gd name="T38" fmla="*/ 2 w 13"/>
              <a:gd name="T39" fmla="*/ 6 h 14"/>
              <a:gd name="T40" fmla="*/ 1 w 13"/>
              <a:gd name="T41" fmla="*/ 7 h 14"/>
              <a:gd name="T42" fmla="*/ 2 w 13"/>
              <a:gd name="T43" fmla="*/ 9 h 14"/>
              <a:gd name="T44" fmla="*/ 3 w 13"/>
              <a:gd name="T45" fmla="*/ 11 h 14"/>
              <a:gd name="T46" fmla="*/ 6 w 13"/>
              <a:gd name="T47" fmla="*/ 14 h 14"/>
              <a:gd name="T48" fmla="*/ 7 w 13"/>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14">
                <a:moveTo>
                  <a:pt x="7" y="13"/>
                </a:moveTo>
                <a:cubicBezTo>
                  <a:pt x="8" y="13"/>
                  <a:pt x="7" y="12"/>
                  <a:pt x="7" y="11"/>
                </a:cubicBezTo>
                <a:cubicBezTo>
                  <a:pt x="7" y="10"/>
                  <a:pt x="8" y="10"/>
                  <a:pt x="8" y="10"/>
                </a:cubicBezTo>
                <a:cubicBezTo>
                  <a:pt x="9" y="10"/>
                  <a:pt x="9" y="9"/>
                  <a:pt x="9" y="9"/>
                </a:cubicBezTo>
                <a:cubicBezTo>
                  <a:pt x="10" y="9"/>
                  <a:pt x="10" y="11"/>
                  <a:pt x="11" y="10"/>
                </a:cubicBezTo>
                <a:cubicBezTo>
                  <a:pt x="11" y="10"/>
                  <a:pt x="11" y="11"/>
                  <a:pt x="12" y="11"/>
                </a:cubicBezTo>
                <a:cubicBezTo>
                  <a:pt x="13" y="11"/>
                  <a:pt x="13" y="9"/>
                  <a:pt x="13" y="8"/>
                </a:cubicBezTo>
                <a:cubicBezTo>
                  <a:pt x="13" y="7"/>
                  <a:pt x="13" y="6"/>
                  <a:pt x="12" y="6"/>
                </a:cubicBezTo>
                <a:cubicBezTo>
                  <a:pt x="12" y="5"/>
                  <a:pt x="11" y="4"/>
                  <a:pt x="12" y="4"/>
                </a:cubicBezTo>
                <a:cubicBezTo>
                  <a:pt x="13" y="4"/>
                  <a:pt x="13" y="3"/>
                  <a:pt x="12" y="2"/>
                </a:cubicBezTo>
                <a:cubicBezTo>
                  <a:pt x="11" y="2"/>
                  <a:pt x="10" y="3"/>
                  <a:pt x="10" y="2"/>
                </a:cubicBezTo>
                <a:cubicBezTo>
                  <a:pt x="10" y="2"/>
                  <a:pt x="10" y="1"/>
                  <a:pt x="10" y="0"/>
                </a:cubicBezTo>
                <a:cubicBezTo>
                  <a:pt x="9" y="0"/>
                  <a:pt x="7" y="0"/>
                  <a:pt x="7" y="0"/>
                </a:cubicBezTo>
                <a:cubicBezTo>
                  <a:pt x="7" y="0"/>
                  <a:pt x="7" y="0"/>
                  <a:pt x="7" y="0"/>
                </a:cubicBezTo>
                <a:cubicBezTo>
                  <a:pt x="7" y="2"/>
                  <a:pt x="6" y="3"/>
                  <a:pt x="6" y="3"/>
                </a:cubicBezTo>
                <a:cubicBezTo>
                  <a:pt x="6" y="3"/>
                  <a:pt x="4" y="3"/>
                  <a:pt x="3" y="3"/>
                </a:cubicBezTo>
                <a:cubicBezTo>
                  <a:pt x="3" y="3"/>
                  <a:pt x="3" y="3"/>
                  <a:pt x="2" y="3"/>
                </a:cubicBezTo>
                <a:cubicBezTo>
                  <a:pt x="2" y="3"/>
                  <a:pt x="2" y="3"/>
                  <a:pt x="2" y="4"/>
                </a:cubicBezTo>
                <a:cubicBezTo>
                  <a:pt x="2" y="4"/>
                  <a:pt x="3" y="4"/>
                  <a:pt x="3" y="5"/>
                </a:cubicBezTo>
                <a:cubicBezTo>
                  <a:pt x="3" y="5"/>
                  <a:pt x="2" y="5"/>
                  <a:pt x="2" y="6"/>
                </a:cubicBezTo>
                <a:cubicBezTo>
                  <a:pt x="2" y="6"/>
                  <a:pt x="1" y="7"/>
                  <a:pt x="1" y="7"/>
                </a:cubicBezTo>
                <a:cubicBezTo>
                  <a:pt x="0" y="7"/>
                  <a:pt x="2" y="9"/>
                  <a:pt x="2" y="9"/>
                </a:cubicBezTo>
                <a:cubicBezTo>
                  <a:pt x="2" y="9"/>
                  <a:pt x="2" y="10"/>
                  <a:pt x="3" y="11"/>
                </a:cubicBezTo>
                <a:cubicBezTo>
                  <a:pt x="5" y="12"/>
                  <a:pt x="4" y="12"/>
                  <a:pt x="6" y="14"/>
                </a:cubicBezTo>
                <a:cubicBezTo>
                  <a:pt x="6" y="13"/>
                  <a:pt x="6" y="13"/>
                  <a:pt x="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3"/>
          <p:cNvSpPr>
            <a:spLocks/>
          </p:cNvSpPr>
          <p:nvPr/>
        </p:nvSpPr>
        <p:spPr bwMode="auto">
          <a:xfrm>
            <a:off x="2301637" y="3257500"/>
            <a:ext cx="25024" cy="14299"/>
          </a:xfrm>
          <a:custGeom>
            <a:avLst/>
            <a:gdLst>
              <a:gd name="T0" fmla="*/ 4 w 5"/>
              <a:gd name="T1" fmla="*/ 3 h 3"/>
              <a:gd name="T2" fmla="*/ 5 w 5"/>
              <a:gd name="T3" fmla="*/ 0 h 3"/>
              <a:gd name="T4" fmla="*/ 4 w 5"/>
              <a:gd name="T5" fmla="*/ 0 h 3"/>
              <a:gd name="T6" fmla="*/ 1 w 5"/>
              <a:gd name="T7" fmla="*/ 0 h 3"/>
              <a:gd name="T8" fmla="*/ 1 w 5"/>
              <a:gd name="T9" fmla="*/ 0 h 3"/>
              <a:gd name="T10" fmla="*/ 0 w 5"/>
              <a:gd name="T11" fmla="*/ 2 h 3"/>
              <a:gd name="T12" fmla="*/ 0 w 5"/>
              <a:gd name="T13" fmla="*/ 2 h 3"/>
              <a:gd name="T14" fmla="*/ 0 w 5"/>
              <a:gd name="T15" fmla="*/ 3 h 3"/>
              <a:gd name="T16" fmla="*/ 1 w 5"/>
              <a:gd name="T17" fmla="*/ 3 h 3"/>
              <a:gd name="T18" fmla="*/ 4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3"/>
                </a:moveTo>
                <a:cubicBezTo>
                  <a:pt x="4" y="3"/>
                  <a:pt x="5" y="2"/>
                  <a:pt x="5" y="0"/>
                </a:cubicBezTo>
                <a:cubicBezTo>
                  <a:pt x="4" y="0"/>
                  <a:pt x="4" y="0"/>
                  <a:pt x="4" y="0"/>
                </a:cubicBezTo>
                <a:cubicBezTo>
                  <a:pt x="1" y="0"/>
                  <a:pt x="1" y="0"/>
                  <a:pt x="1" y="0"/>
                </a:cubicBezTo>
                <a:cubicBezTo>
                  <a:pt x="1" y="0"/>
                  <a:pt x="1" y="0"/>
                  <a:pt x="1" y="0"/>
                </a:cubicBezTo>
                <a:cubicBezTo>
                  <a:pt x="1" y="1"/>
                  <a:pt x="1" y="1"/>
                  <a:pt x="0" y="2"/>
                </a:cubicBezTo>
                <a:cubicBezTo>
                  <a:pt x="0" y="2"/>
                  <a:pt x="0" y="2"/>
                  <a:pt x="0" y="2"/>
                </a:cubicBezTo>
                <a:cubicBezTo>
                  <a:pt x="1" y="3"/>
                  <a:pt x="1" y="3"/>
                  <a:pt x="0" y="3"/>
                </a:cubicBezTo>
                <a:cubicBezTo>
                  <a:pt x="1" y="3"/>
                  <a:pt x="1" y="3"/>
                  <a:pt x="1" y="3"/>
                </a:cubicBezTo>
                <a:cubicBezTo>
                  <a:pt x="2"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74"/>
          <p:cNvSpPr>
            <a:spLocks/>
          </p:cNvSpPr>
          <p:nvPr/>
        </p:nvSpPr>
        <p:spPr bwMode="auto">
          <a:xfrm>
            <a:off x="2323086" y="3243201"/>
            <a:ext cx="71497" cy="89371"/>
          </a:xfrm>
          <a:custGeom>
            <a:avLst/>
            <a:gdLst>
              <a:gd name="T0" fmla="*/ 4 w 15"/>
              <a:gd name="T1" fmla="*/ 18 h 19"/>
              <a:gd name="T2" fmla="*/ 5 w 15"/>
              <a:gd name="T3" fmla="*/ 18 h 19"/>
              <a:gd name="T4" fmla="*/ 7 w 15"/>
              <a:gd name="T5" fmla="*/ 18 h 19"/>
              <a:gd name="T6" fmla="*/ 8 w 15"/>
              <a:gd name="T7" fmla="*/ 18 h 19"/>
              <a:gd name="T8" fmla="*/ 9 w 15"/>
              <a:gd name="T9" fmla="*/ 17 h 19"/>
              <a:gd name="T10" fmla="*/ 10 w 15"/>
              <a:gd name="T11" fmla="*/ 15 h 19"/>
              <a:gd name="T12" fmla="*/ 10 w 15"/>
              <a:gd name="T13" fmla="*/ 12 h 19"/>
              <a:gd name="T14" fmla="*/ 12 w 15"/>
              <a:gd name="T15" fmla="*/ 9 h 19"/>
              <a:gd name="T16" fmla="*/ 14 w 15"/>
              <a:gd name="T17" fmla="*/ 5 h 19"/>
              <a:gd name="T18" fmla="*/ 15 w 15"/>
              <a:gd name="T19" fmla="*/ 2 h 19"/>
              <a:gd name="T20" fmla="*/ 15 w 15"/>
              <a:gd name="T21" fmla="*/ 0 h 19"/>
              <a:gd name="T22" fmla="*/ 15 w 15"/>
              <a:gd name="T23" fmla="*/ 0 h 19"/>
              <a:gd name="T24" fmla="*/ 13 w 15"/>
              <a:gd name="T25" fmla="*/ 0 h 19"/>
              <a:gd name="T26" fmla="*/ 12 w 15"/>
              <a:gd name="T27" fmla="*/ 0 h 19"/>
              <a:gd name="T28" fmla="*/ 11 w 15"/>
              <a:gd name="T29" fmla="*/ 0 h 19"/>
              <a:gd name="T30" fmla="*/ 11 w 15"/>
              <a:gd name="T31" fmla="*/ 2 h 19"/>
              <a:gd name="T32" fmla="*/ 10 w 15"/>
              <a:gd name="T33" fmla="*/ 4 h 19"/>
              <a:gd name="T34" fmla="*/ 7 w 15"/>
              <a:gd name="T35" fmla="*/ 3 h 19"/>
              <a:gd name="T36" fmla="*/ 4 w 15"/>
              <a:gd name="T37" fmla="*/ 3 h 19"/>
              <a:gd name="T38" fmla="*/ 4 w 15"/>
              <a:gd name="T39" fmla="*/ 5 h 19"/>
              <a:gd name="T40" fmla="*/ 6 w 15"/>
              <a:gd name="T41" fmla="*/ 5 h 19"/>
              <a:gd name="T42" fmla="*/ 6 w 15"/>
              <a:gd name="T43" fmla="*/ 7 h 19"/>
              <a:gd name="T44" fmla="*/ 6 w 15"/>
              <a:gd name="T45" fmla="*/ 9 h 19"/>
              <a:gd name="T46" fmla="*/ 7 w 15"/>
              <a:gd name="T47" fmla="*/ 11 h 19"/>
              <a:gd name="T48" fmla="*/ 6 w 15"/>
              <a:gd name="T49" fmla="*/ 14 h 19"/>
              <a:gd name="T50" fmla="*/ 5 w 15"/>
              <a:gd name="T51" fmla="*/ 13 h 19"/>
              <a:gd name="T52" fmla="*/ 3 w 15"/>
              <a:gd name="T53" fmla="*/ 12 h 19"/>
              <a:gd name="T54" fmla="*/ 2 w 15"/>
              <a:gd name="T55" fmla="*/ 13 h 19"/>
              <a:gd name="T56" fmla="*/ 1 w 15"/>
              <a:gd name="T57" fmla="*/ 14 h 19"/>
              <a:gd name="T58" fmla="*/ 1 w 15"/>
              <a:gd name="T59" fmla="*/ 16 h 19"/>
              <a:gd name="T60" fmla="*/ 0 w 15"/>
              <a:gd name="T61" fmla="*/ 17 h 19"/>
              <a:gd name="T62" fmla="*/ 0 w 15"/>
              <a:gd name="T63" fmla="*/ 17 h 19"/>
              <a:gd name="T64" fmla="*/ 2 w 15"/>
              <a:gd name="T65" fmla="*/ 19 h 19"/>
              <a:gd name="T66" fmla="*/ 4 w 15"/>
              <a:gd name="T6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9">
                <a:moveTo>
                  <a:pt x="4" y="18"/>
                </a:moveTo>
                <a:cubicBezTo>
                  <a:pt x="4" y="18"/>
                  <a:pt x="5" y="19"/>
                  <a:pt x="5" y="18"/>
                </a:cubicBezTo>
                <a:cubicBezTo>
                  <a:pt x="6" y="18"/>
                  <a:pt x="7" y="18"/>
                  <a:pt x="7" y="18"/>
                </a:cubicBezTo>
                <a:cubicBezTo>
                  <a:pt x="7" y="19"/>
                  <a:pt x="7" y="19"/>
                  <a:pt x="8" y="18"/>
                </a:cubicBezTo>
                <a:cubicBezTo>
                  <a:pt x="9" y="18"/>
                  <a:pt x="9" y="18"/>
                  <a:pt x="9" y="17"/>
                </a:cubicBezTo>
                <a:cubicBezTo>
                  <a:pt x="9" y="16"/>
                  <a:pt x="10" y="17"/>
                  <a:pt x="10" y="15"/>
                </a:cubicBezTo>
                <a:cubicBezTo>
                  <a:pt x="10" y="14"/>
                  <a:pt x="10" y="12"/>
                  <a:pt x="10" y="12"/>
                </a:cubicBezTo>
                <a:cubicBezTo>
                  <a:pt x="10" y="11"/>
                  <a:pt x="12" y="10"/>
                  <a:pt x="12" y="9"/>
                </a:cubicBezTo>
                <a:cubicBezTo>
                  <a:pt x="12" y="8"/>
                  <a:pt x="14" y="6"/>
                  <a:pt x="14" y="5"/>
                </a:cubicBezTo>
                <a:cubicBezTo>
                  <a:pt x="14" y="3"/>
                  <a:pt x="14" y="3"/>
                  <a:pt x="15" y="2"/>
                </a:cubicBezTo>
                <a:cubicBezTo>
                  <a:pt x="15" y="2"/>
                  <a:pt x="15" y="1"/>
                  <a:pt x="15" y="0"/>
                </a:cubicBezTo>
                <a:cubicBezTo>
                  <a:pt x="15" y="0"/>
                  <a:pt x="15" y="0"/>
                  <a:pt x="15" y="0"/>
                </a:cubicBezTo>
                <a:cubicBezTo>
                  <a:pt x="13" y="0"/>
                  <a:pt x="13" y="0"/>
                  <a:pt x="13" y="0"/>
                </a:cubicBezTo>
                <a:cubicBezTo>
                  <a:pt x="12" y="0"/>
                  <a:pt x="12" y="0"/>
                  <a:pt x="12" y="0"/>
                </a:cubicBezTo>
                <a:cubicBezTo>
                  <a:pt x="11" y="0"/>
                  <a:pt x="11" y="0"/>
                  <a:pt x="11" y="0"/>
                </a:cubicBezTo>
                <a:cubicBezTo>
                  <a:pt x="11" y="0"/>
                  <a:pt x="11" y="1"/>
                  <a:pt x="11" y="2"/>
                </a:cubicBezTo>
                <a:cubicBezTo>
                  <a:pt x="10" y="3"/>
                  <a:pt x="10" y="4"/>
                  <a:pt x="10" y="4"/>
                </a:cubicBezTo>
                <a:cubicBezTo>
                  <a:pt x="10" y="4"/>
                  <a:pt x="7" y="3"/>
                  <a:pt x="7" y="3"/>
                </a:cubicBezTo>
                <a:cubicBezTo>
                  <a:pt x="6" y="3"/>
                  <a:pt x="5" y="3"/>
                  <a:pt x="4" y="3"/>
                </a:cubicBezTo>
                <a:cubicBezTo>
                  <a:pt x="4" y="4"/>
                  <a:pt x="4" y="5"/>
                  <a:pt x="4" y="5"/>
                </a:cubicBezTo>
                <a:cubicBezTo>
                  <a:pt x="4" y="6"/>
                  <a:pt x="5" y="5"/>
                  <a:pt x="6" y="5"/>
                </a:cubicBezTo>
                <a:cubicBezTo>
                  <a:pt x="7" y="6"/>
                  <a:pt x="7" y="7"/>
                  <a:pt x="6" y="7"/>
                </a:cubicBezTo>
                <a:cubicBezTo>
                  <a:pt x="5" y="7"/>
                  <a:pt x="6" y="8"/>
                  <a:pt x="6" y="9"/>
                </a:cubicBezTo>
                <a:cubicBezTo>
                  <a:pt x="7" y="9"/>
                  <a:pt x="7" y="10"/>
                  <a:pt x="7" y="11"/>
                </a:cubicBezTo>
                <a:cubicBezTo>
                  <a:pt x="7" y="12"/>
                  <a:pt x="7" y="14"/>
                  <a:pt x="6" y="14"/>
                </a:cubicBezTo>
                <a:cubicBezTo>
                  <a:pt x="5" y="14"/>
                  <a:pt x="5" y="13"/>
                  <a:pt x="5" y="13"/>
                </a:cubicBezTo>
                <a:cubicBezTo>
                  <a:pt x="4" y="14"/>
                  <a:pt x="4" y="12"/>
                  <a:pt x="3" y="12"/>
                </a:cubicBezTo>
                <a:cubicBezTo>
                  <a:pt x="3" y="12"/>
                  <a:pt x="3" y="13"/>
                  <a:pt x="2" y="13"/>
                </a:cubicBezTo>
                <a:cubicBezTo>
                  <a:pt x="2" y="13"/>
                  <a:pt x="1" y="13"/>
                  <a:pt x="1" y="14"/>
                </a:cubicBezTo>
                <a:cubicBezTo>
                  <a:pt x="1" y="15"/>
                  <a:pt x="2" y="16"/>
                  <a:pt x="1" y="16"/>
                </a:cubicBezTo>
                <a:cubicBezTo>
                  <a:pt x="0" y="16"/>
                  <a:pt x="0" y="16"/>
                  <a:pt x="0" y="17"/>
                </a:cubicBezTo>
                <a:cubicBezTo>
                  <a:pt x="0" y="17"/>
                  <a:pt x="0" y="17"/>
                  <a:pt x="0" y="17"/>
                </a:cubicBezTo>
                <a:cubicBezTo>
                  <a:pt x="1" y="18"/>
                  <a:pt x="1" y="18"/>
                  <a:pt x="2" y="19"/>
                </a:cubicBezTo>
                <a:cubicBezTo>
                  <a:pt x="3" y="19"/>
                  <a:pt x="4" y="18"/>
                  <a:pt x="4"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75"/>
          <p:cNvSpPr>
            <a:spLocks/>
          </p:cNvSpPr>
          <p:nvPr/>
        </p:nvSpPr>
        <p:spPr bwMode="auto">
          <a:xfrm>
            <a:off x="2426756" y="3025135"/>
            <a:ext cx="178742" cy="218066"/>
          </a:xfrm>
          <a:custGeom>
            <a:avLst/>
            <a:gdLst>
              <a:gd name="T0" fmla="*/ 28 w 37"/>
              <a:gd name="T1" fmla="*/ 2 h 45"/>
              <a:gd name="T2" fmla="*/ 25 w 37"/>
              <a:gd name="T3" fmla="*/ 3 h 45"/>
              <a:gd name="T4" fmla="*/ 21 w 37"/>
              <a:gd name="T5" fmla="*/ 2 h 45"/>
              <a:gd name="T6" fmla="*/ 7 w 37"/>
              <a:gd name="T7" fmla="*/ 3 h 45"/>
              <a:gd name="T8" fmla="*/ 5 w 37"/>
              <a:gd name="T9" fmla="*/ 8 h 45"/>
              <a:gd name="T10" fmla="*/ 5 w 37"/>
              <a:gd name="T11" fmla="*/ 17 h 45"/>
              <a:gd name="T12" fmla="*/ 2 w 37"/>
              <a:gd name="T13" fmla="*/ 20 h 45"/>
              <a:gd name="T14" fmla="*/ 1 w 37"/>
              <a:gd name="T15" fmla="*/ 23 h 45"/>
              <a:gd name="T16" fmla="*/ 2 w 37"/>
              <a:gd name="T17" fmla="*/ 26 h 45"/>
              <a:gd name="T18" fmla="*/ 2 w 37"/>
              <a:gd name="T19" fmla="*/ 28 h 45"/>
              <a:gd name="T20" fmla="*/ 4 w 37"/>
              <a:gd name="T21" fmla="*/ 32 h 45"/>
              <a:gd name="T22" fmla="*/ 5 w 37"/>
              <a:gd name="T23" fmla="*/ 33 h 45"/>
              <a:gd name="T24" fmla="*/ 7 w 37"/>
              <a:gd name="T25" fmla="*/ 35 h 45"/>
              <a:gd name="T26" fmla="*/ 9 w 37"/>
              <a:gd name="T27" fmla="*/ 37 h 45"/>
              <a:gd name="T28" fmla="*/ 11 w 37"/>
              <a:gd name="T29" fmla="*/ 40 h 45"/>
              <a:gd name="T30" fmla="*/ 13 w 37"/>
              <a:gd name="T31" fmla="*/ 42 h 45"/>
              <a:gd name="T32" fmla="*/ 15 w 37"/>
              <a:gd name="T33" fmla="*/ 43 h 45"/>
              <a:gd name="T34" fmla="*/ 17 w 37"/>
              <a:gd name="T35" fmla="*/ 43 h 45"/>
              <a:gd name="T36" fmla="*/ 21 w 37"/>
              <a:gd name="T37" fmla="*/ 44 h 45"/>
              <a:gd name="T38" fmla="*/ 24 w 37"/>
              <a:gd name="T39" fmla="*/ 44 h 45"/>
              <a:gd name="T40" fmla="*/ 27 w 37"/>
              <a:gd name="T41" fmla="*/ 44 h 45"/>
              <a:gd name="T42" fmla="*/ 29 w 37"/>
              <a:gd name="T43" fmla="*/ 42 h 45"/>
              <a:gd name="T44" fmla="*/ 30 w 37"/>
              <a:gd name="T45" fmla="*/ 42 h 45"/>
              <a:gd name="T46" fmla="*/ 28 w 37"/>
              <a:gd name="T47" fmla="*/ 39 h 45"/>
              <a:gd name="T48" fmla="*/ 24 w 37"/>
              <a:gd name="T49" fmla="*/ 35 h 45"/>
              <a:gd name="T50" fmla="*/ 27 w 37"/>
              <a:gd name="T51" fmla="*/ 34 h 45"/>
              <a:gd name="T52" fmla="*/ 28 w 37"/>
              <a:gd name="T53" fmla="*/ 29 h 45"/>
              <a:gd name="T54" fmla="*/ 29 w 37"/>
              <a:gd name="T55" fmla="*/ 26 h 45"/>
              <a:gd name="T56" fmla="*/ 32 w 37"/>
              <a:gd name="T57" fmla="*/ 23 h 45"/>
              <a:gd name="T58" fmla="*/ 33 w 37"/>
              <a:gd name="T59" fmla="*/ 18 h 45"/>
              <a:gd name="T60" fmla="*/ 35 w 37"/>
              <a:gd name="T61" fmla="*/ 14 h 45"/>
              <a:gd name="T62" fmla="*/ 35 w 37"/>
              <a:gd name="T63" fmla="*/ 11 h 45"/>
              <a:gd name="T64" fmla="*/ 34 w 37"/>
              <a:gd name="T65" fmla="*/ 4 h 45"/>
              <a:gd name="T66" fmla="*/ 30 w 37"/>
              <a:gd name="T67" fmla="*/ 0 h 45"/>
              <a:gd name="T68" fmla="*/ 29 w 37"/>
              <a:gd name="T6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5">
                <a:moveTo>
                  <a:pt x="29" y="1"/>
                </a:moveTo>
                <a:cubicBezTo>
                  <a:pt x="28" y="1"/>
                  <a:pt x="29" y="2"/>
                  <a:pt x="28" y="2"/>
                </a:cubicBezTo>
                <a:cubicBezTo>
                  <a:pt x="27" y="2"/>
                  <a:pt x="27" y="3"/>
                  <a:pt x="26" y="3"/>
                </a:cubicBezTo>
                <a:cubicBezTo>
                  <a:pt x="26" y="3"/>
                  <a:pt x="25" y="3"/>
                  <a:pt x="25" y="3"/>
                </a:cubicBezTo>
                <a:cubicBezTo>
                  <a:pt x="22" y="3"/>
                  <a:pt x="22" y="3"/>
                  <a:pt x="22" y="3"/>
                </a:cubicBezTo>
                <a:cubicBezTo>
                  <a:pt x="22" y="3"/>
                  <a:pt x="22" y="2"/>
                  <a:pt x="21" y="2"/>
                </a:cubicBezTo>
                <a:cubicBezTo>
                  <a:pt x="21" y="3"/>
                  <a:pt x="20" y="3"/>
                  <a:pt x="20" y="3"/>
                </a:cubicBezTo>
                <a:cubicBezTo>
                  <a:pt x="7" y="3"/>
                  <a:pt x="7" y="3"/>
                  <a:pt x="7" y="3"/>
                </a:cubicBezTo>
                <a:cubicBezTo>
                  <a:pt x="7" y="8"/>
                  <a:pt x="7" y="8"/>
                  <a:pt x="7" y="8"/>
                </a:cubicBezTo>
                <a:cubicBezTo>
                  <a:pt x="5" y="8"/>
                  <a:pt x="5" y="8"/>
                  <a:pt x="5" y="8"/>
                </a:cubicBezTo>
                <a:cubicBezTo>
                  <a:pt x="5" y="15"/>
                  <a:pt x="5" y="15"/>
                  <a:pt x="5" y="15"/>
                </a:cubicBezTo>
                <a:cubicBezTo>
                  <a:pt x="5" y="15"/>
                  <a:pt x="5" y="17"/>
                  <a:pt x="5" y="17"/>
                </a:cubicBezTo>
                <a:cubicBezTo>
                  <a:pt x="4" y="17"/>
                  <a:pt x="3" y="18"/>
                  <a:pt x="3" y="18"/>
                </a:cubicBezTo>
                <a:cubicBezTo>
                  <a:pt x="3" y="19"/>
                  <a:pt x="3" y="20"/>
                  <a:pt x="2" y="20"/>
                </a:cubicBezTo>
                <a:cubicBezTo>
                  <a:pt x="1" y="20"/>
                  <a:pt x="2" y="21"/>
                  <a:pt x="1" y="21"/>
                </a:cubicBezTo>
                <a:cubicBezTo>
                  <a:pt x="0" y="21"/>
                  <a:pt x="1" y="22"/>
                  <a:pt x="1" y="23"/>
                </a:cubicBezTo>
                <a:cubicBezTo>
                  <a:pt x="0" y="24"/>
                  <a:pt x="0" y="24"/>
                  <a:pt x="1" y="24"/>
                </a:cubicBezTo>
                <a:cubicBezTo>
                  <a:pt x="2" y="24"/>
                  <a:pt x="2" y="25"/>
                  <a:pt x="2" y="26"/>
                </a:cubicBezTo>
                <a:cubicBezTo>
                  <a:pt x="2" y="27"/>
                  <a:pt x="3" y="27"/>
                  <a:pt x="3" y="27"/>
                </a:cubicBezTo>
                <a:cubicBezTo>
                  <a:pt x="2" y="28"/>
                  <a:pt x="2" y="28"/>
                  <a:pt x="2" y="28"/>
                </a:cubicBezTo>
                <a:cubicBezTo>
                  <a:pt x="2" y="28"/>
                  <a:pt x="4" y="30"/>
                  <a:pt x="4" y="30"/>
                </a:cubicBezTo>
                <a:cubicBezTo>
                  <a:pt x="4" y="31"/>
                  <a:pt x="5" y="32"/>
                  <a:pt x="4" y="32"/>
                </a:cubicBezTo>
                <a:cubicBezTo>
                  <a:pt x="3" y="33"/>
                  <a:pt x="4" y="33"/>
                  <a:pt x="4" y="33"/>
                </a:cubicBezTo>
                <a:cubicBezTo>
                  <a:pt x="5" y="33"/>
                  <a:pt x="5" y="33"/>
                  <a:pt x="5" y="33"/>
                </a:cubicBezTo>
                <a:cubicBezTo>
                  <a:pt x="5" y="34"/>
                  <a:pt x="5" y="34"/>
                  <a:pt x="5" y="34"/>
                </a:cubicBezTo>
                <a:cubicBezTo>
                  <a:pt x="5" y="34"/>
                  <a:pt x="6" y="34"/>
                  <a:pt x="7" y="35"/>
                </a:cubicBezTo>
                <a:cubicBezTo>
                  <a:pt x="8" y="36"/>
                  <a:pt x="8" y="36"/>
                  <a:pt x="8" y="36"/>
                </a:cubicBezTo>
                <a:cubicBezTo>
                  <a:pt x="8" y="37"/>
                  <a:pt x="8" y="37"/>
                  <a:pt x="9" y="37"/>
                </a:cubicBezTo>
                <a:cubicBezTo>
                  <a:pt x="10" y="38"/>
                  <a:pt x="10" y="38"/>
                  <a:pt x="10" y="39"/>
                </a:cubicBezTo>
                <a:cubicBezTo>
                  <a:pt x="10" y="39"/>
                  <a:pt x="11" y="40"/>
                  <a:pt x="11" y="40"/>
                </a:cubicBezTo>
                <a:cubicBezTo>
                  <a:pt x="12" y="41"/>
                  <a:pt x="12" y="41"/>
                  <a:pt x="12" y="41"/>
                </a:cubicBezTo>
                <a:cubicBezTo>
                  <a:pt x="12" y="41"/>
                  <a:pt x="12" y="41"/>
                  <a:pt x="13" y="42"/>
                </a:cubicBezTo>
                <a:cubicBezTo>
                  <a:pt x="13" y="42"/>
                  <a:pt x="14" y="43"/>
                  <a:pt x="14" y="43"/>
                </a:cubicBezTo>
                <a:cubicBezTo>
                  <a:pt x="14" y="43"/>
                  <a:pt x="14" y="43"/>
                  <a:pt x="15" y="43"/>
                </a:cubicBezTo>
                <a:cubicBezTo>
                  <a:pt x="15" y="42"/>
                  <a:pt x="16" y="43"/>
                  <a:pt x="16" y="43"/>
                </a:cubicBezTo>
                <a:cubicBezTo>
                  <a:pt x="16" y="43"/>
                  <a:pt x="17" y="42"/>
                  <a:pt x="17" y="43"/>
                </a:cubicBezTo>
                <a:cubicBezTo>
                  <a:pt x="18" y="43"/>
                  <a:pt x="19" y="44"/>
                  <a:pt x="20" y="45"/>
                </a:cubicBezTo>
                <a:cubicBezTo>
                  <a:pt x="20" y="45"/>
                  <a:pt x="21" y="44"/>
                  <a:pt x="21" y="44"/>
                </a:cubicBezTo>
                <a:cubicBezTo>
                  <a:pt x="22" y="44"/>
                  <a:pt x="23" y="45"/>
                  <a:pt x="23" y="45"/>
                </a:cubicBezTo>
                <a:cubicBezTo>
                  <a:pt x="23" y="45"/>
                  <a:pt x="24" y="44"/>
                  <a:pt x="24" y="44"/>
                </a:cubicBezTo>
                <a:cubicBezTo>
                  <a:pt x="25" y="45"/>
                  <a:pt x="26" y="45"/>
                  <a:pt x="26" y="44"/>
                </a:cubicBezTo>
                <a:cubicBezTo>
                  <a:pt x="26" y="44"/>
                  <a:pt x="26" y="44"/>
                  <a:pt x="27" y="44"/>
                </a:cubicBezTo>
                <a:cubicBezTo>
                  <a:pt x="27" y="43"/>
                  <a:pt x="27" y="43"/>
                  <a:pt x="27" y="43"/>
                </a:cubicBezTo>
                <a:cubicBezTo>
                  <a:pt x="27" y="43"/>
                  <a:pt x="28" y="42"/>
                  <a:pt x="29" y="42"/>
                </a:cubicBezTo>
                <a:cubicBezTo>
                  <a:pt x="29" y="42"/>
                  <a:pt x="30" y="42"/>
                  <a:pt x="30" y="42"/>
                </a:cubicBezTo>
                <a:cubicBezTo>
                  <a:pt x="30" y="42"/>
                  <a:pt x="30" y="42"/>
                  <a:pt x="30" y="42"/>
                </a:cubicBezTo>
                <a:cubicBezTo>
                  <a:pt x="31" y="41"/>
                  <a:pt x="31" y="41"/>
                  <a:pt x="30" y="41"/>
                </a:cubicBezTo>
                <a:cubicBezTo>
                  <a:pt x="30" y="41"/>
                  <a:pt x="29" y="40"/>
                  <a:pt x="28" y="39"/>
                </a:cubicBezTo>
                <a:cubicBezTo>
                  <a:pt x="28" y="38"/>
                  <a:pt x="27" y="37"/>
                  <a:pt x="27" y="36"/>
                </a:cubicBezTo>
                <a:cubicBezTo>
                  <a:pt x="26" y="36"/>
                  <a:pt x="25" y="36"/>
                  <a:pt x="24" y="35"/>
                </a:cubicBezTo>
                <a:cubicBezTo>
                  <a:pt x="24" y="35"/>
                  <a:pt x="25" y="35"/>
                  <a:pt x="25" y="34"/>
                </a:cubicBezTo>
                <a:cubicBezTo>
                  <a:pt x="25" y="33"/>
                  <a:pt x="27" y="34"/>
                  <a:pt x="27" y="34"/>
                </a:cubicBezTo>
                <a:cubicBezTo>
                  <a:pt x="27" y="34"/>
                  <a:pt x="27" y="32"/>
                  <a:pt x="27" y="31"/>
                </a:cubicBezTo>
                <a:cubicBezTo>
                  <a:pt x="27" y="30"/>
                  <a:pt x="28" y="30"/>
                  <a:pt x="28" y="29"/>
                </a:cubicBezTo>
                <a:cubicBezTo>
                  <a:pt x="27" y="29"/>
                  <a:pt x="28" y="29"/>
                  <a:pt x="29" y="28"/>
                </a:cubicBezTo>
                <a:cubicBezTo>
                  <a:pt x="29" y="28"/>
                  <a:pt x="29" y="27"/>
                  <a:pt x="29" y="26"/>
                </a:cubicBezTo>
                <a:cubicBezTo>
                  <a:pt x="30" y="26"/>
                  <a:pt x="30" y="24"/>
                  <a:pt x="31" y="24"/>
                </a:cubicBezTo>
                <a:cubicBezTo>
                  <a:pt x="31" y="24"/>
                  <a:pt x="32" y="24"/>
                  <a:pt x="32" y="23"/>
                </a:cubicBezTo>
                <a:cubicBezTo>
                  <a:pt x="32" y="23"/>
                  <a:pt x="33" y="22"/>
                  <a:pt x="32" y="21"/>
                </a:cubicBezTo>
                <a:cubicBezTo>
                  <a:pt x="32" y="20"/>
                  <a:pt x="32" y="19"/>
                  <a:pt x="33" y="18"/>
                </a:cubicBezTo>
                <a:cubicBezTo>
                  <a:pt x="33" y="17"/>
                  <a:pt x="33" y="16"/>
                  <a:pt x="33" y="16"/>
                </a:cubicBezTo>
                <a:cubicBezTo>
                  <a:pt x="33" y="15"/>
                  <a:pt x="34" y="15"/>
                  <a:pt x="35" y="14"/>
                </a:cubicBezTo>
                <a:cubicBezTo>
                  <a:pt x="35" y="14"/>
                  <a:pt x="36" y="14"/>
                  <a:pt x="37" y="12"/>
                </a:cubicBezTo>
                <a:cubicBezTo>
                  <a:pt x="36" y="12"/>
                  <a:pt x="36" y="11"/>
                  <a:pt x="35" y="11"/>
                </a:cubicBezTo>
                <a:cubicBezTo>
                  <a:pt x="35" y="11"/>
                  <a:pt x="34" y="9"/>
                  <a:pt x="34" y="8"/>
                </a:cubicBezTo>
                <a:cubicBezTo>
                  <a:pt x="34" y="6"/>
                  <a:pt x="34" y="5"/>
                  <a:pt x="34" y="4"/>
                </a:cubicBezTo>
                <a:cubicBezTo>
                  <a:pt x="33" y="3"/>
                  <a:pt x="33" y="2"/>
                  <a:pt x="32" y="2"/>
                </a:cubicBezTo>
                <a:cubicBezTo>
                  <a:pt x="31" y="1"/>
                  <a:pt x="30" y="1"/>
                  <a:pt x="30" y="0"/>
                </a:cubicBezTo>
                <a:cubicBezTo>
                  <a:pt x="30" y="0"/>
                  <a:pt x="30" y="0"/>
                  <a:pt x="30" y="0"/>
                </a:cubicBezTo>
                <a:cubicBezTo>
                  <a:pt x="30" y="1"/>
                  <a:pt x="30" y="1"/>
                  <a:pt x="2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76"/>
          <p:cNvSpPr>
            <a:spLocks/>
          </p:cNvSpPr>
          <p:nvPr/>
        </p:nvSpPr>
        <p:spPr bwMode="auto">
          <a:xfrm>
            <a:off x="2641247" y="3146680"/>
            <a:ext cx="17874" cy="17874"/>
          </a:xfrm>
          <a:custGeom>
            <a:avLst/>
            <a:gdLst>
              <a:gd name="T0" fmla="*/ 1 w 4"/>
              <a:gd name="T1" fmla="*/ 0 h 4"/>
              <a:gd name="T2" fmla="*/ 0 w 4"/>
              <a:gd name="T3" fmla="*/ 2 h 4"/>
              <a:gd name="T4" fmla="*/ 0 w 4"/>
              <a:gd name="T5" fmla="*/ 3 h 4"/>
              <a:gd name="T6" fmla="*/ 1 w 4"/>
              <a:gd name="T7" fmla="*/ 3 h 4"/>
              <a:gd name="T8" fmla="*/ 2 w 4"/>
              <a:gd name="T9" fmla="*/ 4 h 4"/>
              <a:gd name="T10" fmla="*/ 3 w 4"/>
              <a:gd name="T11" fmla="*/ 3 h 4"/>
              <a:gd name="T12" fmla="*/ 2 w 4"/>
              <a:gd name="T13" fmla="*/ 2 h 4"/>
              <a:gd name="T14" fmla="*/ 3 w 4"/>
              <a:gd name="T15" fmla="*/ 1 h 4"/>
              <a:gd name="T16" fmla="*/ 3 w 4"/>
              <a:gd name="T17" fmla="*/ 0 h 4"/>
              <a:gd name="T18" fmla="*/ 3 w 4"/>
              <a:gd name="T19" fmla="*/ 0 h 4"/>
              <a:gd name="T20" fmla="*/ 2 w 4"/>
              <a:gd name="T21" fmla="*/ 0 h 4"/>
              <a:gd name="T22" fmla="*/ 1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1" y="0"/>
                </a:moveTo>
                <a:cubicBezTo>
                  <a:pt x="1" y="0"/>
                  <a:pt x="1" y="1"/>
                  <a:pt x="0" y="2"/>
                </a:cubicBezTo>
                <a:cubicBezTo>
                  <a:pt x="0" y="2"/>
                  <a:pt x="0" y="3"/>
                  <a:pt x="0" y="3"/>
                </a:cubicBezTo>
                <a:cubicBezTo>
                  <a:pt x="0" y="4"/>
                  <a:pt x="1" y="4"/>
                  <a:pt x="1" y="3"/>
                </a:cubicBezTo>
                <a:cubicBezTo>
                  <a:pt x="2" y="3"/>
                  <a:pt x="2" y="3"/>
                  <a:pt x="2" y="4"/>
                </a:cubicBezTo>
                <a:cubicBezTo>
                  <a:pt x="3" y="3"/>
                  <a:pt x="3" y="3"/>
                  <a:pt x="3" y="3"/>
                </a:cubicBezTo>
                <a:cubicBezTo>
                  <a:pt x="3" y="2"/>
                  <a:pt x="2" y="2"/>
                  <a:pt x="2" y="2"/>
                </a:cubicBezTo>
                <a:cubicBezTo>
                  <a:pt x="2" y="2"/>
                  <a:pt x="3" y="1"/>
                  <a:pt x="3" y="1"/>
                </a:cubicBezTo>
                <a:cubicBezTo>
                  <a:pt x="4" y="1"/>
                  <a:pt x="4" y="0"/>
                  <a:pt x="3" y="0"/>
                </a:cubicBezTo>
                <a:cubicBezTo>
                  <a:pt x="3" y="0"/>
                  <a:pt x="3" y="0"/>
                  <a:pt x="3" y="0"/>
                </a:cubicBezTo>
                <a:cubicBezTo>
                  <a:pt x="3" y="0"/>
                  <a:pt x="2" y="0"/>
                  <a:pt x="2" y="0"/>
                </a:cubicBezTo>
                <a:cubicBezTo>
                  <a:pt x="2" y="0"/>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7"/>
          <p:cNvSpPr>
            <a:spLocks/>
          </p:cNvSpPr>
          <p:nvPr/>
        </p:nvSpPr>
        <p:spPr bwMode="auto">
          <a:xfrm>
            <a:off x="2580475" y="3082333"/>
            <a:ext cx="75072" cy="64347"/>
          </a:xfrm>
          <a:custGeom>
            <a:avLst/>
            <a:gdLst>
              <a:gd name="T0" fmla="*/ 3 w 15"/>
              <a:gd name="T1" fmla="*/ 2 h 13"/>
              <a:gd name="T2" fmla="*/ 1 w 15"/>
              <a:gd name="T3" fmla="*/ 4 h 13"/>
              <a:gd name="T4" fmla="*/ 1 w 15"/>
              <a:gd name="T5" fmla="*/ 6 h 13"/>
              <a:gd name="T6" fmla="*/ 0 w 15"/>
              <a:gd name="T7" fmla="*/ 9 h 13"/>
              <a:gd name="T8" fmla="*/ 2 w 15"/>
              <a:gd name="T9" fmla="*/ 9 h 13"/>
              <a:gd name="T10" fmla="*/ 3 w 15"/>
              <a:gd name="T11" fmla="*/ 8 h 13"/>
              <a:gd name="T12" fmla="*/ 4 w 15"/>
              <a:gd name="T13" fmla="*/ 8 h 13"/>
              <a:gd name="T14" fmla="*/ 5 w 15"/>
              <a:gd name="T15" fmla="*/ 8 h 13"/>
              <a:gd name="T16" fmla="*/ 6 w 15"/>
              <a:gd name="T17" fmla="*/ 8 h 13"/>
              <a:gd name="T18" fmla="*/ 9 w 15"/>
              <a:gd name="T19" fmla="*/ 8 h 13"/>
              <a:gd name="T20" fmla="*/ 13 w 15"/>
              <a:gd name="T21" fmla="*/ 13 h 13"/>
              <a:gd name="T22" fmla="*/ 13 w 15"/>
              <a:gd name="T23" fmla="*/ 13 h 13"/>
              <a:gd name="T24" fmla="*/ 14 w 15"/>
              <a:gd name="T25" fmla="*/ 13 h 13"/>
              <a:gd name="T26" fmla="*/ 15 w 15"/>
              <a:gd name="T27" fmla="*/ 12 h 13"/>
              <a:gd name="T28" fmla="*/ 12 w 15"/>
              <a:gd name="T29" fmla="*/ 10 h 13"/>
              <a:gd name="T30" fmla="*/ 9 w 15"/>
              <a:gd name="T31" fmla="*/ 7 h 13"/>
              <a:gd name="T32" fmla="*/ 8 w 15"/>
              <a:gd name="T33" fmla="*/ 6 h 13"/>
              <a:gd name="T34" fmla="*/ 6 w 15"/>
              <a:gd name="T35" fmla="*/ 3 h 13"/>
              <a:gd name="T36" fmla="*/ 5 w 15"/>
              <a:gd name="T37" fmla="*/ 0 h 13"/>
              <a:gd name="T38" fmla="*/ 3 w 15"/>
              <a:gd name="T3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3" y="2"/>
                </a:moveTo>
                <a:cubicBezTo>
                  <a:pt x="2" y="3"/>
                  <a:pt x="1" y="3"/>
                  <a:pt x="1" y="4"/>
                </a:cubicBezTo>
                <a:cubicBezTo>
                  <a:pt x="1" y="4"/>
                  <a:pt x="1" y="5"/>
                  <a:pt x="1" y="6"/>
                </a:cubicBezTo>
                <a:cubicBezTo>
                  <a:pt x="0" y="7"/>
                  <a:pt x="0" y="8"/>
                  <a:pt x="0" y="9"/>
                </a:cubicBezTo>
                <a:cubicBezTo>
                  <a:pt x="1" y="9"/>
                  <a:pt x="2" y="9"/>
                  <a:pt x="2" y="9"/>
                </a:cubicBezTo>
                <a:cubicBezTo>
                  <a:pt x="3" y="9"/>
                  <a:pt x="3" y="9"/>
                  <a:pt x="3" y="8"/>
                </a:cubicBezTo>
                <a:cubicBezTo>
                  <a:pt x="3" y="7"/>
                  <a:pt x="4" y="8"/>
                  <a:pt x="4" y="8"/>
                </a:cubicBezTo>
                <a:cubicBezTo>
                  <a:pt x="4" y="8"/>
                  <a:pt x="5" y="9"/>
                  <a:pt x="5" y="8"/>
                </a:cubicBezTo>
                <a:cubicBezTo>
                  <a:pt x="6" y="8"/>
                  <a:pt x="6" y="8"/>
                  <a:pt x="6" y="8"/>
                </a:cubicBezTo>
                <a:cubicBezTo>
                  <a:pt x="7" y="9"/>
                  <a:pt x="8" y="8"/>
                  <a:pt x="9" y="8"/>
                </a:cubicBezTo>
                <a:cubicBezTo>
                  <a:pt x="9" y="8"/>
                  <a:pt x="13" y="13"/>
                  <a:pt x="13" y="13"/>
                </a:cubicBezTo>
                <a:cubicBezTo>
                  <a:pt x="13" y="13"/>
                  <a:pt x="13" y="13"/>
                  <a:pt x="13" y="13"/>
                </a:cubicBezTo>
                <a:cubicBezTo>
                  <a:pt x="14" y="13"/>
                  <a:pt x="14" y="13"/>
                  <a:pt x="14" y="13"/>
                </a:cubicBezTo>
                <a:cubicBezTo>
                  <a:pt x="14" y="13"/>
                  <a:pt x="15" y="13"/>
                  <a:pt x="15" y="12"/>
                </a:cubicBezTo>
                <a:cubicBezTo>
                  <a:pt x="14" y="12"/>
                  <a:pt x="14" y="11"/>
                  <a:pt x="12" y="10"/>
                </a:cubicBezTo>
                <a:cubicBezTo>
                  <a:pt x="11" y="8"/>
                  <a:pt x="10" y="7"/>
                  <a:pt x="9" y="7"/>
                </a:cubicBezTo>
                <a:cubicBezTo>
                  <a:pt x="8" y="7"/>
                  <a:pt x="8" y="6"/>
                  <a:pt x="8" y="6"/>
                </a:cubicBezTo>
                <a:cubicBezTo>
                  <a:pt x="7" y="6"/>
                  <a:pt x="6" y="4"/>
                  <a:pt x="6" y="3"/>
                </a:cubicBezTo>
                <a:cubicBezTo>
                  <a:pt x="6" y="2"/>
                  <a:pt x="5" y="1"/>
                  <a:pt x="5" y="0"/>
                </a:cubicBezTo>
                <a:cubicBezTo>
                  <a:pt x="4" y="2"/>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78"/>
          <p:cNvSpPr>
            <a:spLocks/>
          </p:cNvSpPr>
          <p:nvPr/>
        </p:nvSpPr>
        <p:spPr bwMode="auto">
          <a:xfrm>
            <a:off x="2544726" y="3114506"/>
            <a:ext cx="160868" cy="128695"/>
          </a:xfrm>
          <a:custGeom>
            <a:avLst/>
            <a:gdLst>
              <a:gd name="T0" fmla="*/ 3 w 34"/>
              <a:gd name="T1" fmla="*/ 17 h 26"/>
              <a:gd name="T2" fmla="*/ 4 w 34"/>
              <a:gd name="T3" fmla="*/ 20 h 26"/>
              <a:gd name="T4" fmla="*/ 6 w 34"/>
              <a:gd name="T5" fmla="*/ 22 h 26"/>
              <a:gd name="T6" fmla="*/ 6 w 34"/>
              <a:gd name="T7" fmla="*/ 23 h 26"/>
              <a:gd name="T8" fmla="*/ 7 w 34"/>
              <a:gd name="T9" fmla="*/ 24 h 26"/>
              <a:gd name="T10" fmla="*/ 9 w 34"/>
              <a:gd name="T11" fmla="*/ 24 h 26"/>
              <a:gd name="T12" fmla="*/ 12 w 34"/>
              <a:gd name="T13" fmla="*/ 26 h 26"/>
              <a:gd name="T14" fmla="*/ 15 w 34"/>
              <a:gd name="T15" fmla="*/ 26 h 26"/>
              <a:gd name="T16" fmla="*/ 16 w 34"/>
              <a:gd name="T17" fmla="*/ 25 h 26"/>
              <a:gd name="T18" fmla="*/ 18 w 34"/>
              <a:gd name="T19" fmla="*/ 25 h 26"/>
              <a:gd name="T20" fmla="*/ 19 w 34"/>
              <a:gd name="T21" fmla="*/ 25 h 26"/>
              <a:gd name="T22" fmla="*/ 20 w 34"/>
              <a:gd name="T23" fmla="*/ 25 h 26"/>
              <a:gd name="T24" fmla="*/ 22 w 34"/>
              <a:gd name="T25" fmla="*/ 24 h 26"/>
              <a:gd name="T26" fmla="*/ 25 w 34"/>
              <a:gd name="T27" fmla="*/ 23 h 26"/>
              <a:gd name="T28" fmla="*/ 27 w 34"/>
              <a:gd name="T29" fmla="*/ 22 h 26"/>
              <a:gd name="T30" fmla="*/ 33 w 34"/>
              <a:gd name="T31" fmla="*/ 17 h 26"/>
              <a:gd name="T32" fmla="*/ 32 w 34"/>
              <a:gd name="T33" fmla="*/ 16 h 26"/>
              <a:gd name="T34" fmla="*/ 29 w 34"/>
              <a:gd name="T35" fmla="*/ 15 h 26"/>
              <a:gd name="T36" fmla="*/ 25 w 34"/>
              <a:gd name="T37" fmla="*/ 14 h 26"/>
              <a:gd name="T38" fmla="*/ 23 w 34"/>
              <a:gd name="T39" fmla="*/ 13 h 26"/>
              <a:gd name="T40" fmla="*/ 22 w 34"/>
              <a:gd name="T41" fmla="*/ 11 h 26"/>
              <a:gd name="T42" fmla="*/ 22 w 34"/>
              <a:gd name="T43" fmla="*/ 10 h 26"/>
              <a:gd name="T44" fmla="*/ 21 w 34"/>
              <a:gd name="T45" fmla="*/ 9 h 26"/>
              <a:gd name="T46" fmla="*/ 20 w 34"/>
              <a:gd name="T47" fmla="*/ 9 h 26"/>
              <a:gd name="T48" fmla="*/ 20 w 34"/>
              <a:gd name="T49" fmla="*/ 8 h 26"/>
              <a:gd name="T50" fmla="*/ 21 w 34"/>
              <a:gd name="T51" fmla="*/ 6 h 26"/>
              <a:gd name="T52" fmla="*/ 17 w 34"/>
              <a:gd name="T53" fmla="*/ 1 h 26"/>
              <a:gd name="T54" fmla="*/ 14 w 34"/>
              <a:gd name="T55" fmla="*/ 1 h 26"/>
              <a:gd name="T56" fmla="*/ 13 w 34"/>
              <a:gd name="T57" fmla="*/ 1 h 26"/>
              <a:gd name="T58" fmla="*/ 12 w 34"/>
              <a:gd name="T59" fmla="*/ 1 h 26"/>
              <a:gd name="T60" fmla="*/ 11 w 34"/>
              <a:gd name="T61" fmla="*/ 1 h 26"/>
              <a:gd name="T62" fmla="*/ 10 w 34"/>
              <a:gd name="T63" fmla="*/ 2 h 26"/>
              <a:gd name="T64" fmla="*/ 8 w 34"/>
              <a:gd name="T65" fmla="*/ 2 h 26"/>
              <a:gd name="T66" fmla="*/ 8 w 34"/>
              <a:gd name="T67" fmla="*/ 2 h 26"/>
              <a:gd name="T68" fmla="*/ 8 w 34"/>
              <a:gd name="T69" fmla="*/ 4 h 26"/>
              <a:gd name="T70" fmla="*/ 7 w 34"/>
              <a:gd name="T71" fmla="*/ 5 h 26"/>
              <a:gd name="T72" fmla="*/ 5 w 34"/>
              <a:gd name="T73" fmla="*/ 7 h 26"/>
              <a:gd name="T74" fmla="*/ 5 w 34"/>
              <a:gd name="T75" fmla="*/ 9 h 26"/>
              <a:gd name="T76" fmla="*/ 4 w 34"/>
              <a:gd name="T77" fmla="*/ 10 h 26"/>
              <a:gd name="T78" fmla="*/ 3 w 34"/>
              <a:gd name="T79" fmla="*/ 12 h 26"/>
              <a:gd name="T80" fmla="*/ 3 w 34"/>
              <a:gd name="T81" fmla="*/ 15 h 26"/>
              <a:gd name="T82" fmla="*/ 1 w 34"/>
              <a:gd name="T83" fmla="*/ 15 h 26"/>
              <a:gd name="T84" fmla="*/ 0 w 34"/>
              <a:gd name="T85" fmla="*/ 16 h 26"/>
              <a:gd name="T86" fmla="*/ 3 w 34"/>
              <a:gd name="T8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6">
                <a:moveTo>
                  <a:pt x="3" y="17"/>
                </a:moveTo>
                <a:cubicBezTo>
                  <a:pt x="3" y="18"/>
                  <a:pt x="4" y="19"/>
                  <a:pt x="4" y="20"/>
                </a:cubicBezTo>
                <a:cubicBezTo>
                  <a:pt x="5" y="21"/>
                  <a:pt x="6" y="22"/>
                  <a:pt x="6" y="22"/>
                </a:cubicBezTo>
                <a:cubicBezTo>
                  <a:pt x="7" y="22"/>
                  <a:pt x="7" y="22"/>
                  <a:pt x="6" y="23"/>
                </a:cubicBezTo>
                <a:cubicBezTo>
                  <a:pt x="7" y="24"/>
                  <a:pt x="7" y="24"/>
                  <a:pt x="7" y="24"/>
                </a:cubicBezTo>
                <a:cubicBezTo>
                  <a:pt x="8" y="24"/>
                  <a:pt x="9" y="24"/>
                  <a:pt x="9" y="24"/>
                </a:cubicBezTo>
                <a:cubicBezTo>
                  <a:pt x="10" y="25"/>
                  <a:pt x="11" y="26"/>
                  <a:pt x="12" y="26"/>
                </a:cubicBezTo>
                <a:cubicBezTo>
                  <a:pt x="12" y="26"/>
                  <a:pt x="14" y="26"/>
                  <a:pt x="15" y="26"/>
                </a:cubicBezTo>
                <a:cubicBezTo>
                  <a:pt x="15" y="26"/>
                  <a:pt x="15" y="25"/>
                  <a:pt x="16" y="25"/>
                </a:cubicBezTo>
                <a:cubicBezTo>
                  <a:pt x="17" y="25"/>
                  <a:pt x="18" y="24"/>
                  <a:pt x="18" y="25"/>
                </a:cubicBezTo>
                <a:cubicBezTo>
                  <a:pt x="18" y="25"/>
                  <a:pt x="19" y="25"/>
                  <a:pt x="19" y="25"/>
                </a:cubicBezTo>
                <a:cubicBezTo>
                  <a:pt x="19" y="25"/>
                  <a:pt x="20" y="25"/>
                  <a:pt x="20" y="25"/>
                </a:cubicBezTo>
                <a:cubicBezTo>
                  <a:pt x="21" y="25"/>
                  <a:pt x="22" y="24"/>
                  <a:pt x="22" y="24"/>
                </a:cubicBezTo>
                <a:cubicBezTo>
                  <a:pt x="22" y="24"/>
                  <a:pt x="23" y="23"/>
                  <a:pt x="25" y="23"/>
                </a:cubicBezTo>
                <a:cubicBezTo>
                  <a:pt x="26" y="23"/>
                  <a:pt x="27" y="23"/>
                  <a:pt x="27" y="22"/>
                </a:cubicBezTo>
                <a:cubicBezTo>
                  <a:pt x="28" y="22"/>
                  <a:pt x="33" y="17"/>
                  <a:pt x="33" y="17"/>
                </a:cubicBezTo>
                <a:cubicBezTo>
                  <a:pt x="34" y="16"/>
                  <a:pt x="33" y="16"/>
                  <a:pt x="32" y="16"/>
                </a:cubicBezTo>
                <a:cubicBezTo>
                  <a:pt x="32" y="16"/>
                  <a:pt x="31" y="16"/>
                  <a:pt x="29" y="15"/>
                </a:cubicBezTo>
                <a:cubicBezTo>
                  <a:pt x="28" y="15"/>
                  <a:pt x="25" y="14"/>
                  <a:pt x="25" y="14"/>
                </a:cubicBezTo>
                <a:cubicBezTo>
                  <a:pt x="24" y="14"/>
                  <a:pt x="24" y="13"/>
                  <a:pt x="23" y="13"/>
                </a:cubicBezTo>
                <a:cubicBezTo>
                  <a:pt x="23" y="12"/>
                  <a:pt x="22" y="11"/>
                  <a:pt x="22" y="11"/>
                </a:cubicBezTo>
                <a:cubicBezTo>
                  <a:pt x="22" y="10"/>
                  <a:pt x="22" y="10"/>
                  <a:pt x="22" y="10"/>
                </a:cubicBezTo>
                <a:cubicBezTo>
                  <a:pt x="22" y="9"/>
                  <a:pt x="22" y="9"/>
                  <a:pt x="21" y="9"/>
                </a:cubicBezTo>
                <a:cubicBezTo>
                  <a:pt x="21" y="10"/>
                  <a:pt x="20" y="10"/>
                  <a:pt x="20" y="9"/>
                </a:cubicBezTo>
                <a:cubicBezTo>
                  <a:pt x="20" y="9"/>
                  <a:pt x="20" y="8"/>
                  <a:pt x="20" y="8"/>
                </a:cubicBezTo>
                <a:cubicBezTo>
                  <a:pt x="21" y="7"/>
                  <a:pt x="21" y="6"/>
                  <a:pt x="21" y="6"/>
                </a:cubicBezTo>
                <a:cubicBezTo>
                  <a:pt x="21" y="6"/>
                  <a:pt x="17" y="1"/>
                  <a:pt x="17" y="1"/>
                </a:cubicBezTo>
                <a:cubicBezTo>
                  <a:pt x="16" y="1"/>
                  <a:pt x="15" y="2"/>
                  <a:pt x="14" y="1"/>
                </a:cubicBezTo>
                <a:cubicBezTo>
                  <a:pt x="14" y="1"/>
                  <a:pt x="14" y="1"/>
                  <a:pt x="13" y="1"/>
                </a:cubicBezTo>
                <a:cubicBezTo>
                  <a:pt x="13" y="2"/>
                  <a:pt x="12" y="1"/>
                  <a:pt x="12" y="1"/>
                </a:cubicBezTo>
                <a:cubicBezTo>
                  <a:pt x="12" y="1"/>
                  <a:pt x="11" y="0"/>
                  <a:pt x="11" y="1"/>
                </a:cubicBezTo>
                <a:cubicBezTo>
                  <a:pt x="11" y="2"/>
                  <a:pt x="11" y="2"/>
                  <a:pt x="10" y="2"/>
                </a:cubicBezTo>
                <a:cubicBezTo>
                  <a:pt x="10" y="2"/>
                  <a:pt x="9" y="2"/>
                  <a:pt x="8" y="2"/>
                </a:cubicBezTo>
                <a:cubicBezTo>
                  <a:pt x="8" y="2"/>
                  <a:pt x="8" y="2"/>
                  <a:pt x="8" y="2"/>
                </a:cubicBezTo>
                <a:cubicBezTo>
                  <a:pt x="9" y="3"/>
                  <a:pt x="8" y="4"/>
                  <a:pt x="8" y="4"/>
                </a:cubicBezTo>
                <a:cubicBezTo>
                  <a:pt x="8" y="5"/>
                  <a:pt x="7" y="5"/>
                  <a:pt x="7" y="5"/>
                </a:cubicBezTo>
                <a:cubicBezTo>
                  <a:pt x="6" y="5"/>
                  <a:pt x="6" y="7"/>
                  <a:pt x="5" y="7"/>
                </a:cubicBezTo>
                <a:cubicBezTo>
                  <a:pt x="5" y="8"/>
                  <a:pt x="5" y="9"/>
                  <a:pt x="5" y="9"/>
                </a:cubicBezTo>
                <a:cubicBezTo>
                  <a:pt x="4" y="10"/>
                  <a:pt x="3" y="10"/>
                  <a:pt x="4" y="10"/>
                </a:cubicBezTo>
                <a:cubicBezTo>
                  <a:pt x="4" y="11"/>
                  <a:pt x="3" y="11"/>
                  <a:pt x="3" y="12"/>
                </a:cubicBezTo>
                <a:cubicBezTo>
                  <a:pt x="3" y="13"/>
                  <a:pt x="3" y="15"/>
                  <a:pt x="3" y="15"/>
                </a:cubicBezTo>
                <a:cubicBezTo>
                  <a:pt x="3" y="15"/>
                  <a:pt x="1" y="14"/>
                  <a:pt x="1" y="15"/>
                </a:cubicBezTo>
                <a:cubicBezTo>
                  <a:pt x="1" y="16"/>
                  <a:pt x="0" y="16"/>
                  <a:pt x="0" y="16"/>
                </a:cubicBezTo>
                <a:cubicBezTo>
                  <a:pt x="1" y="17"/>
                  <a:pt x="2" y="17"/>
                  <a:pt x="3"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9"/>
          <p:cNvSpPr>
            <a:spLocks/>
          </p:cNvSpPr>
          <p:nvPr/>
        </p:nvSpPr>
        <p:spPr bwMode="auto">
          <a:xfrm>
            <a:off x="2566176" y="2889291"/>
            <a:ext cx="21449" cy="17874"/>
          </a:xfrm>
          <a:custGeom>
            <a:avLst/>
            <a:gdLst>
              <a:gd name="T0" fmla="*/ 3 w 4"/>
              <a:gd name="T1" fmla="*/ 2 h 4"/>
              <a:gd name="T2" fmla="*/ 2 w 4"/>
              <a:gd name="T3" fmla="*/ 0 h 4"/>
              <a:gd name="T4" fmla="*/ 2 w 4"/>
              <a:gd name="T5" fmla="*/ 0 h 4"/>
              <a:gd name="T6" fmla="*/ 0 w 4"/>
              <a:gd name="T7" fmla="*/ 4 h 4"/>
              <a:gd name="T8" fmla="*/ 1 w 4"/>
              <a:gd name="T9" fmla="*/ 4 h 4"/>
              <a:gd name="T10" fmla="*/ 3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3" y="2"/>
                </a:moveTo>
                <a:cubicBezTo>
                  <a:pt x="4" y="2"/>
                  <a:pt x="4" y="0"/>
                  <a:pt x="2" y="0"/>
                </a:cubicBezTo>
                <a:cubicBezTo>
                  <a:pt x="2" y="0"/>
                  <a:pt x="2" y="0"/>
                  <a:pt x="2" y="0"/>
                </a:cubicBezTo>
                <a:cubicBezTo>
                  <a:pt x="2" y="1"/>
                  <a:pt x="1" y="2"/>
                  <a:pt x="0" y="4"/>
                </a:cubicBezTo>
                <a:cubicBezTo>
                  <a:pt x="1" y="4"/>
                  <a:pt x="1" y="4"/>
                  <a:pt x="1" y="4"/>
                </a:cubicBezTo>
                <a:cubicBezTo>
                  <a:pt x="2" y="3"/>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0"/>
          <p:cNvSpPr>
            <a:spLocks/>
          </p:cNvSpPr>
          <p:nvPr/>
        </p:nvSpPr>
        <p:spPr bwMode="auto">
          <a:xfrm>
            <a:off x="2573325" y="2860692"/>
            <a:ext cx="75072" cy="57198"/>
          </a:xfrm>
          <a:custGeom>
            <a:avLst/>
            <a:gdLst>
              <a:gd name="T0" fmla="*/ 2 w 16"/>
              <a:gd name="T1" fmla="*/ 8 h 12"/>
              <a:gd name="T2" fmla="*/ 0 w 16"/>
              <a:gd name="T3" fmla="*/ 10 h 12"/>
              <a:gd name="T4" fmla="*/ 1 w 16"/>
              <a:gd name="T5" fmla="*/ 10 h 12"/>
              <a:gd name="T6" fmla="*/ 1 w 16"/>
              <a:gd name="T7" fmla="*/ 11 h 12"/>
              <a:gd name="T8" fmla="*/ 3 w 16"/>
              <a:gd name="T9" fmla="*/ 12 h 12"/>
              <a:gd name="T10" fmla="*/ 5 w 16"/>
              <a:gd name="T11" fmla="*/ 11 h 12"/>
              <a:gd name="T12" fmla="*/ 12 w 16"/>
              <a:gd name="T13" fmla="*/ 7 h 12"/>
              <a:gd name="T14" fmla="*/ 13 w 16"/>
              <a:gd name="T15" fmla="*/ 6 h 12"/>
              <a:gd name="T16" fmla="*/ 13 w 16"/>
              <a:gd name="T17" fmla="*/ 4 h 12"/>
              <a:gd name="T18" fmla="*/ 13 w 16"/>
              <a:gd name="T19" fmla="*/ 2 h 12"/>
              <a:gd name="T20" fmla="*/ 14 w 16"/>
              <a:gd name="T21" fmla="*/ 1 h 12"/>
              <a:gd name="T22" fmla="*/ 16 w 16"/>
              <a:gd name="T23" fmla="*/ 0 h 12"/>
              <a:gd name="T24" fmla="*/ 15 w 16"/>
              <a:gd name="T25" fmla="*/ 0 h 12"/>
              <a:gd name="T26" fmla="*/ 12 w 16"/>
              <a:gd name="T27" fmla="*/ 0 h 12"/>
              <a:gd name="T28" fmla="*/ 9 w 16"/>
              <a:gd name="T29" fmla="*/ 1 h 12"/>
              <a:gd name="T30" fmla="*/ 7 w 16"/>
              <a:gd name="T31" fmla="*/ 1 h 12"/>
              <a:gd name="T32" fmla="*/ 5 w 16"/>
              <a:gd name="T33" fmla="*/ 1 h 12"/>
              <a:gd name="T34" fmla="*/ 3 w 16"/>
              <a:gd name="T35" fmla="*/ 1 h 12"/>
              <a:gd name="T36" fmla="*/ 3 w 16"/>
              <a:gd name="T37" fmla="*/ 2 h 12"/>
              <a:gd name="T38" fmla="*/ 1 w 16"/>
              <a:gd name="T39" fmla="*/ 3 h 12"/>
              <a:gd name="T40" fmla="*/ 1 w 16"/>
              <a:gd name="T41" fmla="*/ 5 h 12"/>
              <a:gd name="T42" fmla="*/ 1 w 16"/>
              <a:gd name="T43" fmla="*/ 6 h 12"/>
              <a:gd name="T44" fmla="*/ 2 w 16"/>
              <a:gd name="T4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2" y="8"/>
                </a:moveTo>
                <a:cubicBezTo>
                  <a:pt x="2" y="8"/>
                  <a:pt x="1" y="9"/>
                  <a:pt x="0" y="10"/>
                </a:cubicBezTo>
                <a:cubicBezTo>
                  <a:pt x="1" y="10"/>
                  <a:pt x="1" y="10"/>
                  <a:pt x="1" y="10"/>
                </a:cubicBezTo>
                <a:cubicBezTo>
                  <a:pt x="1" y="11"/>
                  <a:pt x="1" y="11"/>
                  <a:pt x="1" y="11"/>
                </a:cubicBezTo>
                <a:cubicBezTo>
                  <a:pt x="3" y="12"/>
                  <a:pt x="3" y="12"/>
                  <a:pt x="3" y="12"/>
                </a:cubicBezTo>
                <a:cubicBezTo>
                  <a:pt x="3" y="12"/>
                  <a:pt x="4" y="11"/>
                  <a:pt x="5" y="11"/>
                </a:cubicBezTo>
                <a:cubicBezTo>
                  <a:pt x="5" y="11"/>
                  <a:pt x="12" y="7"/>
                  <a:pt x="12" y="7"/>
                </a:cubicBezTo>
                <a:cubicBezTo>
                  <a:pt x="12" y="7"/>
                  <a:pt x="13" y="6"/>
                  <a:pt x="13" y="6"/>
                </a:cubicBezTo>
                <a:cubicBezTo>
                  <a:pt x="13" y="5"/>
                  <a:pt x="13" y="4"/>
                  <a:pt x="13" y="4"/>
                </a:cubicBezTo>
                <a:cubicBezTo>
                  <a:pt x="14" y="4"/>
                  <a:pt x="13" y="3"/>
                  <a:pt x="13" y="2"/>
                </a:cubicBezTo>
                <a:cubicBezTo>
                  <a:pt x="13" y="2"/>
                  <a:pt x="14" y="1"/>
                  <a:pt x="14" y="1"/>
                </a:cubicBezTo>
                <a:cubicBezTo>
                  <a:pt x="16" y="0"/>
                  <a:pt x="16" y="0"/>
                  <a:pt x="16" y="0"/>
                </a:cubicBezTo>
                <a:cubicBezTo>
                  <a:pt x="15" y="0"/>
                  <a:pt x="15" y="0"/>
                  <a:pt x="15" y="0"/>
                </a:cubicBezTo>
                <a:cubicBezTo>
                  <a:pt x="15" y="0"/>
                  <a:pt x="14" y="0"/>
                  <a:pt x="12" y="0"/>
                </a:cubicBezTo>
                <a:cubicBezTo>
                  <a:pt x="11" y="0"/>
                  <a:pt x="11" y="1"/>
                  <a:pt x="9" y="1"/>
                </a:cubicBezTo>
                <a:cubicBezTo>
                  <a:pt x="8" y="1"/>
                  <a:pt x="7" y="2"/>
                  <a:pt x="7" y="1"/>
                </a:cubicBezTo>
                <a:cubicBezTo>
                  <a:pt x="7" y="1"/>
                  <a:pt x="6" y="1"/>
                  <a:pt x="5" y="1"/>
                </a:cubicBezTo>
                <a:cubicBezTo>
                  <a:pt x="5" y="2"/>
                  <a:pt x="4" y="2"/>
                  <a:pt x="3" y="1"/>
                </a:cubicBezTo>
                <a:cubicBezTo>
                  <a:pt x="3" y="1"/>
                  <a:pt x="3" y="1"/>
                  <a:pt x="3" y="2"/>
                </a:cubicBezTo>
                <a:cubicBezTo>
                  <a:pt x="3" y="2"/>
                  <a:pt x="3" y="3"/>
                  <a:pt x="1" y="3"/>
                </a:cubicBezTo>
                <a:cubicBezTo>
                  <a:pt x="1" y="4"/>
                  <a:pt x="1" y="4"/>
                  <a:pt x="1" y="5"/>
                </a:cubicBezTo>
                <a:cubicBezTo>
                  <a:pt x="2" y="5"/>
                  <a:pt x="1" y="5"/>
                  <a:pt x="1" y="6"/>
                </a:cubicBezTo>
                <a:cubicBezTo>
                  <a:pt x="3" y="6"/>
                  <a:pt x="3" y="8"/>
                  <a:pt x="2"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81"/>
          <p:cNvSpPr>
            <a:spLocks/>
          </p:cNvSpPr>
          <p:nvPr/>
        </p:nvSpPr>
        <p:spPr bwMode="auto">
          <a:xfrm>
            <a:off x="3531384" y="2846393"/>
            <a:ext cx="42898" cy="53623"/>
          </a:xfrm>
          <a:custGeom>
            <a:avLst/>
            <a:gdLst>
              <a:gd name="T0" fmla="*/ 3 w 9"/>
              <a:gd name="T1" fmla="*/ 1 h 11"/>
              <a:gd name="T2" fmla="*/ 1 w 9"/>
              <a:gd name="T3" fmla="*/ 2 h 11"/>
              <a:gd name="T4" fmla="*/ 2 w 9"/>
              <a:gd name="T5" fmla="*/ 3 h 11"/>
              <a:gd name="T6" fmla="*/ 2 w 9"/>
              <a:gd name="T7" fmla="*/ 4 h 11"/>
              <a:gd name="T8" fmla="*/ 2 w 9"/>
              <a:gd name="T9" fmla="*/ 6 h 11"/>
              <a:gd name="T10" fmla="*/ 1 w 9"/>
              <a:gd name="T11" fmla="*/ 9 h 11"/>
              <a:gd name="T12" fmla="*/ 1 w 9"/>
              <a:gd name="T13" fmla="*/ 10 h 11"/>
              <a:gd name="T14" fmla="*/ 5 w 9"/>
              <a:gd name="T15" fmla="*/ 9 h 11"/>
              <a:gd name="T16" fmla="*/ 8 w 9"/>
              <a:gd name="T17" fmla="*/ 8 h 11"/>
              <a:gd name="T18" fmla="*/ 9 w 9"/>
              <a:gd name="T19" fmla="*/ 7 h 11"/>
              <a:gd name="T20" fmla="*/ 8 w 9"/>
              <a:gd name="T21" fmla="*/ 4 h 11"/>
              <a:gd name="T22" fmla="*/ 6 w 9"/>
              <a:gd name="T23" fmla="*/ 0 h 11"/>
              <a:gd name="T24" fmla="*/ 5 w 9"/>
              <a:gd name="T25" fmla="*/ 1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3" y="1"/>
                </a:moveTo>
                <a:cubicBezTo>
                  <a:pt x="2" y="1"/>
                  <a:pt x="2" y="2"/>
                  <a:pt x="1" y="2"/>
                </a:cubicBezTo>
                <a:cubicBezTo>
                  <a:pt x="1" y="3"/>
                  <a:pt x="1" y="3"/>
                  <a:pt x="2" y="3"/>
                </a:cubicBezTo>
                <a:cubicBezTo>
                  <a:pt x="3" y="3"/>
                  <a:pt x="3" y="4"/>
                  <a:pt x="2" y="4"/>
                </a:cubicBezTo>
                <a:cubicBezTo>
                  <a:pt x="1" y="4"/>
                  <a:pt x="1" y="5"/>
                  <a:pt x="2" y="6"/>
                </a:cubicBezTo>
                <a:cubicBezTo>
                  <a:pt x="2" y="7"/>
                  <a:pt x="0" y="8"/>
                  <a:pt x="1" y="9"/>
                </a:cubicBezTo>
                <a:cubicBezTo>
                  <a:pt x="1" y="9"/>
                  <a:pt x="1" y="10"/>
                  <a:pt x="1" y="10"/>
                </a:cubicBezTo>
                <a:cubicBezTo>
                  <a:pt x="2" y="11"/>
                  <a:pt x="4" y="10"/>
                  <a:pt x="5" y="9"/>
                </a:cubicBezTo>
                <a:cubicBezTo>
                  <a:pt x="7" y="8"/>
                  <a:pt x="7" y="8"/>
                  <a:pt x="8" y="8"/>
                </a:cubicBezTo>
                <a:cubicBezTo>
                  <a:pt x="8" y="8"/>
                  <a:pt x="9" y="8"/>
                  <a:pt x="9" y="7"/>
                </a:cubicBezTo>
                <a:cubicBezTo>
                  <a:pt x="8" y="7"/>
                  <a:pt x="8" y="5"/>
                  <a:pt x="8" y="4"/>
                </a:cubicBezTo>
                <a:cubicBezTo>
                  <a:pt x="8" y="3"/>
                  <a:pt x="7" y="1"/>
                  <a:pt x="6" y="0"/>
                </a:cubicBezTo>
                <a:cubicBezTo>
                  <a:pt x="5" y="1"/>
                  <a:pt x="5" y="1"/>
                  <a:pt x="5" y="1"/>
                </a:cubicBezTo>
                <a:cubicBezTo>
                  <a:pt x="4"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2"/>
          <p:cNvSpPr>
            <a:spLocks/>
          </p:cNvSpPr>
          <p:nvPr/>
        </p:nvSpPr>
        <p:spPr bwMode="auto">
          <a:xfrm>
            <a:off x="3131001" y="2989387"/>
            <a:ext cx="50048" cy="64347"/>
          </a:xfrm>
          <a:custGeom>
            <a:avLst/>
            <a:gdLst>
              <a:gd name="T0" fmla="*/ 10 w 10"/>
              <a:gd name="T1" fmla="*/ 11 h 13"/>
              <a:gd name="T2" fmla="*/ 9 w 10"/>
              <a:gd name="T3" fmla="*/ 6 h 13"/>
              <a:gd name="T4" fmla="*/ 8 w 10"/>
              <a:gd name="T5" fmla="*/ 8 h 13"/>
              <a:gd name="T6" fmla="*/ 8 w 10"/>
              <a:gd name="T7" fmla="*/ 6 h 13"/>
              <a:gd name="T8" fmla="*/ 9 w 10"/>
              <a:gd name="T9" fmla="*/ 4 h 13"/>
              <a:gd name="T10" fmla="*/ 8 w 10"/>
              <a:gd name="T11" fmla="*/ 3 h 13"/>
              <a:gd name="T12" fmla="*/ 5 w 10"/>
              <a:gd name="T13" fmla="*/ 3 h 13"/>
              <a:gd name="T14" fmla="*/ 4 w 10"/>
              <a:gd name="T15" fmla="*/ 2 h 13"/>
              <a:gd name="T16" fmla="*/ 3 w 10"/>
              <a:gd name="T17" fmla="*/ 1 h 13"/>
              <a:gd name="T18" fmla="*/ 1 w 10"/>
              <a:gd name="T19" fmla="*/ 1 h 13"/>
              <a:gd name="T20" fmla="*/ 2 w 10"/>
              <a:gd name="T21" fmla="*/ 3 h 13"/>
              <a:gd name="T22" fmla="*/ 1 w 10"/>
              <a:gd name="T23" fmla="*/ 4 h 13"/>
              <a:gd name="T24" fmla="*/ 2 w 10"/>
              <a:gd name="T25" fmla="*/ 7 h 13"/>
              <a:gd name="T26" fmla="*/ 3 w 10"/>
              <a:gd name="T27" fmla="*/ 11 h 13"/>
              <a:gd name="T28" fmla="*/ 4 w 10"/>
              <a:gd name="T29" fmla="*/ 11 h 13"/>
              <a:gd name="T30" fmla="*/ 6 w 10"/>
              <a:gd name="T31" fmla="*/ 10 h 13"/>
              <a:gd name="T32" fmla="*/ 7 w 10"/>
              <a:gd name="T33" fmla="*/ 9 h 13"/>
              <a:gd name="T34" fmla="*/ 8 w 10"/>
              <a:gd name="T35" fmla="*/ 12 h 13"/>
              <a:gd name="T36" fmla="*/ 9 w 10"/>
              <a:gd name="T37" fmla="*/ 13 h 13"/>
              <a:gd name="T38" fmla="*/ 9 w 10"/>
              <a:gd name="T39" fmla="*/ 12 h 13"/>
              <a:gd name="T40" fmla="*/ 10 w 10"/>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10" y="11"/>
                </a:moveTo>
                <a:cubicBezTo>
                  <a:pt x="10" y="9"/>
                  <a:pt x="10" y="6"/>
                  <a:pt x="9" y="6"/>
                </a:cubicBezTo>
                <a:cubicBezTo>
                  <a:pt x="9" y="6"/>
                  <a:pt x="8" y="8"/>
                  <a:pt x="8" y="8"/>
                </a:cubicBezTo>
                <a:cubicBezTo>
                  <a:pt x="7" y="8"/>
                  <a:pt x="7" y="6"/>
                  <a:pt x="8" y="6"/>
                </a:cubicBezTo>
                <a:cubicBezTo>
                  <a:pt x="9" y="6"/>
                  <a:pt x="9" y="4"/>
                  <a:pt x="9" y="4"/>
                </a:cubicBezTo>
                <a:cubicBezTo>
                  <a:pt x="9" y="3"/>
                  <a:pt x="9" y="3"/>
                  <a:pt x="8" y="3"/>
                </a:cubicBezTo>
                <a:cubicBezTo>
                  <a:pt x="7" y="3"/>
                  <a:pt x="5" y="3"/>
                  <a:pt x="5" y="3"/>
                </a:cubicBezTo>
                <a:cubicBezTo>
                  <a:pt x="5" y="3"/>
                  <a:pt x="4" y="3"/>
                  <a:pt x="4" y="2"/>
                </a:cubicBezTo>
                <a:cubicBezTo>
                  <a:pt x="4" y="1"/>
                  <a:pt x="4" y="1"/>
                  <a:pt x="3" y="1"/>
                </a:cubicBezTo>
                <a:cubicBezTo>
                  <a:pt x="2" y="1"/>
                  <a:pt x="2" y="0"/>
                  <a:pt x="1" y="1"/>
                </a:cubicBezTo>
                <a:cubicBezTo>
                  <a:pt x="0" y="2"/>
                  <a:pt x="3" y="2"/>
                  <a:pt x="2" y="3"/>
                </a:cubicBezTo>
                <a:cubicBezTo>
                  <a:pt x="2" y="4"/>
                  <a:pt x="1" y="3"/>
                  <a:pt x="1" y="4"/>
                </a:cubicBezTo>
                <a:cubicBezTo>
                  <a:pt x="1" y="4"/>
                  <a:pt x="1" y="6"/>
                  <a:pt x="2" y="7"/>
                </a:cubicBezTo>
                <a:cubicBezTo>
                  <a:pt x="2" y="8"/>
                  <a:pt x="3" y="9"/>
                  <a:pt x="3" y="11"/>
                </a:cubicBezTo>
                <a:cubicBezTo>
                  <a:pt x="3" y="11"/>
                  <a:pt x="3" y="11"/>
                  <a:pt x="4" y="11"/>
                </a:cubicBezTo>
                <a:cubicBezTo>
                  <a:pt x="5" y="11"/>
                  <a:pt x="6" y="10"/>
                  <a:pt x="6" y="10"/>
                </a:cubicBezTo>
                <a:cubicBezTo>
                  <a:pt x="6" y="9"/>
                  <a:pt x="7" y="8"/>
                  <a:pt x="7" y="9"/>
                </a:cubicBezTo>
                <a:cubicBezTo>
                  <a:pt x="8" y="9"/>
                  <a:pt x="8" y="11"/>
                  <a:pt x="8" y="12"/>
                </a:cubicBezTo>
                <a:cubicBezTo>
                  <a:pt x="8" y="12"/>
                  <a:pt x="8" y="12"/>
                  <a:pt x="9" y="13"/>
                </a:cubicBezTo>
                <a:cubicBezTo>
                  <a:pt x="9" y="12"/>
                  <a:pt x="9" y="12"/>
                  <a:pt x="9" y="12"/>
                </a:cubicBezTo>
                <a:cubicBezTo>
                  <a:pt x="9" y="12"/>
                  <a:pt x="10" y="11"/>
                  <a:pt x="10"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83"/>
          <p:cNvSpPr>
            <a:spLocks/>
          </p:cNvSpPr>
          <p:nvPr/>
        </p:nvSpPr>
        <p:spPr bwMode="auto">
          <a:xfrm>
            <a:off x="2930810" y="2885716"/>
            <a:ext cx="293138" cy="311012"/>
          </a:xfrm>
          <a:custGeom>
            <a:avLst/>
            <a:gdLst>
              <a:gd name="T0" fmla="*/ 43 w 61"/>
              <a:gd name="T1" fmla="*/ 26 h 65"/>
              <a:gd name="T2" fmla="*/ 43 w 61"/>
              <a:gd name="T3" fmla="*/ 23 h 65"/>
              <a:gd name="T4" fmla="*/ 46 w 61"/>
              <a:gd name="T5" fmla="*/ 24 h 65"/>
              <a:gd name="T6" fmla="*/ 50 w 61"/>
              <a:gd name="T7" fmla="*/ 25 h 65"/>
              <a:gd name="T8" fmla="*/ 50 w 61"/>
              <a:gd name="T9" fmla="*/ 28 h 65"/>
              <a:gd name="T10" fmla="*/ 51 w 61"/>
              <a:gd name="T11" fmla="*/ 28 h 65"/>
              <a:gd name="T12" fmla="*/ 52 w 61"/>
              <a:gd name="T13" fmla="*/ 32 h 65"/>
              <a:gd name="T14" fmla="*/ 53 w 61"/>
              <a:gd name="T15" fmla="*/ 28 h 65"/>
              <a:gd name="T16" fmla="*/ 56 w 61"/>
              <a:gd name="T17" fmla="*/ 25 h 65"/>
              <a:gd name="T18" fmla="*/ 58 w 61"/>
              <a:gd name="T19" fmla="*/ 21 h 65"/>
              <a:gd name="T20" fmla="*/ 61 w 61"/>
              <a:gd name="T21" fmla="*/ 20 h 65"/>
              <a:gd name="T22" fmla="*/ 61 w 61"/>
              <a:gd name="T23" fmla="*/ 18 h 65"/>
              <a:gd name="T24" fmla="*/ 59 w 61"/>
              <a:gd name="T25" fmla="*/ 15 h 65"/>
              <a:gd name="T26" fmla="*/ 55 w 61"/>
              <a:gd name="T27" fmla="*/ 16 h 65"/>
              <a:gd name="T28" fmla="*/ 53 w 61"/>
              <a:gd name="T29" fmla="*/ 18 h 65"/>
              <a:gd name="T30" fmla="*/ 50 w 61"/>
              <a:gd name="T31" fmla="*/ 19 h 65"/>
              <a:gd name="T32" fmla="*/ 48 w 61"/>
              <a:gd name="T33" fmla="*/ 21 h 65"/>
              <a:gd name="T34" fmla="*/ 45 w 61"/>
              <a:gd name="T35" fmla="*/ 21 h 65"/>
              <a:gd name="T36" fmla="*/ 43 w 61"/>
              <a:gd name="T37" fmla="*/ 18 h 65"/>
              <a:gd name="T38" fmla="*/ 42 w 61"/>
              <a:gd name="T39" fmla="*/ 21 h 65"/>
              <a:gd name="T40" fmla="*/ 36 w 61"/>
              <a:gd name="T41" fmla="*/ 21 h 65"/>
              <a:gd name="T42" fmla="*/ 32 w 61"/>
              <a:gd name="T43" fmla="*/ 20 h 65"/>
              <a:gd name="T44" fmla="*/ 29 w 61"/>
              <a:gd name="T45" fmla="*/ 18 h 65"/>
              <a:gd name="T46" fmla="*/ 26 w 61"/>
              <a:gd name="T47" fmla="*/ 16 h 65"/>
              <a:gd name="T48" fmla="*/ 27 w 61"/>
              <a:gd name="T49" fmla="*/ 13 h 65"/>
              <a:gd name="T50" fmla="*/ 25 w 61"/>
              <a:gd name="T51" fmla="*/ 11 h 65"/>
              <a:gd name="T52" fmla="*/ 23 w 61"/>
              <a:gd name="T53" fmla="*/ 8 h 65"/>
              <a:gd name="T54" fmla="*/ 24 w 61"/>
              <a:gd name="T55" fmla="*/ 6 h 65"/>
              <a:gd name="T56" fmla="*/ 23 w 61"/>
              <a:gd name="T57" fmla="*/ 2 h 65"/>
              <a:gd name="T58" fmla="*/ 21 w 61"/>
              <a:gd name="T59" fmla="*/ 0 h 65"/>
              <a:gd name="T60" fmla="*/ 19 w 61"/>
              <a:gd name="T61" fmla="*/ 1 h 65"/>
              <a:gd name="T62" fmla="*/ 14 w 61"/>
              <a:gd name="T63" fmla="*/ 2 h 65"/>
              <a:gd name="T64" fmla="*/ 13 w 61"/>
              <a:gd name="T65" fmla="*/ 5 h 65"/>
              <a:gd name="T66" fmla="*/ 15 w 61"/>
              <a:gd name="T67" fmla="*/ 8 h 65"/>
              <a:gd name="T68" fmla="*/ 14 w 61"/>
              <a:gd name="T69" fmla="*/ 11 h 65"/>
              <a:gd name="T70" fmla="*/ 11 w 61"/>
              <a:gd name="T71" fmla="*/ 14 h 65"/>
              <a:gd name="T72" fmla="*/ 9 w 61"/>
              <a:gd name="T73" fmla="*/ 17 h 65"/>
              <a:gd name="T74" fmla="*/ 6 w 61"/>
              <a:gd name="T75" fmla="*/ 19 h 65"/>
              <a:gd name="T76" fmla="*/ 3 w 61"/>
              <a:gd name="T77" fmla="*/ 21 h 65"/>
              <a:gd name="T78" fmla="*/ 5 w 61"/>
              <a:gd name="T79" fmla="*/ 25 h 65"/>
              <a:gd name="T80" fmla="*/ 4 w 61"/>
              <a:gd name="T81" fmla="*/ 27 h 65"/>
              <a:gd name="T82" fmla="*/ 0 w 61"/>
              <a:gd name="T83" fmla="*/ 28 h 65"/>
              <a:gd name="T84" fmla="*/ 2 w 61"/>
              <a:gd name="T85" fmla="*/ 30 h 65"/>
              <a:gd name="T86" fmla="*/ 1 w 61"/>
              <a:gd name="T87" fmla="*/ 32 h 65"/>
              <a:gd name="T88" fmla="*/ 8 w 61"/>
              <a:gd name="T89" fmla="*/ 33 h 65"/>
              <a:gd name="T90" fmla="*/ 9 w 61"/>
              <a:gd name="T91" fmla="*/ 34 h 65"/>
              <a:gd name="T92" fmla="*/ 10 w 61"/>
              <a:gd name="T93" fmla="*/ 40 h 65"/>
              <a:gd name="T94" fmla="*/ 13 w 61"/>
              <a:gd name="T95" fmla="*/ 50 h 65"/>
              <a:gd name="T96" fmla="*/ 17 w 61"/>
              <a:gd name="T97" fmla="*/ 60 h 65"/>
              <a:gd name="T98" fmla="*/ 21 w 61"/>
              <a:gd name="T99" fmla="*/ 63 h 65"/>
              <a:gd name="T100" fmla="*/ 24 w 61"/>
              <a:gd name="T101" fmla="*/ 59 h 65"/>
              <a:gd name="T102" fmla="*/ 26 w 61"/>
              <a:gd name="T103" fmla="*/ 55 h 65"/>
              <a:gd name="T104" fmla="*/ 26 w 61"/>
              <a:gd name="T105" fmla="*/ 49 h 65"/>
              <a:gd name="T106" fmla="*/ 29 w 61"/>
              <a:gd name="T107" fmla="*/ 45 h 65"/>
              <a:gd name="T108" fmla="*/ 36 w 61"/>
              <a:gd name="T109" fmla="*/ 39 h 65"/>
              <a:gd name="T110" fmla="*/ 40 w 61"/>
              <a:gd name="T111" fmla="*/ 34 h 65"/>
              <a:gd name="T112" fmla="*/ 45 w 61"/>
              <a:gd name="T11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65">
                <a:moveTo>
                  <a:pt x="44" y="29"/>
                </a:moveTo>
                <a:cubicBezTo>
                  <a:pt x="43" y="28"/>
                  <a:pt x="43" y="26"/>
                  <a:pt x="43" y="26"/>
                </a:cubicBezTo>
                <a:cubicBezTo>
                  <a:pt x="43" y="25"/>
                  <a:pt x="44" y="26"/>
                  <a:pt x="44" y="25"/>
                </a:cubicBezTo>
                <a:cubicBezTo>
                  <a:pt x="45" y="24"/>
                  <a:pt x="42" y="24"/>
                  <a:pt x="43" y="23"/>
                </a:cubicBezTo>
                <a:cubicBezTo>
                  <a:pt x="44" y="22"/>
                  <a:pt x="44" y="23"/>
                  <a:pt x="45" y="23"/>
                </a:cubicBezTo>
                <a:cubicBezTo>
                  <a:pt x="46" y="23"/>
                  <a:pt x="46" y="23"/>
                  <a:pt x="46" y="24"/>
                </a:cubicBezTo>
                <a:cubicBezTo>
                  <a:pt x="46" y="25"/>
                  <a:pt x="47" y="25"/>
                  <a:pt x="47" y="25"/>
                </a:cubicBezTo>
                <a:cubicBezTo>
                  <a:pt x="47" y="25"/>
                  <a:pt x="49" y="25"/>
                  <a:pt x="50" y="25"/>
                </a:cubicBezTo>
                <a:cubicBezTo>
                  <a:pt x="51" y="25"/>
                  <a:pt x="51" y="25"/>
                  <a:pt x="51" y="26"/>
                </a:cubicBezTo>
                <a:cubicBezTo>
                  <a:pt x="51" y="26"/>
                  <a:pt x="51" y="28"/>
                  <a:pt x="50" y="28"/>
                </a:cubicBezTo>
                <a:cubicBezTo>
                  <a:pt x="49" y="28"/>
                  <a:pt x="49" y="30"/>
                  <a:pt x="50" y="30"/>
                </a:cubicBezTo>
                <a:cubicBezTo>
                  <a:pt x="50" y="30"/>
                  <a:pt x="51" y="28"/>
                  <a:pt x="51" y="28"/>
                </a:cubicBezTo>
                <a:cubicBezTo>
                  <a:pt x="52" y="28"/>
                  <a:pt x="52" y="31"/>
                  <a:pt x="52" y="33"/>
                </a:cubicBezTo>
                <a:cubicBezTo>
                  <a:pt x="52" y="33"/>
                  <a:pt x="52" y="32"/>
                  <a:pt x="52" y="32"/>
                </a:cubicBezTo>
                <a:cubicBezTo>
                  <a:pt x="53" y="32"/>
                  <a:pt x="53" y="31"/>
                  <a:pt x="53" y="30"/>
                </a:cubicBezTo>
                <a:cubicBezTo>
                  <a:pt x="53" y="30"/>
                  <a:pt x="53" y="28"/>
                  <a:pt x="53" y="28"/>
                </a:cubicBezTo>
                <a:cubicBezTo>
                  <a:pt x="54" y="28"/>
                  <a:pt x="55" y="28"/>
                  <a:pt x="55" y="28"/>
                </a:cubicBezTo>
                <a:cubicBezTo>
                  <a:pt x="55" y="28"/>
                  <a:pt x="56" y="26"/>
                  <a:pt x="56" y="25"/>
                </a:cubicBezTo>
                <a:cubicBezTo>
                  <a:pt x="56" y="25"/>
                  <a:pt x="57" y="24"/>
                  <a:pt x="57" y="23"/>
                </a:cubicBezTo>
                <a:cubicBezTo>
                  <a:pt x="57" y="22"/>
                  <a:pt x="58" y="21"/>
                  <a:pt x="58" y="21"/>
                </a:cubicBezTo>
                <a:cubicBezTo>
                  <a:pt x="59" y="20"/>
                  <a:pt x="60" y="20"/>
                  <a:pt x="60" y="20"/>
                </a:cubicBezTo>
                <a:cubicBezTo>
                  <a:pt x="60" y="21"/>
                  <a:pt x="61" y="21"/>
                  <a:pt x="61" y="20"/>
                </a:cubicBezTo>
                <a:cubicBezTo>
                  <a:pt x="60" y="19"/>
                  <a:pt x="60" y="19"/>
                  <a:pt x="61" y="19"/>
                </a:cubicBezTo>
                <a:cubicBezTo>
                  <a:pt x="61" y="18"/>
                  <a:pt x="61" y="18"/>
                  <a:pt x="61" y="18"/>
                </a:cubicBezTo>
                <a:cubicBezTo>
                  <a:pt x="61" y="18"/>
                  <a:pt x="60" y="17"/>
                  <a:pt x="60" y="17"/>
                </a:cubicBezTo>
                <a:cubicBezTo>
                  <a:pt x="60" y="16"/>
                  <a:pt x="59" y="16"/>
                  <a:pt x="59" y="15"/>
                </a:cubicBezTo>
                <a:cubicBezTo>
                  <a:pt x="59" y="15"/>
                  <a:pt x="58" y="15"/>
                  <a:pt x="58" y="16"/>
                </a:cubicBezTo>
                <a:cubicBezTo>
                  <a:pt x="57" y="16"/>
                  <a:pt x="56" y="15"/>
                  <a:pt x="55" y="16"/>
                </a:cubicBezTo>
                <a:cubicBezTo>
                  <a:pt x="54" y="16"/>
                  <a:pt x="54" y="17"/>
                  <a:pt x="53" y="17"/>
                </a:cubicBezTo>
                <a:cubicBezTo>
                  <a:pt x="53" y="17"/>
                  <a:pt x="53" y="17"/>
                  <a:pt x="53" y="18"/>
                </a:cubicBezTo>
                <a:cubicBezTo>
                  <a:pt x="52" y="18"/>
                  <a:pt x="52" y="19"/>
                  <a:pt x="51" y="19"/>
                </a:cubicBezTo>
                <a:cubicBezTo>
                  <a:pt x="51" y="19"/>
                  <a:pt x="50" y="19"/>
                  <a:pt x="50" y="19"/>
                </a:cubicBezTo>
                <a:cubicBezTo>
                  <a:pt x="50" y="19"/>
                  <a:pt x="51" y="20"/>
                  <a:pt x="51" y="21"/>
                </a:cubicBezTo>
                <a:cubicBezTo>
                  <a:pt x="50" y="22"/>
                  <a:pt x="49" y="21"/>
                  <a:pt x="48" y="21"/>
                </a:cubicBezTo>
                <a:cubicBezTo>
                  <a:pt x="47" y="22"/>
                  <a:pt x="47" y="21"/>
                  <a:pt x="46" y="21"/>
                </a:cubicBezTo>
                <a:cubicBezTo>
                  <a:pt x="46" y="21"/>
                  <a:pt x="45" y="21"/>
                  <a:pt x="45" y="21"/>
                </a:cubicBezTo>
                <a:cubicBezTo>
                  <a:pt x="45" y="21"/>
                  <a:pt x="44" y="20"/>
                  <a:pt x="44" y="19"/>
                </a:cubicBezTo>
                <a:cubicBezTo>
                  <a:pt x="44" y="19"/>
                  <a:pt x="44" y="18"/>
                  <a:pt x="43" y="18"/>
                </a:cubicBezTo>
                <a:cubicBezTo>
                  <a:pt x="43" y="19"/>
                  <a:pt x="43" y="18"/>
                  <a:pt x="43" y="19"/>
                </a:cubicBezTo>
                <a:cubicBezTo>
                  <a:pt x="43" y="20"/>
                  <a:pt x="43" y="21"/>
                  <a:pt x="42" y="21"/>
                </a:cubicBezTo>
                <a:cubicBezTo>
                  <a:pt x="42" y="22"/>
                  <a:pt x="39" y="22"/>
                  <a:pt x="39" y="22"/>
                </a:cubicBezTo>
                <a:cubicBezTo>
                  <a:pt x="38" y="21"/>
                  <a:pt x="36" y="21"/>
                  <a:pt x="36" y="21"/>
                </a:cubicBezTo>
                <a:cubicBezTo>
                  <a:pt x="36" y="20"/>
                  <a:pt x="35" y="19"/>
                  <a:pt x="35" y="19"/>
                </a:cubicBezTo>
                <a:cubicBezTo>
                  <a:pt x="34" y="19"/>
                  <a:pt x="33" y="20"/>
                  <a:pt x="32" y="20"/>
                </a:cubicBezTo>
                <a:cubicBezTo>
                  <a:pt x="32" y="20"/>
                  <a:pt x="31" y="19"/>
                  <a:pt x="31" y="19"/>
                </a:cubicBezTo>
                <a:cubicBezTo>
                  <a:pt x="30" y="19"/>
                  <a:pt x="29" y="18"/>
                  <a:pt x="29" y="18"/>
                </a:cubicBezTo>
                <a:cubicBezTo>
                  <a:pt x="29" y="18"/>
                  <a:pt x="27" y="17"/>
                  <a:pt x="27" y="17"/>
                </a:cubicBezTo>
                <a:cubicBezTo>
                  <a:pt x="27" y="17"/>
                  <a:pt x="26" y="17"/>
                  <a:pt x="26" y="16"/>
                </a:cubicBezTo>
                <a:cubicBezTo>
                  <a:pt x="26" y="16"/>
                  <a:pt x="26" y="15"/>
                  <a:pt x="26" y="14"/>
                </a:cubicBezTo>
                <a:cubicBezTo>
                  <a:pt x="26" y="14"/>
                  <a:pt x="27" y="13"/>
                  <a:pt x="27" y="13"/>
                </a:cubicBezTo>
                <a:cubicBezTo>
                  <a:pt x="27" y="13"/>
                  <a:pt x="27" y="12"/>
                  <a:pt x="27" y="12"/>
                </a:cubicBezTo>
                <a:cubicBezTo>
                  <a:pt x="27" y="12"/>
                  <a:pt x="26" y="11"/>
                  <a:pt x="25" y="11"/>
                </a:cubicBezTo>
                <a:cubicBezTo>
                  <a:pt x="25" y="11"/>
                  <a:pt x="24" y="10"/>
                  <a:pt x="23" y="10"/>
                </a:cubicBezTo>
                <a:cubicBezTo>
                  <a:pt x="23" y="10"/>
                  <a:pt x="23" y="8"/>
                  <a:pt x="23" y="8"/>
                </a:cubicBezTo>
                <a:cubicBezTo>
                  <a:pt x="22" y="8"/>
                  <a:pt x="23" y="6"/>
                  <a:pt x="23" y="7"/>
                </a:cubicBezTo>
                <a:cubicBezTo>
                  <a:pt x="24" y="8"/>
                  <a:pt x="25" y="7"/>
                  <a:pt x="24" y="6"/>
                </a:cubicBezTo>
                <a:cubicBezTo>
                  <a:pt x="24" y="5"/>
                  <a:pt x="23" y="5"/>
                  <a:pt x="23" y="4"/>
                </a:cubicBezTo>
                <a:cubicBezTo>
                  <a:pt x="23" y="4"/>
                  <a:pt x="24" y="3"/>
                  <a:pt x="23" y="2"/>
                </a:cubicBezTo>
                <a:cubicBezTo>
                  <a:pt x="23" y="2"/>
                  <a:pt x="22" y="1"/>
                  <a:pt x="22" y="1"/>
                </a:cubicBezTo>
                <a:cubicBezTo>
                  <a:pt x="22" y="0"/>
                  <a:pt x="21" y="0"/>
                  <a:pt x="21" y="0"/>
                </a:cubicBezTo>
                <a:cubicBezTo>
                  <a:pt x="20" y="0"/>
                  <a:pt x="20" y="0"/>
                  <a:pt x="20" y="0"/>
                </a:cubicBezTo>
                <a:cubicBezTo>
                  <a:pt x="20" y="0"/>
                  <a:pt x="20" y="1"/>
                  <a:pt x="19" y="1"/>
                </a:cubicBezTo>
                <a:cubicBezTo>
                  <a:pt x="19" y="1"/>
                  <a:pt x="18" y="2"/>
                  <a:pt x="17" y="2"/>
                </a:cubicBezTo>
                <a:cubicBezTo>
                  <a:pt x="16" y="3"/>
                  <a:pt x="15" y="2"/>
                  <a:pt x="14" y="2"/>
                </a:cubicBezTo>
                <a:cubicBezTo>
                  <a:pt x="13" y="2"/>
                  <a:pt x="12" y="3"/>
                  <a:pt x="13" y="3"/>
                </a:cubicBezTo>
                <a:cubicBezTo>
                  <a:pt x="13" y="3"/>
                  <a:pt x="13" y="5"/>
                  <a:pt x="13" y="5"/>
                </a:cubicBezTo>
                <a:cubicBezTo>
                  <a:pt x="13" y="5"/>
                  <a:pt x="13" y="7"/>
                  <a:pt x="14" y="7"/>
                </a:cubicBezTo>
                <a:cubicBezTo>
                  <a:pt x="15" y="7"/>
                  <a:pt x="16" y="8"/>
                  <a:pt x="15" y="8"/>
                </a:cubicBezTo>
                <a:cubicBezTo>
                  <a:pt x="15" y="8"/>
                  <a:pt x="14" y="9"/>
                  <a:pt x="14" y="10"/>
                </a:cubicBezTo>
                <a:cubicBezTo>
                  <a:pt x="14" y="10"/>
                  <a:pt x="14" y="11"/>
                  <a:pt x="14" y="11"/>
                </a:cubicBezTo>
                <a:cubicBezTo>
                  <a:pt x="13" y="11"/>
                  <a:pt x="13" y="12"/>
                  <a:pt x="13" y="12"/>
                </a:cubicBezTo>
                <a:cubicBezTo>
                  <a:pt x="13" y="13"/>
                  <a:pt x="12" y="13"/>
                  <a:pt x="11" y="14"/>
                </a:cubicBezTo>
                <a:cubicBezTo>
                  <a:pt x="11" y="14"/>
                  <a:pt x="11" y="16"/>
                  <a:pt x="10" y="16"/>
                </a:cubicBezTo>
                <a:cubicBezTo>
                  <a:pt x="10" y="16"/>
                  <a:pt x="9" y="16"/>
                  <a:pt x="9" y="17"/>
                </a:cubicBezTo>
                <a:cubicBezTo>
                  <a:pt x="9" y="18"/>
                  <a:pt x="8" y="19"/>
                  <a:pt x="7" y="19"/>
                </a:cubicBezTo>
                <a:cubicBezTo>
                  <a:pt x="7" y="19"/>
                  <a:pt x="6" y="18"/>
                  <a:pt x="6" y="19"/>
                </a:cubicBezTo>
                <a:cubicBezTo>
                  <a:pt x="6" y="19"/>
                  <a:pt x="5" y="18"/>
                  <a:pt x="4" y="19"/>
                </a:cubicBezTo>
                <a:cubicBezTo>
                  <a:pt x="4" y="19"/>
                  <a:pt x="3" y="20"/>
                  <a:pt x="3" y="21"/>
                </a:cubicBezTo>
                <a:cubicBezTo>
                  <a:pt x="3" y="21"/>
                  <a:pt x="4" y="21"/>
                  <a:pt x="4" y="22"/>
                </a:cubicBezTo>
                <a:cubicBezTo>
                  <a:pt x="4" y="23"/>
                  <a:pt x="5" y="24"/>
                  <a:pt x="5" y="25"/>
                </a:cubicBezTo>
                <a:cubicBezTo>
                  <a:pt x="5" y="25"/>
                  <a:pt x="6" y="26"/>
                  <a:pt x="6" y="27"/>
                </a:cubicBezTo>
                <a:cubicBezTo>
                  <a:pt x="5" y="27"/>
                  <a:pt x="5" y="27"/>
                  <a:pt x="4" y="27"/>
                </a:cubicBezTo>
                <a:cubicBezTo>
                  <a:pt x="3" y="27"/>
                  <a:pt x="3" y="27"/>
                  <a:pt x="2" y="27"/>
                </a:cubicBezTo>
                <a:cubicBezTo>
                  <a:pt x="1" y="27"/>
                  <a:pt x="1" y="28"/>
                  <a:pt x="0" y="28"/>
                </a:cubicBezTo>
                <a:cubicBezTo>
                  <a:pt x="0" y="29"/>
                  <a:pt x="0" y="29"/>
                  <a:pt x="0" y="29"/>
                </a:cubicBezTo>
                <a:cubicBezTo>
                  <a:pt x="1" y="29"/>
                  <a:pt x="1" y="30"/>
                  <a:pt x="2" y="30"/>
                </a:cubicBezTo>
                <a:cubicBezTo>
                  <a:pt x="3" y="31"/>
                  <a:pt x="4" y="30"/>
                  <a:pt x="4" y="31"/>
                </a:cubicBezTo>
                <a:cubicBezTo>
                  <a:pt x="4" y="32"/>
                  <a:pt x="1" y="31"/>
                  <a:pt x="1" y="32"/>
                </a:cubicBezTo>
                <a:cubicBezTo>
                  <a:pt x="1" y="32"/>
                  <a:pt x="4" y="36"/>
                  <a:pt x="6" y="36"/>
                </a:cubicBezTo>
                <a:cubicBezTo>
                  <a:pt x="8" y="35"/>
                  <a:pt x="9" y="33"/>
                  <a:pt x="8" y="33"/>
                </a:cubicBezTo>
                <a:cubicBezTo>
                  <a:pt x="8" y="33"/>
                  <a:pt x="9" y="32"/>
                  <a:pt x="9" y="32"/>
                </a:cubicBezTo>
                <a:cubicBezTo>
                  <a:pt x="9" y="32"/>
                  <a:pt x="9" y="34"/>
                  <a:pt x="9" y="34"/>
                </a:cubicBezTo>
                <a:cubicBezTo>
                  <a:pt x="10" y="35"/>
                  <a:pt x="10" y="35"/>
                  <a:pt x="9" y="36"/>
                </a:cubicBezTo>
                <a:cubicBezTo>
                  <a:pt x="9" y="37"/>
                  <a:pt x="10" y="39"/>
                  <a:pt x="10" y="40"/>
                </a:cubicBezTo>
                <a:cubicBezTo>
                  <a:pt x="10" y="41"/>
                  <a:pt x="11" y="43"/>
                  <a:pt x="11" y="44"/>
                </a:cubicBezTo>
                <a:cubicBezTo>
                  <a:pt x="11" y="46"/>
                  <a:pt x="12" y="48"/>
                  <a:pt x="13" y="50"/>
                </a:cubicBezTo>
                <a:cubicBezTo>
                  <a:pt x="14" y="52"/>
                  <a:pt x="15" y="55"/>
                  <a:pt x="15" y="56"/>
                </a:cubicBezTo>
                <a:cubicBezTo>
                  <a:pt x="16" y="57"/>
                  <a:pt x="17" y="59"/>
                  <a:pt x="17" y="60"/>
                </a:cubicBezTo>
                <a:cubicBezTo>
                  <a:pt x="17" y="62"/>
                  <a:pt x="19" y="64"/>
                  <a:pt x="19" y="64"/>
                </a:cubicBezTo>
                <a:cubicBezTo>
                  <a:pt x="20" y="65"/>
                  <a:pt x="21" y="64"/>
                  <a:pt x="21" y="63"/>
                </a:cubicBezTo>
                <a:cubicBezTo>
                  <a:pt x="22" y="62"/>
                  <a:pt x="23" y="62"/>
                  <a:pt x="24" y="61"/>
                </a:cubicBezTo>
                <a:cubicBezTo>
                  <a:pt x="24" y="60"/>
                  <a:pt x="24" y="59"/>
                  <a:pt x="24" y="59"/>
                </a:cubicBezTo>
                <a:cubicBezTo>
                  <a:pt x="25" y="59"/>
                  <a:pt x="25" y="59"/>
                  <a:pt x="25" y="58"/>
                </a:cubicBezTo>
                <a:cubicBezTo>
                  <a:pt x="25" y="57"/>
                  <a:pt x="25" y="56"/>
                  <a:pt x="26" y="55"/>
                </a:cubicBezTo>
                <a:cubicBezTo>
                  <a:pt x="26" y="54"/>
                  <a:pt x="26" y="52"/>
                  <a:pt x="26" y="51"/>
                </a:cubicBezTo>
                <a:cubicBezTo>
                  <a:pt x="26" y="51"/>
                  <a:pt x="26" y="49"/>
                  <a:pt x="26" y="49"/>
                </a:cubicBezTo>
                <a:cubicBezTo>
                  <a:pt x="26" y="48"/>
                  <a:pt x="26" y="47"/>
                  <a:pt x="27" y="47"/>
                </a:cubicBezTo>
                <a:cubicBezTo>
                  <a:pt x="28" y="47"/>
                  <a:pt x="28" y="46"/>
                  <a:pt x="29" y="45"/>
                </a:cubicBezTo>
                <a:cubicBezTo>
                  <a:pt x="30" y="44"/>
                  <a:pt x="32" y="43"/>
                  <a:pt x="32" y="43"/>
                </a:cubicBezTo>
                <a:cubicBezTo>
                  <a:pt x="33" y="42"/>
                  <a:pt x="35" y="40"/>
                  <a:pt x="36" y="39"/>
                </a:cubicBezTo>
                <a:cubicBezTo>
                  <a:pt x="37" y="38"/>
                  <a:pt x="39" y="38"/>
                  <a:pt x="39" y="37"/>
                </a:cubicBezTo>
                <a:cubicBezTo>
                  <a:pt x="40" y="36"/>
                  <a:pt x="40" y="35"/>
                  <a:pt x="40" y="34"/>
                </a:cubicBezTo>
                <a:cubicBezTo>
                  <a:pt x="40" y="33"/>
                  <a:pt x="43" y="33"/>
                  <a:pt x="44" y="33"/>
                </a:cubicBezTo>
                <a:cubicBezTo>
                  <a:pt x="44" y="33"/>
                  <a:pt x="44" y="33"/>
                  <a:pt x="45" y="33"/>
                </a:cubicBezTo>
                <a:cubicBezTo>
                  <a:pt x="45" y="31"/>
                  <a:pt x="44" y="30"/>
                  <a:pt x="44"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84"/>
          <p:cNvSpPr>
            <a:spLocks/>
          </p:cNvSpPr>
          <p:nvPr/>
        </p:nvSpPr>
        <p:spPr bwMode="auto">
          <a:xfrm>
            <a:off x="3131001" y="2664076"/>
            <a:ext cx="339611" cy="142994"/>
          </a:xfrm>
          <a:custGeom>
            <a:avLst/>
            <a:gdLst>
              <a:gd name="T0" fmla="*/ 65 w 70"/>
              <a:gd name="T1" fmla="*/ 13 h 30"/>
              <a:gd name="T2" fmla="*/ 60 w 70"/>
              <a:gd name="T3" fmla="*/ 13 h 30"/>
              <a:gd name="T4" fmla="*/ 61 w 70"/>
              <a:gd name="T5" fmla="*/ 10 h 30"/>
              <a:gd name="T6" fmla="*/ 61 w 70"/>
              <a:gd name="T7" fmla="*/ 7 h 30"/>
              <a:gd name="T8" fmla="*/ 56 w 70"/>
              <a:gd name="T9" fmla="*/ 6 h 30"/>
              <a:gd name="T10" fmla="*/ 53 w 70"/>
              <a:gd name="T11" fmla="*/ 8 h 30"/>
              <a:gd name="T12" fmla="*/ 47 w 70"/>
              <a:gd name="T13" fmla="*/ 9 h 30"/>
              <a:gd name="T14" fmla="*/ 43 w 70"/>
              <a:gd name="T15" fmla="*/ 7 h 30"/>
              <a:gd name="T16" fmla="*/ 39 w 70"/>
              <a:gd name="T17" fmla="*/ 6 h 30"/>
              <a:gd name="T18" fmla="*/ 35 w 70"/>
              <a:gd name="T19" fmla="*/ 5 h 30"/>
              <a:gd name="T20" fmla="*/ 32 w 70"/>
              <a:gd name="T21" fmla="*/ 6 h 30"/>
              <a:gd name="T22" fmla="*/ 30 w 70"/>
              <a:gd name="T23" fmla="*/ 3 h 30"/>
              <a:gd name="T24" fmla="*/ 26 w 70"/>
              <a:gd name="T25" fmla="*/ 1 h 30"/>
              <a:gd name="T26" fmla="*/ 23 w 70"/>
              <a:gd name="T27" fmla="*/ 0 h 30"/>
              <a:gd name="T28" fmla="*/ 21 w 70"/>
              <a:gd name="T29" fmla="*/ 2 h 30"/>
              <a:gd name="T30" fmla="*/ 21 w 70"/>
              <a:gd name="T31" fmla="*/ 5 h 30"/>
              <a:gd name="T32" fmla="*/ 19 w 70"/>
              <a:gd name="T33" fmla="*/ 7 h 30"/>
              <a:gd name="T34" fmla="*/ 16 w 70"/>
              <a:gd name="T35" fmla="*/ 7 h 30"/>
              <a:gd name="T36" fmla="*/ 14 w 70"/>
              <a:gd name="T37" fmla="*/ 5 h 30"/>
              <a:gd name="T38" fmla="*/ 9 w 70"/>
              <a:gd name="T39" fmla="*/ 5 h 30"/>
              <a:gd name="T40" fmla="*/ 6 w 70"/>
              <a:gd name="T41" fmla="*/ 6 h 30"/>
              <a:gd name="T42" fmla="*/ 2 w 70"/>
              <a:gd name="T43" fmla="*/ 8 h 30"/>
              <a:gd name="T44" fmla="*/ 0 w 70"/>
              <a:gd name="T45" fmla="*/ 9 h 30"/>
              <a:gd name="T46" fmla="*/ 2 w 70"/>
              <a:gd name="T47" fmla="*/ 11 h 30"/>
              <a:gd name="T48" fmla="*/ 6 w 70"/>
              <a:gd name="T49" fmla="*/ 14 h 30"/>
              <a:gd name="T50" fmla="*/ 7 w 70"/>
              <a:gd name="T51" fmla="*/ 18 h 30"/>
              <a:gd name="T52" fmla="*/ 11 w 70"/>
              <a:gd name="T53" fmla="*/ 21 h 30"/>
              <a:gd name="T54" fmla="*/ 15 w 70"/>
              <a:gd name="T55" fmla="*/ 23 h 30"/>
              <a:gd name="T56" fmla="*/ 18 w 70"/>
              <a:gd name="T57" fmla="*/ 27 h 30"/>
              <a:gd name="T58" fmla="*/ 26 w 70"/>
              <a:gd name="T59" fmla="*/ 27 h 30"/>
              <a:gd name="T60" fmla="*/ 32 w 70"/>
              <a:gd name="T61" fmla="*/ 29 h 30"/>
              <a:gd name="T62" fmla="*/ 36 w 70"/>
              <a:gd name="T63" fmla="*/ 30 h 30"/>
              <a:gd name="T64" fmla="*/ 45 w 70"/>
              <a:gd name="T65" fmla="*/ 28 h 30"/>
              <a:gd name="T66" fmla="*/ 52 w 70"/>
              <a:gd name="T67" fmla="*/ 24 h 30"/>
              <a:gd name="T68" fmla="*/ 53 w 70"/>
              <a:gd name="T69" fmla="*/ 21 h 30"/>
              <a:gd name="T70" fmla="*/ 60 w 70"/>
              <a:gd name="T71" fmla="*/ 20 h 30"/>
              <a:gd name="T72" fmla="*/ 65 w 70"/>
              <a:gd name="T73" fmla="*/ 17 h 30"/>
              <a:gd name="T74" fmla="*/ 70 w 70"/>
              <a:gd name="T75"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0">
                <a:moveTo>
                  <a:pt x="67" y="13"/>
                </a:moveTo>
                <a:cubicBezTo>
                  <a:pt x="66" y="12"/>
                  <a:pt x="65" y="12"/>
                  <a:pt x="65" y="13"/>
                </a:cubicBezTo>
                <a:cubicBezTo>
                  <a:pt x="65" y="14"/>
                  <a:pt x="64" y="13"/>
                  <a:pt x="63" y="13"/>
                </a:cubicBezTo>
                <a:cubicBezTo>
                  <a:pt x="61" y="13"/>
                  <a:pt x="61" y="14"/>
                  <a:pt x="60" y="13"/>
                </a:cubicBezTo>
                <a:cubicBezTo>
                  <a:pt x="60" y="12"/>
                  <a:pt x="61" y="12"/>
                  <a:pt x="61" y="12"/>
                </a:cubicBezTo>
                <a:cubicBezTo>
                  <a:pt x="61" y="10"/>
                  <a:pt x="61" y="10"/>
                  <a:pt x="61" y="10"/>
                </a:cubicBezTo>
                <a:cubicBezTo>
                  <a:pt x="63" y="7"/>
                  <a:pt x="63" y="7"/>
                  <a:pt x="63" y="7"/>
                </a:cubicBezTo>
                <a:cubicBezTo>
                  <a:pt x="62" y="7"/>
                  <a:pt x="61" y="7"/>
                  <a:pt x="61" y="7"/>
                </a:cubicBezTo>
                <a:cubicBezTo>
                  <a:pt x="60" y="7"/>
                  <a:pt x="59" y="7"/>
                  <a:pt x="59" y="6"/>
                </a:cubicBezTo>
                <a:cubicBezTo>
                  <a:pt x="59" y="6"/>
                  <a:pt x="57" y="6"/>
                  <a:pt x="56" y="6"/>
                </a:cubicBezTo>
                <a:cubicBezTo>
                  <a:pt x="56" y="7"/>
                  <a:pt x="55" y="7"/>
                  <a:pt x="55" y="7"/>
                </a:cubicBezTo>
                <a:cubicBezTo>
                  <a:pt x="55" y="8"/>
                  <a:pt x="53" y="8"/>
                  <a:pt x="53" y="8"/>
                </a:cubicBezTo>
                <a:cubicBezTo>
                  <a:pt x="52" y="8"/>
                  <a:pt x="50" y="8"/>
                  <a:pt x="50" y="9"/>
                </a:cubicBezTo>
                <a:cubicBezTo>
                  <a:pt x="50" y="9"/>
                  <a:pt x="47" y="9"/>
                  <a:pt x="47" y="9"/>
                </a:cubicBezTo>
                <a:cubicBezTo>
                  <a:pt x="47" y="8"/>
                  <a:pt x="44" y="9"/>
                  <a:pt x="44" y="8"/>
                </a:cubicBezTo>
                <a:cubicBezTo>
                  <a:pt x="44" y="8"/>
                  <a:pt x="43" y="7"/>
                  <a:pt x="43" y="7"/>
                </a:cubicBezTo>
                <a:cubicBezTo>
                  <a:pt x="43" y="7"/>
                  <a:pt x="41" y="7"/>
                  <a:pt x="41" y="6"/>
                </a:cubicBezTo>
                <a:cubicBezTo>
                  <a:pt x="41" y="6"/>
                  <a:pt x="40" y="6"/>
                  <a:pt x="39" y="6"/>
                </a:cubicBezTo>
                <a:cubicBezTo>
                  <a:pt x="39" y="6"/>
                  <a:pt x="38" y="5"/>
                  <a:pt x="37" y="5"/>
                </a:cubicBezTo>
                <a:cubicBezTo>
                  <a:pt x="37" y="5"/>
                  <a:pt x="36" y="5"/>
                  <a:pt x="35" y="5"/>
                </a:cubicBezTo>
                <a:cubicBezTo>
                  <a:pt x="35" y="5"/>
                  <a:pt x="34" y="6"/>
                  <a:pt x="34" y="6"/>
                </a:cubicBezTo>
                <a:cubicBezTo>
                  <a:pt x="33" y="6"/>
                  <a:pt x="32" y="5"/>
                  <a:pt x="32" y="6"/>
                </a:cubicBezTo>
                <a:cubicBezTo>
                  <a:pt x="32" y="6"/>
                  <a:pt x="31" y="5"/>
                  <a:pt x="31" y="5"/>
                </a:cubicBezTo>
                <a:cubicBezTo>
                  <a:pt x="30" y="4"/>
                  <a:pt x="31" y="3"/>
                  <a:pt x="30" y="3"/>
                </a:cubicBezTo>
                <a:cubicBezTo>
                  <a:pt x="30" y="2"/>
                  <a:pt x="29" y="2"/>
                  <a:pt x="28" y="2"/>
                </a:cubicBezTo>
                <a:cubicBezTo>
                  <a:pt x="28" y="2"/>
                  <a:pt x="27" y="1"/>
                  <a:pt x="26" y="1"/>
                </a:cubicBezTo>
                <a:cubicBezTo>
                  <a:pt x="26" y="1"/>
                  <a:pt x="25" y="1"/>
                  <a:pt x="25" y="1"/>
                </a:cubicBezTo>
                <a:cubicBezTo>
                  <a:pt x="25" y="1"/>
                  <a:pt x="24" y="1"/>
                  <a:pt x="23" y="0"/>
                </a:cubicBezTo>
                <a:cubicBezTo>
                  <a:pt x="23" y="0"/>
                  <a:pt x="23" y="1"/>
                  <a:pt x="23" y="1"/>
                </a:cubicBezTo>
                <a:cubicBezTo>
                  <a:pt x="22" y="1"/>
                  <a:pt x="22" y="1"/>
                  <a:pt x="21" y="2"/>
                </a:cubicBezTo>
                <a:cubicBezTo>
                  <a:pt x="21" y="2"/>
                  <a:pt x="20" y="3"/>
                  <a:pt x="21" y="3"/>
                </a:cubicBezTo>
                <a:cubicBezTo>
                  <a:pt x="21" y="4"/>
                  <a:pt x="21" y="5"/>
                  <a:pt x="21" y="5"/>
                </a:cubicBezTo>
                <a:cubicBezTo>
                  <a:pt x="22" y="5"/>
                  <a:pt x="21" y="6"/>
                  <a:pt x="21" y="6"/>
                </a:cubicBezTo>
                <a:cubicBezTo>
                  <a:pt x="21" y="6"/>
                  <a:pt x="20" y="7"/>
                  <a:pt x="19" y="7"/>
                </a:cubicBezTo>
                <a:cubicBezTo>
                  <a:pt x="19" y="8"/>
                  <a:pt x="19" y="7"/>
                  <a:pt x="18" y="7"/>
                </a:cubicBezTo>
                <a:cubicBezTo>
                  <a:pt x="17" y="6"/>
                  <a:pt x="16" y="7"/>
                  <a:pt x="16" y="7"/>
                </a:cubicBezTo>
                <a:cubicBezTo>
                  <a:pt x="16" y="7"/>
                  <a:pt x="15" y="6"/>
                  <a:pt x="14" y="6"/>
                </a:cubicBezTo>
                <a:cubicBezTo>
                  <a:pt x="14" y="6"/>
                  <a:pt x="14" y="5"/>
                  <a:pt x="14" y="5"/>
                </a:cubicBezTo>
                <a:cubicBezTo>
                  <a:pt x="13" y="5"/>
                  <a:pt x="11" y="4"/>
                  <a:pt x="11" y="4"/>
                </a:cubicBezTo>
                <a:cubicBezTo>
                  <a:pt x="10" y="4"/>
                  <a:pt x="9" y="4"/>
                  <a:pt x="9" y="5"/>
                </a:cubicBezTo>
                <a:cubicBezTo>
                  <a:pt x="9" y="5"/>
                  <a:pt x="8" y="5"/>
                  <a:pt x="7" y="5"/>
                </a:cubicBezTo>
                <a:cubicBezTo>
                  <a:pt x="7" y="6"/>
                  <a:pt x="6" y="6"/>
                  <a:pt x="6" y="6"/>
                </a:cubicBezTo>
                <a:cubicBezTo>
                  <a:pt x="6" y="7"/>
                  <a:pt x="5" y="7"/>
                  <a:pt x="4" y="7"/>
                </a:cubicBezTo>
                <a:cubicBezTo>
                  <a:pt x="4" y="8"/>
                  <a:pt x="3" y="8"/>
                  <a:pt x="2" y="8"/>
                </a:cubicBezTo>
                <a:cubicBezTo>
                  <a:pt x="2" y="8"/>
                  <a:pt x="1" y="8"/>
                  <a:pt x="1" y="9"/>
                </a:cubicBezTo>
                <a:cubicBezTo>
                  <a:pt x="1" y="9"/>
                  <a:pt x="1" y="9"/>
                  <a:pt x="0" y="9"/>
                </a:cubicBezTo>
                <a:cubicBezTo>
                  <a:pt x="0" y="9"/>
                  <a:pt x="0" y="9"/>
                  <a:pt x="0" y="9"/>
                </a:cubicBezTo>
                <a:cubicBezTo>
                  <a:pt x="1" y="11"/>
                  <a:pt x="1" y="11"/>
                  <a:pt x="2" y="11"/>
                </a:cubicBezTo>
                <a:cubicBezTo>
                  <a:pt x="3" y="12"/>
                  <a:pt x="3" y="12"/>
                  <a:pt x="4" y="12"/>
                </a:cubicBezTo>
                <a:cubicBezTo>
                  <a:pt x="5" y="12"/>
                  <a:pt x="6" y="13"/>
                  <a:pt x="6" y="14"/>
                </a:cubicBezTo>
                <a:cubicBezTo>
                  <a:pt x="6" y="14"/>
                  <a:pt x="7" y="15"/>
                  <a:pt x="7" y="15"/>
                </a:cubicBezTo>
                <a:cubicBezTo>
                  <a:pt x="8" y="16"/>
                  <a:pt x="7" y="17"/>
                  <a:pt x="7" y="18"/>
                </a:cubicBezTo>
                <a:cubicBezTo>
                  <a:pt x="7" y="18"/>
                  <a:pt x="6" y="19"/>
                  <a:pt x="6" y="19"/>
                </a:cubicBezTo>
                <a:cubicBezTo>
                  <a:pt x="7" y="20"/>
                  <a:pt x="10" y="21"/>
                  <a:pt x="11" y="21"/>
                </a:cubicBezTo>
                <a:cubicBezTo>
                  <a:pt x="12" y="21"/>
                  <a:pt x="13" y="22"/>
                  <a:pt x="13" y="22"/>
                </a:cubicBezTo>
                <a:cubicBezTo>
                  <a:pt x="14" y="22"/>
                  <a:pt x="14" y="23"/>
                  <a:pt x="15" y="23"/>
                </a:cubicBezTo>
                <a:cubicBezTo>
                  <a:pt x="15" y="23"/>
                  <a:pt x="16" y="23"/>
                  <a:pt x="16" y="25"/>
                </a:cubicBezTo>
                <a:cubicBezTo>
                  <a:pt x="17" y="26"/>
                  <a:pt x="17" y="26"/>
                  <a:pt x="18" y="27"/>
                </a:cubicBezTo>
                <a:cubicBezTo>
                  <a:pt x="18" y="27"/>
                  <a:pt x="19" y="27"/>
                  <a:pt x="20" y="27"/>
                </a:cubicBezTo>
                <a:cubicBezTo>
                  <a:pt x="21" y="27"/>
                  <a:pt x="25" y="27"/>
                  <a:pt x="26" y="27"/>
                </a:cubicBezTo>
                <a:cubicBezTo>
                  <a:pt x="26" y="27"/>
                  <a:pt x="28" y="27"/>
                  <a:pt x="30" y="28"/>
                </a:cubicBezTo>
                <a:cubicBezTo>
                  <a:pt x="31" y="29"/>
                  <a:pt x="31" y="28"/>
                  <a:pt x="32" y="29"/>
                </a:cubicBezTo>
                <a:cubicBezTo>
                  <a:pt x="33" y="29"/>
                  <a:pt x="33" y="29"/>
                  <a:pt x="34" y="29"/>
                </a:cubicBezTo>
                <a:cubicBezTo>
                  <a:pt x="35" y="29"/>
                  <a:pt x="35" y="30"/>
                  <a:pt x="36" y="30"/>
                </a:cubicBezTo>
                <a:cubicBezTo>
                  <a:pt x="37" y="30"/>
                  <a:pt x="38" y="29"/>
                  <a:pt x="40" y="28"/>
                </a:cubicBezTo>
                <a:cubicBezTo>
                  <a:pt x="42" y="27"/>
                  <a:pt x="44" y="28"/>
                  <a:pt x="45" y="28"/>
                </a:cubicBezTo>
                <a:cubicBezTo>
                  <a:pt x="46" y="28"/>
                  <a:pt x="48" y="27"/>
                  <a:pt x="49" y="26"/>
                </a:cubicBezTo>
                <a:cubicBezTo>
                  <a:pt x="50" y="25"/>
                  <a:pt x="51" y="25"/>
                  <a:pt x="52" y="24"/>
                </a:cubicBezTo>
                <a:cubicBezTo>
                  <a:pt x="52" y="23"/>
                  <a:pt x="50" y="23"/>
                  <a:pt x="51" y="22"/>
                </a:cubicBezTo>
                <a:cubicBezTo>
                  <a:pt x="52" y="21"/>
                  <a:pt x="53" y="21"/>
                  <a:pt x="53" y="21"/>
                </a:cubicBezTo>
                <a:cubicBezTo>
                  <a:pt x="54" y="21"/>
                  <a:pt x="55" y="22"/>
                  <a:pt x="57" y="21"/>
                </a:cubicBezTo>
                <a:cubicBezTo>
                  <a:pt x="58" y="20"/>
                  <a:pt x="59" y="20"/>
                  <a:pt x="60" y="20"/>
                </a:cubicBezTo>
                <a:cubicBezTo>
                  <a:pt x="61" y="20"/>
                  <a:pt x="61" y="19"/>
                  <a:pt x="62" y="18"/>
                </a:cubicBezTo>
                <a:cubicBezTo>
                  <a:pt x="63" y="17"/>
                  <a:pt x="64" y="17"/>
                  <a:pt x="65" y="17"/>
                </a:cubicBezTo>
                <a:cubicBezTo>
                  <a:pt x="66" y="17"/>
                  <a:pt x="67" y="16"/>
                  <a:pt x="67" y="16"/>
                </a:cubicBezTo>
                <a:cubicBezTo>
                  <a:pt x="68" y="16"/>
                  <a:pt x="70" y="17"/>
                  <a:pt x="70" y="16"/>
                </a:cubicBezTo>
                <a:cubicBezTo>
                  <a:pt x="70" y="15"/>
                  <a:pt x="68" y="14"/>
                  <a:pt x="6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85"/>
          <p:cNvSpPr>
            <a:spLocks/>
          </p:cNvSpPr>
          <p:nvPr/>
        </p:nvSpPr>
        <p:spPr bwMode="auto">
          <a:xfrm>
            <a:off x="2566176" y="2917890"/>
            <a:ext cx="7150" cy="14299"/>
          </a:xfrm>
          <a:custGeom>
            <a:avLst/>
            <a:gdLst>
              <a:gd name="T0" fmla="*/ 1 w 1"/>
              <a:gd name="T1" fmla="*/ 0 h 3"/>
              <a:gd name="T2" fmla="*/ 0 w 1"/>
              <a:gd name="T3" fmla="*/ 1 h 3"/>
              <a:gd name="T4" fmla="*/ 1 w 1"/>
              <a:gd name="T5" fmla="*/ 3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0"/>
                  <a:pt x="0" y="1"/>
                  <a:pt x="0" y="1"/>
                </a:cubicBezTo>
                <a:cubicBezTo>
                  <a:pt x="0" y="1"/>
                  <a:pt x="0" y="2"/>
                  <a:pt x="1" y="3"/>
                </a:cubicBezTo>
                <a:cubicBezTo>
                  <a:pt x="1" y="2"/>
                  <a:pt x="1" y="0"/>
                  <a:pt x="1" y="0"/>
                </a:cubicBezTo>
                <a:cubicBezTo>
                  <a:pt x="1" y="0"/>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86"/>
          <p:cNvSpPr>
            <a:spLocks/>
          </p:cNvSpPr>
          <p:nvPr/>
        </p:nvSpPr>
        <p:spPr bwMode="auto">
          <a:xfrm>
            <a:off x="2559026" y="2907165"/>
            <a:ext cx="17874" cy="46473"/>
          </a:xfrm>
          <a:custGeom>
            <a:avLst/>
            <a:gdLst>
              <a:gd name="T0" fmla="*/ 2 w 4"/>
              <a:gd name="T1" fmla="*/ 9 h 9"/>
              <a:gd name="T2" fmla="*/ 2 w 4"/>
              <a:gd name="T3" fmla="*/ 9 h 9"/>
              <a:gd name="T4" fmla="*/ 3 w 4"/>
              <a:gd name="T5" fmla="*/ 6 h 9"/>
              <a:gd name="T6" fmla="*/ 3 w 4"/>
              <a:gd name="T7" fmla="*/ 5 h 9"/>
              <a:gd name="T8" fmla="*/ 2 w 4"/>
              <a:gd name="T9" fmla="*/ 3 h 9"/>
              <a:gd name="T10" fmla="*/ 3 w 4"/>
              <a:gd name="T11" fmla="*/ 2 h 9"/>
              <a:gd name="T12" fmla="*/ 3 w 4"/>
              <a:gd name="T13" fmla="*/ 2 h 9"/>
              <a:gd name="T14" fmla="*/ 4 w 4"/>
              <a:gd name="T15" fmla="*/ 0 h 9"/>
              <a:gd name="T16" fmla="*/ 2 w 4"/>
              <a:gd name="T17" fmla="*/ 0 h 9"/>
              <a:gd name="T18" fmla="*/ 2 w 4"/>
              <a:gd name="T19" fmla="*/ 1 h 9"/>
              <a:gd name="T20" fmla="*/ 0 w 4"/>
              <a:gd name="T21" fmla="*/ 5 h 9"/>
              <a:gd name="T22" fmla="*/ 2 w 4"/>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9">
                <a:moveTo>
                  <a:pt x="2" y="9"/>
                </a:moveTo>
                <a:cubicBezTo>
                  <a:pt x="2" y="9"/>
                  <a:pt x="2" y="9"/>
                  <a:pt x="2" y="9"/>
                </a:cubicBezTo>
                <a:cubicBezTo>
                  <a:pt x="2" y="8"/>
                  <a:pt x="3" y="6"/>
                  <a:pt x="3" y="6"/>
                </a:cubicBezTo>
                <a:cubicBezTo>
                  <a:pt x="3" y="6"/>
                  <a:pt x="3" y="5"/>
                  <a:pt x="3" y="5"/>
                </a:cubicBezTo>
                <a:cubicBezTo>
                  <a:pt x="2" y="4"/>
                  <a:pt x="2" y="3"/>
                  <a:pt x="2" y="3"/>
                </a:cubicBezTo>
                <a:cubicBezTo>
                  <a:pt x="2" y="3"/>
                  <a:pt x="2" y="2"/>
                  <a:pt x="3" y="2"/>
                </a:cubicBezTo>
                <a:cubicBezTo>
                  <a:pt x="3" y="2"/>
                  <a:pt x="3" y="2"/>
                  <a:pt x="3" y="2"/>
                </a:cubicBezTo>
                <a:cubicBezTo>
                  <a:pt x="3" y="1"/>
                  <a:pt x="3" y="1"/>
                  <a:pt x="4" y="0"/>
                </a:cubicBezTo>
                <a:cubicBezTo>
                  <a:pt x="2" y="0"/>
                  <a:pt x="2" y="0"/>
                  <a:pt x="2" y="0"/>
                </a:cubicBezTo>
                <a:cubicBezTo>
                  <a:pt x="2" y="0"/>
                  <a:pt x="2" y="0"/>
                  <a:pt x="2" y="1"/>
                </a:cubicBezTo>
                <a:cubicBezTo>
                  <a:pt x="2" y="2"/>
                  <a:pt x="1" y="4"/>
                  <a:pt x="0" y="5"/>
                </a:cubicBezTo>
                <a:cubicBezTo>
                  <a:pt x="2" y="9"/>
                  <a:pt x="2" y="9"/>
                  <a:pt x="2"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87"/>
          <p:cNvSpPr>
            <a:spLocks/>
          </p:cNvSpPr>
          <p:nvPr/>
        </p:nvSpPr>
        <p:spPr bwMode="auto">
          <a:xfrm>
            <a:off x="2566176" y="2907165"/>
            <a:ext cx="42898" cy="50048"/>
          </a:xfrm>
          <a:custGeom>
            <a:avLst/>
            <a:gdLst>
              <a:gd name="T0" fmla="*/ 9 w 9"/>
              <a:gd name="T1" fmla="*/ 0 h 10"/>
              <a:gd name="T2" fmla="*/ 6 w 9"/>
              <a:gd name="T3" fmla="*/ 1 h 10"/>
              <a:gd name="T4" fmla="*/ 4 w 9"/>
              <a:gd name="T5" fmla="*/ 2 h 10"/>
              <a:gd name="T6" fmla="*/ 2 w 9"/>
              <a:gd name="T7" fmla="*/ 1 h 10"/>
              <a:gd name="T8" fmla="*/ 2 w 9"/>
              <a:gd name="T9" fmla="*/ 0 h 10"/>
              <a:gd name="T10" fmla="*/ 2 w 9"/>
              <a:gd name="T11" fmla="*/ 0 h 10"/>
              <a:gd name="T12" fmla="*/ 1 w 9"/>
              <a:gd name="T13" fmla="*/ 2 h 10"/>
              <a:gd name="T14" fmla="*/ 1 w 9"/>
              <a:gd name="T15" fmla="*/ 6 h 10"/>
              <a:gd name="T16" fmla="*/ 0 w 9"/>
              <a:gd name="T17" fmla="*/ 9 h 10"/>
              <a:gd name="T18" fmla="*/ 2 w 9"/>
              <a:gd name="T19" fmla="*/ 10 h 10"/>
              <a:gd name="T20" fmla="*/ 4 w 9"/>
              <a:gd name="T21" fmla="*/ 9 h 10"/>
              <a:gd name="T22" fmla="*/ 5 w 9"/>
              <a:gd name="T23" fmla="*/ 8 h 10"/>
              <a:gd name="T24" fmla="*/ 6 w 9"/>
              <a:gd name="T25" fmla="*/ 7 h 10"/>
              <a:gd name="T26" fmla="*/ 5 w 9"/>
              <a:gd name="T27" fmla="*/ 5 h 10"/>
              <a:gd name="T28" fmla="*/ 7 w 9"/>
              <a:gd name="T29" fmla="*/ 4 h 10"/>
              <a:gd name="T30" fmla="*/ 9 w 9"/>
              <a:gd name="T31" fmla="*/ 3 h 10"/>
              <a:gd name="T32" fmla="*/ 9 w 9"/>
              <a:gd name="T33" fmla="*/ 3 h 10"/>
              <a:gd name="T34" fmla="*/ 9 w 9"/>
              <a:gd name="T35" fmla="*/ 1 h 10"/>
              <a:gd name="T36" fmla="*/ 9 w 9"/>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9" y="0"/>
                </a:moveTo>
                <a:cubicBezTo>
                  <a:pt x="7" y="0"/>
                  <a:pt x="6" y="1"/>
                  <a:pt x="6" y="1"/>
                </a:cubicBezTo>
                <a:cubicBezTo>
                  <a:pt x="5" y="1"/>
                  <a:pt x="4" y="2"/>
                  <a:pt x="4" y="2"/>
                </a:cubicBezTo>
                <a:cubicBezTo>
                  <a:pt x="2" y="1"/>
                  <a:pt x="2" y="1"/>
                  <a:pt x="2" y="1"/>
                </a:cubicBezTo>
                <a:cubicBezTo>
                  <a:pt x="2" y="0"/>
                  <a:pt x="2" y="0"/>
                  <a:pt x="2" y="0"/>
                </a:cubicBezTo>
                <a:cubicBezTo>
                  <a:pt x="2" y="0"/>
                  <a:pt x="2" y="0"/>
                  <a:pt x="2" y="0"/>
                </a:cubicBezTo>
                <a:cubicBezTo>
                  <a:pt x="1" y="1"/>
                  <a:pt x="1" y="2"/>
                  <a:pt x="1" y="2"/>
                </a:cubicBezTo>
                <a:cubicBezTo>
                  <a:pt x="1" y="3"/>
                  <a:pt x="1" y="5"/>
                  <a:pt x="1" y="6"/>
                </a:cubicBezTo>
                <a:cubicBezTo>
                  <a:pt x="1" y="6"/>
                  <a:pt x="0" y="8"/>
                  <a:pt x="0" y="9"/>
                </a:cubicBezTo>
                <a:cubicBezTo>
                  <a:pt x="1" y="9"/>
                  <a:pt x="2" y="10"/>
                  <a:pt x="2" y="10"/>
                </a:cubicBezTo>
                <a:cubicBezTo>
                  <a:pt x="3" y="10"/>
                  <a:pt x="4" y="9"/>
                  <a:pt x="4" y="9"/>
                </a:cubicBezTo>
                <a:cubicBezTo>
                  <a:pt x="4" y="8"/>
                  <a:pt x="4" y="8"/>
                  <a:pt x="5" y="8"/>
                </a:cubicBezTo>
                <a:cubicBezTo>
                  <a:pt x="6" y="8"/>
                  <a:pt x="6" y="7"/>
                  <a:pt x="6" y="7"/>
                </a:cubicBezTo>
                <a:cubicBezTo>
                  <a:pt x="7" y="7"/>
                  <a:pt x="5" y="5"/>
                  <a:pt x="5" y="5"/>
                </a:cubicBezTo>
                <a:cubicBezTo>
                  <a:pt x="4" y="5"/>
                  <a:pt x="5" y="4"/>
                  <a:pt x="7" y="4"/>
                </a:cubicBezTo>
                <a:cubicBezTo>
                  <a:pt x="9" y="3"/>
                  <a:pt x="8" y="3"/>
                  <a:pt x="9" y="3"/>
                </a:cubicBezTo>
                <a:cubicBezTo>
                  <a:pt x="9" y="3"/>
                  <a:pt x="9" y="3"/>
                  <a:pt x="9" y="3"/>
                </a:cubicBezTo>
                <a:cubicBezTo>
                  <a:pt x="9" y="2"/>
                  <a:pt x="9" y="1"/>
                  <a:pt x="9" y="1"/>
                </a:cubicBezTo>
                <a:cubicBezTo>
                  <a:pt x="9" y="0"/>
                  <a:pt x="9"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88"/>
          <p:cNvSpPr>
            <a:spLocks/>
          </p:cNvSpPr>
          <p:nvPr/>
        </p:nvSpPr>
        <p:spPr bwMode="auto">
          <a:xfrm>
            <a:off x="2937960" y="2782046"/>
            <a:ext cx="117970" cy="53623"/>
          </a:xfrm>
          <a:custGeom>
            <a:avLst/>
            <a:gdLst>
              <a:gd name="T0" fmla="*/ 23 w 24"/>
              <a:gd name="T1" fmla="*/ 2 h 11"/>
              <a:gd name="T2" fmla="*/ 21 w 24"/>
              <a:gd name="T3" fmla="*/ 2 h 11"/>
              <a:gd name="T4" fmla="*/ 15 w 24"/>
              <a:gd name="T5" fmla="*/ 1 h 11"/>
              <a:gd name="T6" fmla="*/ 12 w 24"/>
              <a:gd name="T7" fmla="*/ 1 h 11"/>
              <a:gd name="T8" fmla="*/ 10 w 24"/>
              <a:gd name="T9" fmla="*/ 2 h 11"/>
              <a:gd name="T10" fmla="*/ 8 w 24"/>
              <a:gd name="T11" fmla="*/ 2 h 11"/>
              <a:gd name="T12" fmla="*/ 5 w 24"/>
              <a:gd name="T13" fmla="*/ 2 h 11"/>
              <a:gd name="T14" fmla="*/ 3 w 24"/>
              <a:gd name="T15" fmla="*/ 3 h 11"/>
              <a:gd name="T16" fmla="*/ 3 w 24"/>
              <a:gd name="T17" fmla="*/ 5 h 11"/>
              <a:gd name="T18" fmla="*/ 3 w 24"/>
              <a:gd name="T19" fmla="*/ 5 h 11"/>
              <a:gd name="T20" fmla="*/ 5 w 24"/>
              <a:gd name="T21" fmla="*/ 5 h 11"/>
              <a:gd name="T22" fmla="*/ 8 w 24"/>
              <a:gd name="T23" fmla="*/ 7 h 11"/>
              <a:gd name="T24" fmla="*/ 7 w 24"/>
              <a:gd name="T25" fmla="*/ 8 h 11"/>
              <a:gd name="T26" fmla="*/ 5 w 24"/>
              <a:gd name="T27" fmla="*/ 8 h 11"/>
              <a:gd name="T28" fmla="*/ 2 w 24"/>
              <a:gd name="T29" fmla="*/ 9 h 11"/>
              <a:gd name="T30" fmla="*/ 0 w 24"/>
              <a:gd name="T31" fmla="*/ 10 h 11"/>
              <a:gd name="T32" fmla="*/ 3 w 24"/>
              <a:gd name="T33" fmla="*/ 10 h 11"/>
              <a:gd name="T34" fmla="*/ 5 w 24"/>
              <a:gd name="T35" fmla="*/ 10 h 11"/>
              <a:gd name="T36" fmla="*/ 7 w 24"/>
              <a:gd name="T37" fmla="*/ 11 h 11"/>
              <a:gd name="T38" fmla="*/ 10 w 24"/>
              <a:gd name="T39" fmla="*/ 10 h 11"/>
              <a:gd name="T40" fmla="*/ 11 w 24"/>
              <a:gd name="T41" fmla="*/ 9 h 11"/>
              <a:gd name="T42" fmla="*/ 12 w 24"/>
              <a:gd name="T43" fmla="*/ 9 h 11"/>
              <a:gd name="T44" fmla="*/ 13 w 24"/>
              <a:gd name="T45" fmla="*/ 8 h 11"/>
              <a:gd name="T46" fmla="*/ 14 w 24"/>
              <a:gd name="T47" fmla="*/ 8 h 11"/>
              <a:gd name="T48" fmla="*/ 15 w 24"/>
              <a:gd name="T49" fmla="*/ 8 h 11"/>
              <a:gd name="T50" fmla="*/ 17 w 24"/>
              <a:gd name="T51" fmla="*/ 7 h 11"/>
              <a:gd name="T52" fmla="*/ 19 w 24"/>
              <a:gd name="T53" fmla="*/ 7 h 11"/>
              <a:gd name="T54" fmla="*/ 21 w 24"/>
              <a:gd name="T55" fmla="*/ 6 h 11"/>
              <a:gd name="T56" fmla="*/ 22 w 24"/>
              <a:gd name="T57" fmla="*/ 5 h 11"/>
              <a:gd name="T58" fmla="*/ 24 w 24"/>
              <a:gd name="T59" fmla="*/ 4 h 11"/>
              <a:gd name="T60" fmla="*/ 24 w 24"/>
              <a:gd name="T61" fmla="*/ 3 h 11"/>
              <a:gd name="T62" fmla="*/ 23 w 24"/>
              <a:gd name="T6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1">
                <a:moveTo>
                  <a:pt x="23" y="2"/>
                </a:moveTo>
                <a:cubicBezTo>
                  <a:pt x="22" y="1"/>
                  <a:pt x="21" y="2"/>
                  <a:pt x="21" y="2"/>
                </a:cubicBezTo>
                <a:cubicBezTo>
                  <a:pt x="20" y="2"/>
                  <a:pt x="16" y="1"/>
                  <a:pt x="15" y="1"/>
                </a:cubicBezTo>
                <a:cubicBezTo>
                  <a:pt x="14" y="2"/>
                  <a:pt x="12" y="1"/>
                  <a:pt x="12" y="1"/>
                </a:cubicBezTo>
                <a:cubicBezTo>
                  <a:pt x="11" y="0"/>
                  <a:pt x="10" y="1"/>
                  <a:pt x="10" y="2"/>
                </a:cubicBezTo>
                <a:cubicBezTo>
                  <a:pt x="10" y="2"/>
                  <a:pt x="9" y="2"/>
                  <a:pt x="8" y="2"/>
                </a:cubicBezTo>
                <a:cubicBezTo>
                  <a:pt x="6" y="1"/>
                  <a:pt x="5" y="1"/>
                  <a:pt x="5" y="2"/>
                </a:cubicBezTo>
                <a:cubicBezTo>
                  <a:pt x="5" y="3"/>
                  <a:pt x="4" y="3"/>
                  <a:pt x="3" y="3"/>
                </a:cubicBezTo>
                <a:cubicBezTo>
                  <a:pt x="3" y="3"/>
                  <a:pt x="3" y="4"/>
                  <a:pt x="3" y="5"/>
                </a:cubicBezTo>
                <a:cubicBezTo>
                  <a:pt x="3" y="5"/>
                  <a:pt x="3" y="5"/>
                  <a:pt x="3" y="5"/>
                </a:cubicBezTo>
                <a:cubicBezTo>
                  <a:pt x="4" y="6"/>
                  <a:pt x="5" y="6"/>
                  <a:pt x="5" y="5"/>
                </a:cubicBezTo>
                <a:cubicBezTo>
                  <a:pt x="5" y="5"/>
                  <a:pt x="7" y="6"/>
                  <a:pt x="8" y="7"/>
                </a:cubicBezTo>
                <a:cubicBezTo>
                  <a:pt x="9" y="8"/>
                  <a:pt x="8" y="7"/>
                  <a:pt x="7" y="8"/>
                </a:cubicBezTo>
                <a:cubicBezTo>
                  <a:pt x="7" y="9"/>
                  <a:pt x="5" y="8"/>
                  <a:pt x="5" y="8"/>
                </a:cubicBezTo>
                <a:cubicBezTo>
                  <a:pt x="5" y="9"/>
                  <a:pt x="3" y="9"/>
                  <a:pt x="2" y="9"/>
                </a:cubicBezTo>
                <a:cubicBezTo>
                  <a:pt x="1" y="9"/>
                  <a:pt x="0" y="9"/>
                  <a:pt x="0" y="10"/>
                </a:cubicBezTo>
                <a:cubicBezTo>
                  <a:pt x="0" y="10"/>
                  <a:pt x="3" y="10"/>
                  <a:pt x="3" y="10"/>
                </a:cubicBezTo>
                <a:cubicBezTo>
                  <a:pt x="4" y="11"/>
                  <a:pt x="5" y="10"/>
                  <a:pt x="5" y="10"/>
                </a:cubicBezTo>
                <a:cubicBezTo>
                  <a:pt x="6" y="11"/>
                  <a:pt x="7" y="10"/>
                  <a:pt x="7" y="11"/>
                </a:cubicBezTo>
                <a:cubicBezTo>
                  <a:pt x="8" y="11"/>
                  <a:pt x="10" y="10"/>
                  <a:pt x="10" y="10"/>
                </a:cubicBezTo>
                <a:cubicBezTo>
                  <a:pt x="10" y="10"/>
                  <a:pt x="11" y="10"/>
                  <a:pt x="11" y="9"/>
                </a:cubicBezTo>
                <a:cubicBezTo>
                  <a:pt x="11" y="9"/>
                  <a:pt x="11" y="9"/>
                  <a:pt x="12" y="9"/>
                </a:cubicBezTo>
                <a:cubicBezTo>
                  <a:pt x="12" y="9"/>
                  <a:pt x="12" y="8"/>
                  <a:pt x="13" y="8"/>
                </a:cubicBezTo>
                <a:cubicBezTo>
                  <a:pt x="13" y="8"/>
                  <a:pt x="14" y="7"/>
                  <a:pt x="14" y="8"/>
                </a:cubicBezTo>
                <a:cubicBezTo>
                  <a:pt x="14" y="8"/>
                  <a:pt x="15" y="8"/>
                  <a:pt x="15" y="8"/>
                </a:cubicBezTo>
                <a:cubicBezTo>
                  <a:pt x="16" y="8"/>
                  <a:pt x="16" y="8"/>
                  <a:pt x="17" y="7"/>
                </a:cubicBezTo>
                <a:cubicBezTo>
                  <a:pt x="17" y="6"/>
                  <a:pt x="18" y="6"/>
                  <a:pt x="19" y="7"/>
                </a:cubicBezTo>
                <a:cubicBezTo>
                  <a:pt x="20" y="7"/>
                  <a:pt x="20" y="6"/>
                  <a:pt x="21" y="6"/>
                </a:cubicBezTo>
                <a:cubicBezTo>
                  <a:pt x="21" y="5"/>
                  <a:pt x="22" y="5"/>
                  <a:pt x="22" y="5"/>
                </a:cubicBezTo>
                <a:cubicBezTo>
                  <a:pt x="23" y="4"/>
                  <a:pt x="24" y="4"/>
                  <a:pt x="24" y="4"/>
                </a:cubicBezTo>
                <a:cubicBezTo>
                  <a:pt x="24" y="3"/>
                  <a:pt x="24" y="3"/>
                  <a:pt x="24" y="3"/>
                </a:cubicBezTo>
                <a:cubicBezTo>
                  <a:pt x="24" y="2"/>
                  <a:pt x="23" y="3"/>
                  <a:pt x="2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p:cNvSpPr>
            <a:spLocks/>
          </p:cNvSpPr>
          <p:nvPr/>
        </p:nvSpPr>
        <p:spPr bwMode="auto">
          <a:xfrm>
            <a:off x="2619798" y="2778471"/>
            <a:ext cx="71497" cy="32174"/>
          </a:xfrm>
          <a:custGeom>
            <a:avLst/>
            <a:gdLst>
              <a:gd name="T0" fmla="*/ 6 w 15"/>
              <a:gd name="T1" fmla="*/ 5 h 7"/>
              <a:gd name="T2" fmla="*/ 8 w 15"/>
              <a:gd name="T3" fmla="*/ 7 h 7"/>
              <a:gd name="T4" fmla="*/ 8 w 15"/>
              <a:gd name="T5" fmla="*/ 7 h 7"/>
              <a:gd name="T6" fmla="*/ 10 w 15"/>
              <a:gd name="T7" fmla="*/ 6 h 7"/>
              <a:gd name="T8" fmla="*/ 12 w 15"/>
              <a:gd name="T9" fmla="*/ 7 h 7"/>
              <a:gd name="T10" fmla="*/ 12 w 15"/>
              <a:gd name="T11" fmla="*/ 6 h 7"/>
              <a:gd name="T12" fmla="*/ 13 w 15"/>
              <a:gd name="T13" fmla="*/ 7 h 7"/>
              <a:gd name="T14" fmla="*/ 15 w 15"/>
              <a:gd name="T15" fmla="*/ 7 h 7"/>
              <a:gd name="T16" fmla="*/ 14 w 15"/>
              <a:gd name="T17" fmla="*/ 6 h 7"/>
              <a:gd name="T18" fmla="*/ 15 w 15"/>
              <a:gd name="T19" fmla="*/ 5 h 7"/>
              <a:gd name="T20" fmla="*/ 13 w 15"/>
              <a:gd name="T21" fmla="*/ 4 h 7"/>
              <a:gd name="T22" fmla="*/ 13 w 15"/>
              <a:gd name="T23" fmla="*/ 3 h 7"/>
              <a:gd name="T24" fmla="*/ 12 w 15"/>
              <a:gd name="T25" fmla="*/ 3 h 7"/>
              <a:gd name="T26" fmla="*/ 10 w 15"/>
              <a:gd name="T27" fmla="*/ 3 h 7"/>
              <a:gd name="T28" fmla="*/ 8 w 15"/>
              <a:gd name="T29" fmla="*/ 2 h 7"/>
              <a:gd name="T30" fmla="*/ 7 w 15"/>
              <a:gd name="T31" fmla="*/ 1 h 7"/>
              <a:gd name="T32" fmla="*/ 4 w 15"/>
              <a:gd name="T33" fmla="*/ 1 h 7"/>
              <a:gd name="T34" fmla="*/ 1 w 15"/>
              <a:gd name="T35" fmla="*/ 0 h 7"/>
              <a:gd name="T36" fmla="*/ 0 w 15"/>
              <a:gd name="T37" fmla="*/ 1 h 7"/>
              <a:gd name="T38" fmla="*/ 3 w 15"/>
              <a:gd name="T39" fmla="*/ 2 h 7"/>
              <a:gd name="T40" fmla="*/ 4 w 15"/>
              <a:gd name="T41" fmla="*/ 5 h 7"/>
              <a:gd name="T42" fmla="*/ 4 w 15"/>
              <a:gd name="T43" fmla="*/ 6 h 7"/>
              <a:gd name="T44" fmla="*/ 6 w 15"/>
              <a:gd name="T4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7">
                <a:moveTo>
                  <a:pt x="6" y="5"/>
                </a:moveTo>
                <a:cubicBezTo>
                  <a:pt x="7" y="5"/>
                  <a:pt x="7" y="6"/>
                  <a:pt x="8" y="7"/>
                </a:cubicBezTo>
                <a:cubicBezTo>
                  <a:pt x="8" y="7"/>
                  <a:pt x="8" y="7"/>
                  <a:pt x="8" y="7"/>
                </a:cubicBezTo>
                <a:cubicBezTo>
                  <a:pt x="9" y="7"/>
                  <a:pt x="9" y="6"/>
                  <a:pt x="10" y="6"/>
                </a:cubicBezTo>
                <a:cubicBezTo>
                  <a:pt x="11" y="6"/>
                  <a:pt x="11" y="6"/>
                  <a:pt x="12" y="7"/>
                </a:cubicBezTo>
                <a:cubicBezTo>
                  <a:pt x="12" y="6"/>
                  <a:pt x="12" y="6"/>
                  <a:pt x="12" y="6"/>
                </a:cubicBezTo>
                <a:cubicBezTo>
                  <a:pt x="12" y="6"/>
                  <a:pt x="13" y="6"/>
                  <a:pt x="13" y="7"/>
                </a:cubicBezTo>
                <a:cubicBezTo>
                  <a:pt x="14" y="7"/>
                  <a:pt x="15" y="7"/>
                  <a:pt x="15" y="7"/>
                </a:cubicBezTo>
                <a:cubicBezTo>
                  <a:pt x="15" y="6"/>
                  <a:pt x="15" y="6"/>
                  <a:pt x="14" y="6"/>
                </a:cubicBezTo>
                <a:cubicBezTo>
                  <a:pt x="14" y="6"/>
                  <a:pt x="15" y="5"/>
                  <a:pt x="15" y="5"/>
                </a:cubicBezTo>
                <a:cubicBezTo>
                  <a:pt x="14" y="5"/>
                  <a:pt x="14" y="4"/>
                  <a:pt x="13" y="4"/>
                </a:cubicBezTo>
                <a:cubicBezTo>
                  <a:pt x="13" y="4"/>
                  <a:pt x="13" y="3"/>
                  <a:pt x="13" y="3"/>
                </a:cubicBezTo>
                <a:cubicBezTo>
                  <a:pt x="12" y="3"/>
                  <a:pt x="12" y="3"/>
                  <a:pt x="12" y="3"/>
                </a:cubicBezTo>
                <a:cubicBezTo>
                  <a:pt x="12" y="3"/>
                  <a:pt x="10" y="3"/>
                  <a:pt x="10" y="3"/>
                </a:cubicBezTo>
                <a:cubicBezTo>
                  <a:pt x="9" y="3"/>
                  <a:pt x="9" y="2"/>
                  <a:pt x="8" y="2"/>
                </a:cubicBezTo>
                <a:cubicBezTo>
                  <a:pt x="8" y="2"/>
                  <a:pt x="7" y="2"/>
                  <a:pt x="7" y="1"/>
                </a:cubicBezTo>
                <a:cubicBezTo>
                  <a:pt x="7" y="1"/>
                  <a:pt x="4" y="1"/>
                  <a:pt x="4" y="1"/>
                </a:cubicBezTo>
                <a:cubicBezTo>
                  <a:pt x="3" y="0"/>
                  <a:pt x="2" y="0"/>
                  <a:pt x="1" y="0"/>
                </a:cubicBezTo>
                <a:cubicBezTo>
                  <a:pt x="1" y="0"/>
                  <a:pt x="0" y="0"/>
                  <a:pt x="0" y="1"/>
                </a:cubicBezTo>
                <a:cubicBezTo>
                  <a:pt x="1" y="1"/>
                  <a:pt x="3" y="1"/>
                  <a:pt x="3" y="2"/>
                </a:cubicBezTo>
                <a:cubicBezTo>
                  <a:pt x="4" y="4"/>
                  <a:pt x="5" y="3"/>
                  <a:pt x="4" y="5"/>
                </a:cubicBezTo>
                <a:cubicBezTo>
                  <a:pt x="4" y="5"/>
                  <a:pt x="4" y="5"/>
                  <a:pt x="4" y="6"/>
                </a:cubicBezTo>
                <a:cubicBezTo>
                  <a:pt x="5" y="6"/>
                  <a:pt x="6" y="6"/>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p:cNvSpPr>
            <a:spLocks noEditPoints="1"/>
          </p:cNvSpPr>
          <p:nvPr/>
        </p:nvSpPr>
        <p:spPr bwMode="auto">
          <a:xfrm>
            <a:off x="2469655" y="2796345"/>
            <a:ext cx="203766" cy="78647"/>
          </a:xfrm>
          <a:custGeom>
            <a:avLst/>
            <a:gdLst>
              <a:gd name="T0" fmla="*/ 41 w 42"/>
              <a:gd name="T1" fmla="*/ 11 h 16"/>
              <a:gd name="T2" fmla="*/ 41 w 42"/>
              <a:gd name="T3" fmla="*/ 9 h 16"/>
              <a:gd name="T4" fmla="*/ 41 w 42"/>
              <a:gd name="T5" fmla="*/ 7 h 16"/>
              <a:gd name="T6" fmla="*/ 41 w 42"/>
              <a:gd name="T7" fmla="*/ 6 h 16"/>
              <a:gd name="T8" fmla="*/ 41 w 42"/>
              <a:gd name="T9" fmla="*/ 5 h 16"/>
              <a:gd name="T10" fmla="*/ 39 w 42"/>
              <a:gd name="T11" fmla="*/ 5 h 16"/>
              <a:gd name="T12" fmla="*/ 39 w 42"/>
              <a:gd name="T13" fmla="*/ 3 h 16"/>
              <a:gd name="T14" fmla="*/ 37 w 42"/>
              <a:gd name="T15" fmla="*/ 1 h 16"/>
              <a:gd name="T16" fmla="*/ 35 w 42"/>
              <a:gd name="T17" fmla="*/ 2 h 16"/>
              <a:gd name="T18" fmla="*/ 31 w 42"/>
              <a:gd name="T19" fmla="*/ 3 h 16"/>
              <a:gd name="T20" fmla="*/ 27 w 42"/>
              <a:gd name="T21" fmla="*/ 3 h 16"/>
              <a:gd name="T22" fmla="*/ 24 w 42"/>
              <a:gd name="T23" fmla="*/ 2 h 16"/>
              <a:gd name="T24" fmla="*/ 22 w 42"/>
              <a:gd name="T25" fmla="*/ 1 h 16"/>
              <a:gd name="T26" fmla="*/ 19 w 42"/>
              <a:gd name="T27" fmla="*/ 0 h 16"/>
              <a:gd name="T28" fmla="*/ 12 w 42"/>
              <a:gd name="T29" fmla="*/ 2 h 16"/>
              <a:gd name="T30" fmla="*/ 7 w 42"/>
              <a:gd name="T31" fmla="*/ 3 h 16"/>
              <a:gd name="T32" fmla="*/ 6 w 42"/>
              <a:gd name="T33" fmla="*/ 4 h 16"/>
              <a:gd name="T34" fmla="*/ 2 w 42"/>
              <a:gd name="T35" fmla="*/ 5 h 16"/>
              <a:gd name="T36" fmla="*/ 1 w 42"/>
              <a:gd name="T37" fmla="*/ 6 h 16"/>
              <a:gd name="T38" fmla="*/ 2 w 42"/>
              <a:gd name="T39" fmla="*/ 7 h 16"/>
              <a:gd name="T40" fmla="*/ 2 w 42"/>
              <a:gd name="T41" fmla="*/ 9 h 16"/>
              <a:gd name="T42" fmla="*/ 2 w 42"/>
              <a:gd name="T43" fmla="*/ 10 h 16"/>
              <a:gd name="T44" fmla="*/ 2 w 42"/>
              <a:gd name="T45" fmla="*/ 11 h 16"/>
              <a:gd name="T46" fmla="*/ 4 w 42"/>
              <a:gd name="T47" fmla="*/ 13 h 16"/>
              <a:gd name="T48" fmla="*/ 5 w 42"/>
              <a:gd name="T49" fmla="*/ 13 h 16"/>
              <a:gd name="T50" fmla="*/ 6 w 42"/>
              <a:gd name="T51" fmla="*/ 14 h 16"/>
              <a:gd name="T52" fmla="*/ 7 w 42"/>
              <a:gd name="T53" fmla="*/ 15 h 16"/>
              <a:gd name="T54" fmla="*/ 10 w 42"/>
              <a:gd name="T55" fmla="*/ 15 h 16"/>
              <a:gd name="T56" fmla="*/ 12 w 42"/>
              <a:gd name="T57" fmla="*/ 14 h 16"/>
              <a:gd name="T58" fmla="*/ 15 w 42"/>
              <a:gd name="T59" fmla="*/ 16 h 16"/>
              <a:gd name="T60" fmla="*/ 17 w 42"/>
              <a:gd name="T61" fmla="*/ 15 h 16"/>
              <a:gd name="T62" fmla="*/ 19 w 42"/>
              <a:gd name="T63" fmla="*/ 14 h 16"/>
              <a:gd name="T64" fmla="*/ 21 w 42"/>
              <a:gd name="T65" fmla="*/ 14 h 16"/>
              <a:gd name="T66" fmla="*/ 23 w 42"/>
              <a:gd name="T67" fmla="*/ 14 h 16"/>
              <a:gd name="T68" fmla="*/ 22 w 42"/>
              <a:gd name="T69" fmla="*/ 16 h 16"/>
              <a:gd name="T70" fmla="*/ 22 w 42"/>
              <a:gd name="T71" fmla="*/ 16 h 16"/>
              <a:gd name="T72" fmla="*/ 24 w 42"/>
              <a:gd name="T73" fmla="*/ 15 h 16"/>
              <a:gd name="T74" fmla="*/ 24 w 42"/>
              <a:gd name="T75" fmla="*/ 14 h 16"/>
              <a:gd name="T76" fmla="*/ 26 w 42"/>
              <a:gd name="T77" fmla="*/ 14 h 16"/>
              <a:gd name="T78" fmla="*/ 28 w 42"/>
              <a:gd name="T79" fmla="*/ 14 h 16"/>
              <a:gd name="T80" fmla="*/ 30 w 42"/>
              <a:gd name="T81" fmla="*/ 14 h 16"/>
              <a:gd name="T82" fmla="*/ 33 w 42"/>
              <a:gd name="T83" fmla="*/ 13 h 16"/>
              <a:gd name="T84" fmla="*/ 36 w 42"/>
              <a:gd name="T85" fmla="*/ 13 h 16"/>
              <a:gd name="T86" fmla="*/ 37 w 42"/>
              <a:gd name="T87" fmla="*/ 13 h 16"/>
              <a:gd name="T88" fmla="*/ 38 w 42"/>
              <a:gd name="T89" fmla="*/ 12 h 16"/>
              <a:gd name="T90" fmla="*/ 40 w 42"/>
              <a:gd name="T91" fmla="*/ 13 h 16"/>
              <a:gd name="T92" fmla="*/ 42 w 42"/>
              <a:gd name="T93" fmla="*/ 13 h 16"/>
              <a:gd name="T94" fmla="*/ 41 w 42"/>
              <a:gd name="T95" fmla="*/ 11 h 16"/>
              <a:gd name="T96" fmla="*/ 4 w 42"/>
              <a:gd name="T97" fmla="*/ 3 h 16"/>
              <a:gd name="T98" fmla="*/ 7 w 42"/>
              <a:gd name="T99" fmla="*/ 3 h 16"/>
              <a:gd name="T100" fmla="*/ 5 w 42"/>
              <a:gd name="T101" fmla="*/ 1 h 16"/>
              <a:gd name="T102" fmla="*/ 5 w 42"/>
              <a:gd name="T103" fmla="*/ 0 h 16"/>
              <a:gd name="T104" fmla="*/ 4 w 42"/>
              <a:gd name="T105" fmla="*/ 0 h 16"/>
              <a:gd name="T106" fmla="*/ 2 w 42"/>
              <a:gd name="T107" fmla="*/ 0 h 16"/>
              <a:gd name="T108" fmla="*/ 2 w 42"/>
              <a:gd name="T109" fmla="*/ 2 h 16"/>
              <a:gd name="T110" fmla="*/ 1 w 42"/>
              <a:gd name="T111" fmla="*/ 3 h 16"/>
              <a:gd name="T112" fmla="*/ 1 w 42"/>
              <a:gd name="T113" fmla="*/ 4 h 16"/>
              <a:gd name="T114" fmla="*/ 2 w 42"/>
              <a:gd name="T115" fmla="*/ 4 h 16"/>
              <a:gd name="T116" fmla="*/ 4 w 42"/>
              <a:gd name="T1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6">
                <a:moveTo>
                  <a:pt x="41" y="11"/>
                </a:moveTo>
                <a:cubicBezTo>
                  <a:pt x="41" y="11"/>
                  <a:pt x="41" y="9"/>
                  <a:pt x="41" y="9"/>
                </a:cubicBezTo>
                <a:cubicBezTo>
                  <a:pt x="41" y="9"/>
                  <a:pt x="40" y="7"/>
                  <a:pt x="41" y="7"/>
                </a:cubicBezTo>
                <a:cubicBezTo>
                  <a:pt x="41" y="7"/>
                  <a:pt x="41" y="6"/>
                  <a:pt x="41" y="6"/>
                </a:cubicBezTo>
                <a:cubicBezTo>
                  <a:pt x="41" y="6"/>
                  <a:pt x="41" y="5"/>
                  <a:pt x="41" y="5"/>
                </a:cubicBezTo>
                <a:cubicBezTo>
                  <a:pt x="41" y="5"/>
                  <a:pt x="40" y="6"/>
                  <a:pt x="39" y="5"/>
                </a:cubicBezTo>
                <a:cubicBezTo>
                  <a:pt x="39" y="4"/>
                  <a:pt x="39" y="3"/>
                  <a:pt x="39" y="3"/>
                </a:cubicBezTo>
                <a:cubicBezTo>
                  <a:pt x="38" y="2"/>
                  <a:pt x="38" y="1"/>
                  <a:pt x="37" y="1"/>
                </a:cubicBezTo>
                <a:cubicBezTo>
                  <a:pt x="37" y="2"/>
                  <a:pt x="36" y="2"/>
                  <a:pt x="35" y="2"/>
                </a:cubicBezTo>
                <a:cubicBezTo>
                  <a:pt x="34" y="3"/>
                  <a:pt x="31" y="3"/>
                  <a:pt x="31" y="3"/>
                </a:cubicBezTo>
                <a:cubicBezTo>
                  <a:pt x="30" y="3"/>
                  <a:pt x="28" y="3"/>
                  <a:pt x="27" y="3"/>
                </a:cubicBezTo>
                <a:cubicBezTo>
                  <a:pt x="26" y="3"/>
                  <a:pt x="25" y="2"/>
                  <a:pt x="24" y="2"/>
                </a:cubicBezTo>
                <a:cubicBezTo>
                  <a:pt x="23" y="2"/>
                  <a:pt x="23" y="1"/>
                  <a:pt x="22" y="1"/>
                </a:cubicBezTo>
                <a:cubicBezTo>
                  <a:pt x="21" y="1"/>
                  <a:pt x="22" y="1"/>
                  <a:pt x="19" y="0"/>
                </a:cubicBezTo>
                <a:cubicBezTo>
                  <a:pt x="16" y="0"/>
                  <a:pt x="13" y="2"/>
                  <a:pt x="12" y="2"/>
                </a:cubicBezTo>
                <a:cubicBezTo>
                  <a:pt x="11" y="3"/>
                  <a:pt x="8" y="2"/>
                  <a:pt x="7" y="3"/>
                </a:cubicBezTo>
                <a:cubicBezTo>
                  <a:pt x="7" y="3"/>
                  <a:pt x="7" y="4"/>
                  <a:pt x="6" y="4"/>
                </a:cubicBezTo>
                <a:cubicBezTo>
                  <a:pt x="5" y="5"/>
                  <a:pt x="3" y="4"/>
                  <a:pt x="2" y="5"/>
                </a:cubicBezTo>
                <a:cubicBezTo>
                  <a:pt x="1" y="5"/>
                  <a:pt x="0" y="6"/>
                  <a:pt x="1" y="6"/>
                </a:cubicBezTo>
                <a:cubicBezTo>
                  <a:pt x="2" y="6"/>
                  <a:pt x="2" y="7"/>
                  <a:pt x="2" y="7"/>
                </a:cubicBezTo>
                <a:cubicBezTo>
                  <a:pt x="2" y="7"/>
                  <a:pt x="3" y="8"/>
                  <a:pt x="2" y="9"/>
                </a:cubicBezTo>
                <a:cubicBezTo>
                  <a:pt x="2" y="9"/>
                  <a:pt x="2" y="10"/>
                  <a:pt x="2" y="10"/>
                </a:cubicBezTo>
                <a:cubicBezTo>
                  <a:pt x="3" y="11"/>
                  <a:pt x="3" y="11"/>
                  <a:pt x="2" y="11"/>
                </a:cubicBezTo>
                <a:cubicBezTo>
                  <a:pt x="2" y="12"/>
                  <a:pt x="3" y="12"/>
                  <a:pt x="4" y="13"/>
                </a:cubicBezTo>
                <a:cubicBezTo>
                  <a:pt x="4" y="13"/>
                  <a:pt x="5" y="13"/>
                  <a:pt x="5" y="13"/>
                </a:cubicBezTo>
                <a:cubicBezTo>
                  <a:pt x="5" y="14"/>
                  <a:pt x="5" y="14"/>
                  <a:pt x="6" y="14"/>
                </a:cubicBezTo>
                <a:cubicBezTo>
                  <a:pt x="7" y="14"/>
                  <a:pt x="7" y="15"/>
                  <a:pt x="7" y="15"/>
                </a:cubicBezTo>
                <a:cubicBezTo>
                  <a:pt x="8" y="16"/>
                  <a:pt x="10" y="15"/>
                  <a:pt x="10" y="15"/>
                </a:cubicBezTo>
                <a:cubicBezTo>
                  <a:pt x="10" y="14"/>
                  <a:pt x="11" y="14"/>
                  <a:pt x="12" y="14"/>
                </a:cubicBezTo>
                <a:cubicBezTo>
                  <a:pt x="13" y="14"/>
                  <a:pt x="15" y="15"/>
                  <a:pt x="15" y="16"/>
                </a:cubicBezTo>
                <a:cubicBezTo>
                  <a:pt x="16" y="16"/>
                  <a:pt x="17" y="15"/>
                  <a:pt x="17" y="15"/>
                </a:cubicBezTo>
                <a:cubicBezTo>
                  <a:pt x="18" y="15"/>
                  <a:pt x="19" y="14"/>
                  <a:pt x="19" y="14"/>
                </a:cubicBezTo>
                <a:cubicBezTo>
                  <a:pt x="20" y="14"/>
                  <a:pt x="21" y="15"/>
                  <a:pt x="21" y="14"/>
                </a:cubicBezTo>
                <a:cubicBezTo>
                  <a:pt x="22" y="14"/>
                  <a:pt x="22" y="14"/>
                  <a:pt x="23" y="14"/>
                </a:cubicBezTo>
                <a:cubicBezTo>
                  <a:pt x="23" y="14"/>
                  <a:pt x="22" y="15"/>
                  <a:pt x="22" y="16"/>
                </a:cubicBezTo>
                <a:cubicBezTo>
                  <a:pt x="22" y="16"/>
                  <a:pt x="22" y="16"/>
                  <a:pt x="22" y="16"/>
                </a:cubicBezTo>
                <a:cubicBezTo>
                  <a:pt x="24" y="16"/>
                  <a:pt x="24" y="15"/>
                  <a:pt x="24" y="15"/>
                </a:cubicBezTo>
                <a:cubicBezTo>
                  <a:pt x="24" y="14"/>
                  <a:pt x="24" y="14"/>
                  <a:pt x="24" y="14"/>
                </a:cubicBezTo>
                <a:cubicBezTo>
                  <a:pt x="25" y="15"/>
                  <a:pt x="26" y="15"/>
                  <a:pt x="26" y="14"/>
                </a:cubicBezTo>
                <a:cubicBezTo>
                  <a:pt x="27" y="14"/>
                  <a:pt x="28" y="14"/>
                  <a:pt x="28" y="14"/>
                </a:cubicBezTo>
                <a:cubicBezTo>
                  <a:pt x="28" y="15"/>
                  <a:pt x="29" y="14"/>
                  <a:pt x="30" y="14"/>
                </a:cubicBezTo>
                <a:cubicBezTo>
                  <a:pt x="32" y="14"/>
                  <a:pt x="32" y="13"/>
                  <a:pt x="33" y="13"/>
                </a:cubicBezTo>
                <a:cubicBezTo>
                  <a:pt x="35" y="13"/>
                  <a:pt x="36" y="13"/>
                  <a:pt x="36" y="13"/>
                </a:cubicBezTo>
                <a:cubicBezTo>
                  <a:pt x="37" y="13"/>
                  <a:pt x="37" y="13"/>
                  <a:pt x="37" y="13"/>
                </a:cubicBezTo>
                <a:cubicBezTo>
                  <a:pt x="37" y="13"/>
                  <a:pt x="37" y="13"/>
                  <a:pt x="38" y="12"/>
                </a:cubicBezTo>
                <a:cubicBezTo>
                  <a:pt x="39" y="12"/>
                  <a:pt x="39" y="13"/>
                  <a:pt x="40" y="13"/>
                </a:cubicBezTo>
                <a:cubicBezTo>
                  <a:pt x="40" y="13"/>
                  <a:pt x="42" y="14"/>
                  <a:pt x="42" y="13"/>
                </a:cubicBezTo>
                <a:cubicBezTo>
                  <a:pt x="42" y="13"/>
                  <a:pt x="41" y="12"/>
                  <a:pt x="41" y="11"/>
                </a:cubicBezTo>
                <a:moveTo>
                  <a:pt x="4" y="3"/>
                </a:moveTo>
                <a:cubicBezTo>
                  <a:pt x="5" y="3"/>
                  <a:pt x="7" y="3"/>
                  <a:pt x="7" y="3"/>
                </a:cubicBezTo>
                <a:cubicBezTo>
                  <a:pt x="7" y="2"/>
                  <a:pt x="6" y="2"/>
                  <a:pt x="5" y="1"/>
                </a:cubicBezTo>
                <a:cubicBezTo>
                  <a:pt x="5" y="1"/>
                  <a:pt x="5" y="1"/>
                  <a:pt x="5" y="0"/>
                </a:cubicBezTo>
                <a:cubicBezTo>
                  <a:pt x="5" y="0"/>
                  <a:pt x="4" y="1"/>
                  <a:pt x="4" y="0"/>
                </a:cubicBezTo>
                <a:cubicBezTo>
                  <a:pt x="3" y="0"/>
                  <a:pt x="2" y="0"/>
                  <a:pt x="2" y="0"/>
                </a:cubicBezTo>
                <a:cubicBezTo>
                  <a:pt x="1" y="1"/>
                  <a:pt x="2" y="1"/>
                  <a:pt x="2" y="2"/>
                </a:cubicBezTo>
                <a:cubicBezTo>
                  <a:pt x="2" y="2"/>
                  <a:pt x="1" y="3"/>
                  <a:pt x="1" y="3"/>
                </a:cubicBezTo>
                <a:cubicBezTo>
                  <a:pt x="1" y="3"/>
                  <a:pt x="1" y="3"/>
                  <a:pt x="1" y="4"/>
                </a:cubicBezTo>
                <a:cubicBezTo>
                  <a:pt x="1" y="4"/>
                  <a:pt x="2" y="4"/>
                  <a:pt x="2" y="4"/>
                </a:cubicBezTo>
                <a:cubicBezTo>
                  <a:pt x="3" y="4"/>
                  <a:pt x="3"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91"/>
          <p:cNvSpPr>
            <a:spLocks/>
          </p:cNvSpPr>
          <p:nvPr/>
        </p:nvSpPr>
        <p:spPr bwMode="auto">
          <a:xfrm>
            <a:off x="3030906" y="2878567"/>
            <a:ext cx="28599" cy="21449"/>
          </a:xfrm>
          <a:custGeom>
            <a:avLst/>
            <a:gdLst>
              <a:gd name="T0" fmla="*/ 3 w 6"/>
              <a:gd name="T1" fmla="*/ 0 h 4"/>
              <a:gd name="T2" fmla="*/ 0 w 6"/>
              <a:gd name="T3" fmla="*/ 1 h 4"/>
              <a:gd name="T4" fmla="*/ 1 w 6"/>
              <a:gd name="T5" fmla="*/ 2 h 4"/>
              <a:gd name="T6" fmla="*/ 2 w 6"/>
              <a:gd name="T7" fmla="*/ 3 h 4"/>
              <a:gd name="T8" fmla="*/ 2 w 6"/>
              <a:gd name="T9" fmla="*/ 4 h 4"/>
              <a:gd name="T10" fmla="*/ 3 w 6"/>
              <a:gd name="T11" fmla="*/ 4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0"/>
                  <a:pt x="0" y="1"/>
                </a:cubicBezTo>
                <a:cubicBezTo>
                  <a:pt x="1" y="1"/>
                  <a:pt x="1" y="1"/>
                  <a:pt x="1" y="2"/>
                </a:cubicBezTo>
                <a:cubicBezTo>
                  <a:pt x="1" y="2"/>
                  <a:pt x="2" y="3"/>
                  <a:pt x="2" y="3"/>
                </a:cubicBezTo>
                <a:cubicBezTo>
                  <a:pt x="2" y="3"/>
                  <a:pt x="2" y="4"/>
                  <a:pt x="2" y="4"/>
                </a:cubicBezTo>
                <a:cubicBezTo>
                  <a:pt x="3" y="4"/>
                  <a:pt x="3" y="4"/>
                  <a:pt x="3" y="4"/>
                </a:cubicBezTo>
                <a:cubicBezTo>
                  <a:pt x="4" y="4"/>
                  <a:pt x="5" y="2"/>
                  <a:pt x="5" y="2"/>
                </a:cubicBezTo>
                <a:cubicBezTo>
                  <a:pt x="6" y="1"/>
                  <a:pt x="4" y="0"/>
                  <a:pt x="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92"/>
          <p:cNvSpPr>
            <a:spLocks/>
          </p:cNvSpPr>
          <p:nvPr/>
        </p:nvSpPr>
        <p:spPr bwMode="auto">
          <a:xfrm>
            <a:off x="3513510" y="2789195"/>
            <a:ext cx="71497" cy="71497"/>
          </a:xfrm>
          <a:custGeom>
            <a:avLst/>
            <a:gdLst>
              <a:gd name="T0" fmla="*/ 15 w 15"/>
              <a:gd name="T1" fmla="*/ 1 h 15"/>
              <a:gd name="T2" fmla="*/ 13 w 15"/>
              <a:gd name="T3" fmla="*/ 0 h 15"/>
              <a:gd name="T4" fmla="*/ 12 w 15"/>
              <a:gd name="T5" fmla="*/ 2 h 15"/>
              <a:gd name="T6" fmla="*/ 10 w 15"/>
              <a:gd name="T7" fmla="*/ 3 h 15"/>
              <a:gd name="T8" fmla="*/ 9 w 15"/>
              <a:gd name="T9" fmla="*/ 4 h 15"/>
              <a:gd name="T10" fmla="*/ 8 w 15"/>
              <a:gd name="T11" fmla="*/ 4 h 15"/>
              <a:gd name="T12" fmla="*/ 6 w 15"/>
              <a:gd name="T13" fmla="*/ 4 h 15"/>
              <a:gd name="T14" fmla="*/ 5 w 15"/>
              <a:gd name="T15" fmla="*/ 5 h 15"/>
              <a:gd name="T16" fmla="*/ 1 w 15"/>
              <a:gd name="T17" fmla="*/ 8 h 15"/>
              <a:gd name="T18" fmla="*/ 0 w 15"/>
              <a:gd name="T19" fmla="*/ 9 h 15"/>
              <a:gd name="T20" fmla="*/ 3 w 15"/>
              <a:gd name="T21" fmla="*/ 10 h 15"/>
              <a:gd name="T22" fmla="*/ 1 w 15"/>
              <a:gd name="T23" fmla="*/ 12 h 15"/>
              <a:gd name="T24" fmla="*/ 2 w 15"/>
              <a:gd name="T25" fmla="*/ 14 h 15"/>
              <a:gd name="T26" fmla="*/ 3 w 15"/>
              <a:gd name="T27" fmla="*/ 14 h 15"/>
              <a:gd name="T28" fmla="*/ 5 w 15"/>
              <a:gd name="T29" fmla="*/ 14 h 15"/>
              <a:gd name="T30" fmla="*/ 5 w 15"/>
              <a:gd name="T31" fmla="*/ 14 h 15"/>
              <a:gd name="T32" fmla="*/ 7 w 15"/>
              <a:gd name="T33" fmla="*/ 13 h 15"/>
              <a:gd name="T34" fmla="*/ 9 w 15"/>
              <a:gd name="T35" fmla="*/ 13 h 15"/>
              <a:gd name="T36" fmla="*/ 10 w 15"/>
              <a:gd name="T37" fmla="*/ 12 h 15"/>
              <a:gd name="T38" fmla="*/ 8 w 15"/>
              <a:gd name="T39" fmla="*/ 10 h 15"/>
              <a:gd name="T40" fmla="*/ 8 w 15"/>
              <a:gd name="T41" fmla="*/ 8 h 15"/>
              <a:gd name="T42" fmla="*/ 12 w 15"/>
              <a:gd name="T43" fmla="*/ 6 h 15"/>
              <a:gd name="T44" fmla="*/ 13 w 15"/>
              <a:gd name="T45" fmla="*/ 3 h 15"/>
              <a:gd name="T46" fmla="*/ 15 w 15"/>
              <a:gd name="T47" fmla="*/ 1 h 15"/>
              <a:gd name="T48" fmla="*/ 15 w 15"/>
              <a:gd name="T4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15">
                <a:moveTo>
                  <a:pt x="15" y="1"/>
                </a:moveTo>
                <a:cubicBezTo>
                  <a:pt x="14" y="1"/>
                  <a:pt x="14" y="0"/>
                  <a:pt x="13" y="0"/>
                </a:cubicBezTo>
                <a:cubicBezTo>
                  <a:pt x="12" y="0"/>
                  <a:pt x="12" y="2"/>
                  <a:pt x="12" y="2"/>
                </a:cubicBezTo>
                <a:cubicBezTo>
                  <a:pt x="11" y="2"/>
                  <a:pt x="11" y="3"/>
                  <a:pt x="10" y="3"/>
                </a:cubicBezTo>
                <a:cubicBezTo>
                  <a:pt x="9" y="3"/>
                  <a:pt x="9" y="3"/>
                  <a:pt x="9" y="4"/>
                </a:cubicBezTo>
                <a:cubicBezTo>
                  <a:pt x="10" y="5"/>
                  <a:pt x="9" y="4"/>
                  <a:pt x="8" y="4"/>
                </a:cubicBezTo>
                <a:cubicBezTo>
                  <a:pt x="7" y="4"/>
                  <a:pt x="7" y="4"/>
                  <a:pt x="6" y="4"/>
                </a:cubicBezTo>
                <a:cubicBezTo>
                  <a:pt x="6" y="4"/>
                  <a:pt x="5" y="5"/>
                  <a:pt x="5" y="5"/>
                </a:cubicBezTo>
                <a:cubicBezTo>
                  <a:pt x="5" y="6"/>
                  <a:pt x="2" y="7"/>
                  <a:pt x="1" y="8"/>
                </a:cubicBezTo>
                <a:cubicBezTo>
                  <a:pt x="1" y="8"/>
                  <a:pt x="0" y="8"/>
                  <a:pt x="0" y="9"/>
                </a:cubicBezTo>
                <a:cubicBezTo>
                  <a:pt x="1" y="9"/>
                  <a:pt x="2" y="9"/>
                  <a:pt x="3" y="10"/>
                </a:cubicBezTo>
                <a:cubicBezTo>
                  <a:pt x="3" y="11"/>
                  <a:pt x="2" y="12"/>
                  <a:pt x="1" y="12"/>
                </a:cubicBezTo>
                <a:cubicBezTo>
                  <a:pt x="1" y="13"/>
                  <a:pt x="2" y="13"/>
                  <a:pt x="2" y="14"/>
                </a:cubicBezTo>
                <a:cubicBezTo>
                  <a:pt x="2" y="14"/>
                  <a:pt x="3" y="15"/>
                  <a:pt x="3" y="14"/>
                </a:cubicBezTo>
                <a:cubicBezTo>
                  <a:pt x="3" y="14"/>
                  <a:pt x="4" y="14"/>
                  <a:pt x="5" y="14"/>
                </a:cubicBezTo>
                <a:cubicBezTo>
                  <a:pt x="5" y="14"/>
                  <a:pt x="5" y="14"/>
                  <a:pt x="5" y="14"/>
                </a:cubicBezTo>
                <a:cubicBezTo>
                  <a:pt x="6" y="14"/>
                  <a:pt x="6" y="13"/>
                  <a:pt x="7" y="13"/>
                </a:cubicBezTo>
                <a:cubicBezTo>
                  <a:pt x="7" y="13"/>
                  <a:pt x="8" y="13"/>
                  <a:pt x="9" y="13"/>
                </a:cubicBezTo>
                <a:cubicBezTo>
                  <a:pt x="9" y="13"/>
                  <a:pt x="9" y="13"/>
                  <a:pt x="10" y="12"/>
                </a:cubicBezTo>
                <a:cubicBezTo>
                  <a:pt x="9" y="11"/>
                  <a:pt x="8" y="11"/>
                  <a:pt x="8" y="10"/>
                </a:cubicBezTo>
                <a:cubicBezTo>
                  <a:pt x="7" y="10"/>
                  <a:pt x="7" y="9"/>
                  <a:pt x="8" y="8"/>
                </a:cubicBezTo>
                <a:cubicBezTo>
                  <a:pt x="9" y="8"/>
                  <a:pt x="12" y="6"/>
                  <a:pt x="12" y="6"/>
                </a:cubicBezTo>
                <a:cubicBezTo>
                  <a:pt x="13" y="6"/>
                  <a:pt x="12" y="4"/>
                  <a:pt x="13" y="3"/>
                </a:cubicBezTo>
                <a:cubicBezTo>
                  <a:pt x="13" y="3"/>
                  <a:pt x="14" y="2"/>
                  <a:pt x="15" y="1"/>
                </a:cubicBezTo>
                <a:cubicBezTo>
                  <a:pt x="15" y="1"/>
                  <a:pt x="15" y="1"/>
                  <a:pt x="1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93"/>
          <p:cNvSpPr>
            <a:spLocks/>
          </p:cNvSpPr>
          <p:nvPr/>
        </p:nvSpPr>
        <p:spPr bwMode="auto">
          <a:xfrm>
            <a:off x="3055930" y="2942914"/>
            <a:ext cx="82221" cy="46473"/>
          </a:xfrm>
          <a:custGeom>
            <a:avLst/>
            <a:gdLst>
              <a:gd name="T0" fmla="*/ 17 w 17"/>
              <a:gd name="T1" fmla="*/ 7 h 10"/>
              <a:gd name="T2" fmla="*/ 16 w 17"/>
              <a:gd name="T3" fmla="*/ 7 h 10"/>
              <a:gd name="T4" fmla="*/ 13 w 17"/>
              <a:gd name="T5" fmla="*/ 6 h 10"/>
              <a:gd name="T6" fmla="*/ 9 w 17"/>
              <a:gd name="T7" fmla="*/ 4 h 10"/>
              <a:gd name="T8" fmla="*/ 5 w 17"/>
              <a:gd name="T9" fmla="*/ 1 h 10"/>
              <a:gd name="T10" fmla="*/ 3 w 17"/>
              <a:gd name="T11" fmla="*/ 1 h 10"/>
              <a:gd name="T12" fmla="*/ 1 w 17"/>
              <a:gd name="T13" fmla="*/ 1 h 10"/>
              <a:gd name="T14" fmla="*/ 0 w 17"/>
              <a:gd name="T15" fmla="*/ 2 h 10"/>
              <a:gd name="T16" fmla="*/ 0 w 17"/>
              <a:gd name="T17" fmla="*/ 4 h 10"/>
              <a:gd name="T18" fmla="*/ 1 w 17"/>
              <a:gd name="T19" fmla="*/ 5 h 10"/>
              <a:gd name="T20" fmla="*/ 3 w 17"/>
              <a:gd name="T21" fmla="*/ 6 h 10"/>
              <a:gd name="T22" fmla="*/ 5 w 17"/>
              <a:gd name="T23" fmla="*/ 7 h 10"/>
              <a:gd name="T24" fmla="*/ 6 w 17"/>
              <a:gd name="T25" fmla="*/ 8 h 10"/>
              <a:gd name="T26" fmla="*/ 9 w 17"/>
              <a:gd name="T27" fmla="*/ 7 h 10"/>
              <a:gd name="T28" fmla="*/ 10 w 17"/>
              <a:gd name="T29" fmla="*/ 9 h 10"/>
              <a:gd name="T30" fmla="*/ 13 w 17"/>
              <a:gd name="T31" fmla="*/ 10 h 10"/>
              <a:gd name="T32" fmla="*/ 16 w 17"/>
              <a:gd name="T33" fmla="*/ 9 h 10"/>
              <a:gd name="T34" fmla="*/ 17 w 17"/>
              <a:gd name="T35" fmla="*/ 7 h 10"/>
              <a:gd name="T36" fmla="*/ 17 w 17"/>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17" y="7"/>
                </a:moveTo>
                <a:cubicBezTo>
                  <a:pt x="17" y="7"/>
                  <a:pt x="16" y="7"/>
                  <a:pt x="16" y="7"/>
                </a:cubicBezTo>
                <a:cubicBezTo>
                  <a:pt x="15" y="7"/>
                  <a:pt x="14" y="6"/>
                  <a:pt x="13" y="6"/>
                </a:cubicBezTo>
                <a:cubicBezTo>
                  <a:pt x="13" y="6"/>
                  <a:pt x="10" y="5"/>
                  <a:pt x="9" y="4"/>
                </a:cubicBezTo>
                <a:cubicBezTo>
                  <a:pt x="8" y="4"/>
                  <a:pt x="5" y="2"/>
                  <a:pt x="5" y="1"/>
                </a:cubicBezTo>
                <a:cubicBezTo>
                  <a:pt x="4" y="0"/>
                  <a:pt x="3" y="0"/>
                  <a:pt x="3" y="1"/>
                </a:cubicBezTo>
                <a:cubicBezTo>
                  <a:pt x="3" y="1"/>
                  <a:pt x="2" y="1"/>
                  <a:pt x="1" y="1"/>
                </a:cubicBezTo>
                <a:cubicBezTo>
                  <a:pt x="1" y="2"/>
                  <a:pt x="0" y="2"/>
                  <a:pt x="0" y="2"/>
                </a:cubicBezTo>
                <a:cubicBezTo>
                  <a:pt x="0" y="3"/>
                  <a:pt x="0" y="4"/>
                  <a:pt x="0" y="4"/>
                </a:cubicBezTo>
                <a:cubicBezTo>
                  <a:pt x="0" y="5"/>
                  <a:pt x="1" y="5"/>
                  <a:pt x="1" y="5"/>
                </a:cubicBezTo>
                <a:cubicBezTo>
                  <a:pt x="1" y="5"/>
                  <a:pt x="3" y="6"/>
                  <a:pt x="3" y="6"/>
                </a:cubicBezTo>
                <a:cubicBezTo>
                  <a:pt x="3" y="6"/>
                  <a:pt x="4" y="7"/>
                  <a:pt x="5" y="7"/>
                </a:cubicBezTo>
                <a:cubicBezTo>
                  <a:pt x="5" y="7"/>
                  <a:pt x="6" y="8"/>
                  <a:pt x="6" y="8"/>
                </a:cubicBezTo>
                <a:cubicBezTo>
                  <a:pt x="7" y="8"/>
                  <a:pt x="8" y="7"/>
                  <a:pt x="9" y="7"/>
                </a:cubicBezTo>
                <a:cubicBezTo>
                  <a:pt x="9" y="7"/>
                  <a:pt x="10" y="8"/>
                  <a:pt x="10" y="9"/>
                </a:cubicBezTo>
                <a:cubicBezTo>
                  <a:pt x="10" y="9"/>
                  <a:pt x="12" y="9"/>
                  <a:pt x="13" y="10"/>
                </a:cubicBezTo>
                <a:cubicBezTo>
                  <a:pt x="13" y="10"/>
                  <a:pt x="16" y="10"/>
                  <a:pt x="16" y="9"/>
                </a:cubicBezTo>
                <a:cubicBezTo>
                  <a:pt x="17" y="9"/>
                  <a:pt x="17" y="8"/>
                  <a:pt x="17" y="7"/>
                </a:cubicBezTo>
                <a:cubicBezTo>
                  <a:pt x="17" y="7"/>
                  <a:pt x="17" y="7"/>
                  <a:pt x="17"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94"/>
          <p:cNvSpPr>
            <a:spLocks/>
          </p:cNvSpPr>
          <p:nvPr/>
        </p:nvSpPr>
        <p:spPr bwMode="auto">
          <a:xfrm>
            <a:off x="3173900" y="2967938"/>
            <a:ext cx="92946" cy="200191"/>
          </a:xfrm>
          <a:custGeom>
            <a:avLst/>
            <a:gdLst>
              <a:gd name="T0" fmla="*/ 15 w 19"/>
              <a:gd name="T1" fmla="*/ 38 h 42"/>
              <a:gd name="T2" fmla="*/ 14 w 19"/>
              <a:gd name="T3" fmla="*/ 36 h 42"/>
              <a:gd name="T4" fmla="*/ 13 w 19"/>
              <a:gd name="T5" fmla="*/ 34 h 42"/>
              <a:gd name="T6" fmla="*/ 13 w 19"/>
              <a:gd name="T7" fmla="*/ 31 h 42"/>
              <a:gd name="T8" fmla="*/ 13 w 19"/>
              <a:gd name="T9" fmla="*/ 30 h 42"/>
              <a:gd name="T10" fmla="*/ 13 w 19"/>
              <a:gd name="T11" fmla="*/ 29 h 42"/>
              <a:gd name="T12" fmla="*/ 13 w 19"/>
              <a:gd name="T13" fmla="*/ 27 h 42"/>
              <a:gd name="T14" fmla="*/ 11 w 19"/>
              <a:gd name="T15" fmla="*/ 25 h 42"/>
              <a:gd name="T16" fmla="*/ 11 w 19"/>
              <a:gd name="T17" fmla="*/ 22 h 42"/>
              <a:gd name="T18" fmla="*/ 13 w 19"/>
              <a:gd name="T19" fmla="*/ 21 h 42"/>
              <a:gd name="T20" fmla="*/ 14 w 19"/>
              <a:gd name="T21" fmla="*/ 20 h 42"/>
              <a:gd name="T22" fmla="*/ 16 w 19"/>
              <a:gd name="T23" fmla="*/ 19 h 42"/>
              <a:gd name="T24" fmla="*/ 17 w 19"/>
              <a:gd name="T25" fmla="*/ 18 h 42"/>
              <a:gd name="T26" fmla="*/ 19 w 19"/>
              <a:gd name="T27" fmla="*/ 16 h 42"/>
              <a:gd name="T28" fmla="*/ 19 w 19"/>
              <a:gd name="T29" fmla="*/ 16 h 42"/>
              <a:gd name="T30" fmla="*/ 18 w 19"/>
              <a:gd name="T31" fmla="*/ 17 h 42"/>
              <a:gd name="T32" fmla="*/ 16 w 19"/>
              <a:gd name="T33" fmla="*/ 16 h 42"/>
              <a:gd name="T34" fmla="*/ 15 w 19"/>
              <a:gd name="T35" fmla="*/ 15 h 42"/>
              <a:gd name="T36" fmla="*/ 15 w 19"/>
              <a:gd name="T37" fmla="*/ 14 h 42"/>
              <a:gd name="T38" fmla="*/ 14 w 19"/>
              <a:gd name="T39" fmla="*/ 13 h 42"/>
              <a:gd name="T40" fmla="*/ 13 w 19"/>
              <a:gd name="T41" fmla="*/ 11 h 42"/>
              <a:gd name="T42" fmla="*/ 11 w 19"/>
              <a:gd name="T43" fmla="*/ 11 h 42"/>
              <a:gd name="T44" fmla="*/ 11 w 19"/>
              <a:gd name="T45" fmla="*/ 10 h 42"/>
              <a:gd name="T46" fmla="*/ 13 w 19"/>
              <a:gd name="T47" fmla="*/ 7 h 42"/>
              <a:gd name="T48" fmla="*/ 13 w 19"/>
              <a:gd name="T49" fmla="*/ 3 h 42"/>
              <a:gd name="T50" fmla="*/ 13 w 19"/>
              <a:gd name="T51" fmla="*/ 2 h 42"/>
              <a:gd name="T52" fmla="*/ 12 w 19"/>
              <a:gd name="T53" fmla="*/ 1 h 42"/>
              <a:gd name="T54" fmla="*/ 11 w 19"/>
              <a:gd name="T55" fmla="*/ 0 h 42"/>
              <a:gd name="T56" fmla="*/ 10 w 19"/>
              <a:gd name="T57" fmla="*/ 1 h 42"/>
              <a:gd name="T58" fmla="*/ 10 w 19"/>
              <a:gd name="T59" fmla="*/ 1 h 42"/>
              <a:gd name="T60" fmla="*/ 10 w 19"/>
              <a:gd name="T61" fmla="*/ 2 h 42"/>
              <a:gd name="T62" fmla="*/ 10 w 19"/>
              <a:gd name="T63" fmla="*/ 3 h 42"/>
              <a:gd name="T64" fmla="*/ 9 w 19"/>
              <a:gd name="T65" fmla="*/ 3 h 42"/>
              <a:gd name="T66" fmla="*/ 7 w 19"/>
              <a:gd name="T67" fmla="*/ 4 h 42"/>
              <a:gd name="T68" fmla="*/ 6 w 19"/>
              <a:gd name="T69" fmla="*/ 6 h 42"/>
              <a:gd name="T70" fmla="*/ 5 w 19"/>
              <a:gd name="T71" fmla="*/ 8 h 42"/>
              <a:gd name="T72" fmla="*/ 4 w 19"/>
              <a:gd name="T73" fmla="*/ 11 h 42"/>
              <a:gd name="T74" fmla="*/ 2 w 19"/>
              <a:gd name="T75" fmla="*/ 11 h 42"/>
              <a:gd name="T76" fmla="*/ 2 w 19"/>
              <a:gd name="T77" fmla="*/ 13 h 42"/>
              <a:gd name="T78" fmla="*/ 1 w 19"/>
              <a:gd name="T79" fmla="*/ 15 h 42"/>
              <a:gd name="T80" fmla="*/ 0 w 19"/>
              <a:gd name="T81" fmla="*/ 17 h 42"/>
              <a:gd name="T82" fmla="*/ 0 w 19"/>
              <a:gd name="T83" fmla="*/ 18 h 42"/>
              <a:gd name="T84" fmla="*/ 2 w 19"/>
              <a:gd name="T85" fmla="*/ 20 h 42"/>
              <a:gd name="T86" fmla="*/ 4 w 19"/>
              <a:gd name="T87" fmla="*/ 24 h 42"/>
              <a:gd name="T88" fmla="*/ 4 w 19"/>
              <a:gd name="T89" fmla="*/ 28 h 42"/>
              <a:gd name="T90" fmla="*/ 5 w 19"/>
              <a:gd name="T91" fmla="*/ 29 h 42"/>
              <a:gd name="T92" fmla="*/ 7 w 19"/>
              <a:gd name="T93" fmla="*/ 29 h 42"/>
              <a:gd name="T94" fmla="*/ 9 w 19"/>
              <a:gd name="T95" fmla="*/ 27 h 42"/>
              <a:gd name="T96" fmla="*/ 10 w 19"/>
              <a:gd name="T97" fmla="*/ 28 h 42"/>
              <a:gd name="T98" fmla="*/ 11 w 19"/>
              <a:gd name="T99" fmla="*/ 30 h 42"/>
              <a:gd name="T100" fmla="*/ 12 w 19"/>
              <a:gd name="T101" fmla="*/ 35 h 42"/>
              <a:gd name="T102" fmla="*/ 13 w 19"/>
              <a:gd name="T103" fmla="*/ 38 h 42"/>
              <a:gd name="T104" fmla="*/ 13 w 19"/>
              <a:gd name="T105" fmla="*/ 41 h 42"/>
              <a:gd name="T106" fmla="*/ 13 w 19"/>
              <a:gd name="T107" fmla="*/ 42 h 42"/>
              <a:gd name="T108" fmla="*/ 15 w 19"/>
              <a:gd name="T10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42">
                <a:moveTo>
                  <a:pt x="15" y="38"/>
                </a:moveTo>
                <a:cubicBezTo>
                  <a:pt x="15" y="37"/>
                  <a:pt x="14" y="37"/>
                  <a:pt x="14" y="36"/>
                </a:cubicBezTo>
                <a:cubicBezTo>
                  <a:pt x="14" y="36"/>
                  <a:pt x="14" y="34"/>
                  <a:pt x="13" y="34"/>
                </a:cubicBezTo>
                <a:cubicBezTo>
                  <a:pt x="13" y="33"/>
                  <a:pt x="12" y="32"/>
                  <a:pt x="13" y="31"/>
                </a:cubicBezTo>
                <a:cubicBezTo>
                  <a:pt x="13" y="31"/>
                  <a:pt x="13" y="30"/>
                  <a:pt x="13" y="30"/>
                </a:cubicBezTo>
                <a:cubicBezTo>
                  <a:pt x="13" y="30"/>
                  <a:pt x="14" y="29"/>
                  <a:pt x="13" y="29"/>
                </a:cubicBezTo>
                <a:cubicBezTo>
                  <a:pt x="13" y="28"/>
                  <a:pt x="13" y="27"/>
                  <a:pt x="13" y="27"/>
                </a:cubicBezTo>
                <a:cubicBezTo>
                  <a:pt x="12" y="27"/>
                  <a:pt x="11" y="26"/>
                  <a:pt x="11" y="25"/>
                </a:cubicBezTo>
                <a:cubicBezTo>
                  <a:pt x="11" y="25"/>
                  <a:pt x="11" y="22"/>
                  <a:pt x="11" y="22"/>
                </a:cubicBezTo>
                <a:cubicBezTo>
                  <a:pt x="11" y="21"/>
                  <a:pt x="12" y="21"/>
                  <a:pt x="13" y="21"/>
                </a:cubicBezTo>
                <a:cubicBezTo>
                  <a:pt x="13" y="21"/>
                  <a:pt x="14" y="21"/>
                  <a:pt x="14" y="20"/>
                </a:cubicBezTo>
                <a:cubicBezTo>
                  <a:pt x="15" y="20"/>
                  <a:pt x="16" y="20"/>
                  <a:pt x="16" y="19"/>
                </a:cubicBezTo>
                <a:cubicBezTo>
                  <a:pt x="16" y="19"/>
                  <a:pt x="17" y="19"/>
                  <a:pt x="17" y="18"/>
                </a:cubicBezTo>
                <a:cubicBezTo>
                  <a:pt x="17" y="18"/>
                  <a:pt x="19" y="16"/>
                  <a:pt x="19" y="16"/>
                </a:cubicBezTo>
                <a:cubicBezTo>
                  <a:pt x="19" y="16"/>
                  <a:pt x="19" y="16"/>
                  <a:pt x="19" y="16"/>
                </a:cubicBezTo>
                <a:cubicBezTo>
                  <a:pt x="18" y="16"/>
                  <a:pt x="18" y="16"/>
                  <a:pt x="18" y="17"/>
                </a:cubicBezTo>
                <a:cubicBezTo>
                  <a:pt x="17" y="17"/>
                  <a:pt x="16" y="17"/>
                  <a:pt x="16" y="16"/>
                </a:cubicBezTo>
                <a:cubicBezTo>
                  <a:pt x="16" y="15"/>
                  <a:pt x="16" y="15"/>
                  <a:pt x="15" y="15"/>
                </a:cubicBezTo>
                <a:cubicBezTo>
                  <a:pt x="14" y="15"/>
                  <a:pt x="15" y="14"/>
                  <a:pt x="15" y="14"/>
                </a:cubicBezTo>
                <a:cubicBezTo>
                  <a:pt x="15" y="13"/>
                  <a:pt x="15" y="13"/>
                  <a:pt x="14" y="13"/>
                </a:cubicBezTo>
                <a:cubicBezTo>
                  <a:pt x="14" y="13"/>
                  <a:pt x="13" y="11"/>
                  <a:pt x="13" y="11"/>
                </a:cubicBezTo>
                <a:cubicBezTo>
                  <a:pt x="14" y="11"/>
                  <a:pt x="12" y="10"/>
                  <a:pt x="11" y="11"/>
                </a:cubicBezTo>
                <a:cubicBezTo>
                  <a:pt x="11" y="11"/>
                  <a:pt x="11" y="10"/>
                  <a:pt x="11" y="10"/>
                </a:cubicBezTo>
                <a:cubicBezTo>
                  <a:pt x="11" y="9"/>
                  <a:pt x="12" y="7"/>
                  <a:pt x="13" y="7"/>
                </a:cubicBezTo>
                <a:cubicBezTo>
                  <a:pt x="14" y="6"/>
                  <a:pt x="13" y="4"/>
                  <a:pt x="13" y="3"/>
                </a:cubicBezTo>
                <a:cubicBezTo>
                  <a:pt x="13" y="2"/>
                  <a:pt x="13" y="2"/>
                  <a:pt x="13" y="2"/>
                </a:cubicBezTo>
                <a:cubicBezTo>
                  <a:pt x="12" y="2"/>
                  <a:pt x="12" y="2"/>
                  <a:pt x="12" y="1"/>
                </a:cubicBezTo>
                <a:cubicBezTo>
                  <a:pt x="12" y="0"/>
                  <a:pt x="11" y="0"/>
                  <a:pt x="11" y="0"/>
                </a:cubicBezTo>
                <a:cubicBezTo>
                  <a:pt x="11" y="0"/>
                  <a:pt x="10" y="0"/>
                  <a:pt x="10" y="1"/>
                </a:cubicBezTo>
                <a:cubicBezTo>
                  <a:pt x="10" y="1"/>
                  <a:pt x="10" y="1"/>
                  <a:pt x="10" y="1"/>
                </a:cubicBezTo>
                <a:cubicBezTo>
                  <a:pt x="10" y="1"/>
                  <a:pt x="10" y="1"/>
                  <a:pt x="10" y="2"/>
                </a:cubicBezTo>
                <a:cubicBezTo>
                  <a:pt x="9" y="2"/>
                  <a:pt x="9" y="2"/>
                  <a:pt x="10" y="3"/>
                </a:cubicBezTo>
                <a:cubicBezTo>
                  <a:pt x="10" y="4"/>
                  <a:pt x="9" y="4"/>
                  <a:pt x="9" y="3"/>
                </a:cubicBezTo>
                <a:cubicBezTo>
                  <a:pt x="9" y="3"/>
                  <a:pt x="8" y="3"/>
                  <a:pt x="7" y="4"/>
                </a:cubicBezTo>
                <a:cubicBezTo>
                  <a:pt x="7" y="4"/>
                  <a:pt x="6" y="5"/>
                  <a:pt x="6" y="6"/>
                </a:cubicBezTo>
                <a:cubicBezTo>
                  <a:pt x="6" y="7"/>
                  <a:pt x="5" y="8"/>
                  <a:pt x="5" y="8"/>
                </a:cubicBezTo>
                <a:cubicBezTo>
                  <a:pt x="5" y="9"/>
                  <a:pt x="4" y="11"/>
                  <a:pt x="4" y="11"/>
                </a:cubicBezTo>
                <a:cubicBezTo>
                  <a:pt x="4" y="11"/>
                  <a:pt x="3" y="11"/>
                  <a:pt x="2" y="11"/>
                </a:cubicBezTo>
                <a:cubicBezTo>
                  <a:pt x="2" y="11"/>
                  <a:pt x="2" y="13"/>
                  <a:pt x="2" y="13"/>
                </a:cubicBezTo>
                <a:cubicBezTo>
                  <a:pt x="2" y="14"/>
                  <a:pt x="2" y="15"/>
                  <a:pt x="1" y="15"/>
                </a:cubicBezTo>
                <a:cubicBezTo>
                  <a:pt x="1" y="15"/>
                  <a:pt x="0" y="17"/>
                  <a:pt x="0" y="17"/>
                </a:cubicBezTo>
                <a:cubicBezTo>
                  <a:pt x="0" y="17"/>
                  <a:pt x="0" y="17"/>
                  <a:pt x="0" y="18"/>
                </a:cubicBezTo>
                <a:cubicBezTo>
                  <a:pt x="0" y="19"/>
                  <a:pt x="1" y="20"/>
                  <a:pt x="2" y="20"/>
                </a:cubicBezTo>
                <a:cubicBezTo>
                  <a:pt x="3" y="20"/>
                  <a:pt x="4" y="23"/>
                  <a:pt x="4" y="24"/>
                </a:cubicBezTo>
                <a:cubicBezTo>
                  <a:pt x="5" y="26"/>
                  <a:pt x="4" y="27"/>
                  <a:pt x="4" y="28"/>
                </a:cubicBezTo>
                <a:cubicBezTo>
                  <a:pt x="4" y="29"/>
                  <a:pt x="4" y="29"/>
                  <a:pt x="5" y="29"/>
                </a:cubicBezTo>
                <a:cubicBezTo>
                  <a:pt x="6" y="30"/>
                  <a:pt x="6" y="30"/>
                  <a:pt x="7" y="29"/>
                </a:cubicBezTo>
                <a:cubicBezTo>
                  <a:pt x="8" y="28"/>
                  <a:pt x="9" y="28"/>
                  <a:pt x="9" y="27"/>
                </a:cubicBezTo>
                <a:cubicBezTo>
                  <a:pt x="9" y="26"/>
                  <a:pt x="10" y="27"/>
                  <a:pt x="10" y="28"/>
                </a:cubicBezTo>
                <a:cubicBezTo>
                  <a:pt x="10" y="28"/>
                  <a:pt x="11" y="29"/>
                  <a:pt x="11" y="30"/>
                </a:cubicBezTo>
                <a:cubicBezTo>
                  <a:pt x="11" y="31"/>
                  <a:pt x="11" y="34"/>
                  <a:pt x="12" y="35"/>
                </a:cubicBezTo>
                <a:cubicBezTo>
                  <a:pt x="13" y="36"/>
                  <a:pt x="13" y="38"/>
                  <a:pt x="13" y="38"/>
                </a:cubicBezTo>
                <a:cubicBezTo>
                  <a:pt x="13" y="39"/>
                  <a:pt x="13" y="40"/>
                  <a:pt x="13" y="41"/>
                </a:cubicBezTo>
                <a:cubicBezTo>
                  <a:pt x="13" y="41"/>
                  <a:pt x="13" y="41"/>
                  <a:pt x="13" y="42"/>
                </a:cubicBezTo>
                <a:cubicBezTo>
                  <a:pt x="14" y="42"/>
                  <a:pt x="15" y="38"/>
                  <a:pt x="15" y="3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95"/>
          <p:cNvSpPr>
            <a:spLocks/>
          </p:cNvSpPr>
          <p:nvPr/>
        </p:nvSpPr>
        <p:spPr bwMode="auto">
          <a:xfrm>
            <a:off x="3141726" y="2971513"/>
            <a:ext cx="32174" cy="17874"/>
          </a:xfrm>
          <a:custGeom>
            <a:avLst/>
            <a:gdLst>
              <a:gd name="T0" fmla="*/ 7 w 7"/>
              <a:gd name="T1" fmla="*/ 1 h 4"/>
              <a:gd name="T2" fmla="*/ 4 w 7"/>
              <a:gd name="T3" fmla="*/ 0 h 4"/>
              <a:gd name="T4" fmla="*/ 2 w 7"/>
              <a:gd name="T5" fmla="*/ 0 h 4"/>
              <a:gd name="T6" fmla="*/ 1 w 7"/>
              <a:gd name="T7" fmla="*/ 1 h 4"/>
              <a:gd name="T8" fmla="*/ 0 w 7"/>
              <a:gd name="T9" fmla="*/ 2 h 4"/>
              <a:gd name="T10" fmla="*/ 1 w 7"/>
              <a:gd name="T11" fmla="*/ 3 h 4"/>
              <a:gd name="T12" fmla="*/ 2 w 7"/>
              <a:gd name="T13" fmla="*/ 3 h 4"/>
              <a:gd name="T14" fmla="*/ 4 w 7"/>
              <a:gd name="T15" fmla="*/ 3 h 4"/>
              <a:gd name="T16" fmla="*/ 7 w 7"/>
              <a:gd name="T17" fmla="*/ 3 h 4"/>
              <a:gd name="T18" fmla="*/ 6 w 7"/>
              <a:gd name="T19" fmla="*/ 1 h 4"/>
              <a:gd name="T20" fmla="*/ 7 w 7"/>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7" y="1"/>
                </a:moveTo>
                <a:cubicBezTo>
                  <a:pt x="5" y="0"/>
                  <a:pt x="5" y="1"/>
                  <a:pt x="4" y="0"/>
                </a:cubicBezTo>
                <a:cubicBezTo>
                  <a:pt x="3" y="0"/>
                  <a:pt x="3" y="0"/>
                  <a:pt x="2" y="0"/>
                </a:cubicBezTo>
                <a:cubicBezTo>
                  <a:pt x="2" y="0"/>
                  <a:pt x="1" y="0"/>
                  <a:pt x="1" y="1"/>
                </a:cubicBezTo>
                <a:cubicBezTo>
                  <a:pt x="1" y="2"/>
                  <a:pt x="0" y="2"/>
                  <a:pt x="0" y="2"/>
                </a:cubicBezTo>
                <a:cubicBezTo>
                  <a:pt x="0" y="3"/>
                  <a:pt x="1" y="3"/>
                  <a:pt x="1" y="3"/>
                </a:cubicBezTo>
                <a:cubicBezTo>
                  <a:pt x="1" y="3"/>
                  <a:pt x="2" y="3"/>
                  <a:pt x="2" y="3"/>
                </a:cubicBezTo>
                <a:cubicBezTo>
                  <a:pt x="3" y="3"/>
                  <a:pt x="3" y="4"/>
                  <a:pt x="4" y="3"/>
                </a:cubicBezTo>
                <a:cubicBezTo>
                  <a:pt x="5" y="3"/>
                  <a:pt x="6" y="4"/>
                  <a:pt x="7" y="3"/>
                </a:cubicBezTo>
                <a:cubicBezTo>
                  <a:pt x="7" y="2"/>
                  <a:pt x="6" y="1"/>
                  <a:pt x="6" y="1"/>
                </a:cubicBezTo>
                <a:cubicBezTo>
                  <a:pt x="6" y="1"/>
                  <a:pt x="7" y="1"/>
                  <a:pt x="7"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96"/>
          <p:cNvSpPr>
            <a:spLocks/>
          </p:cNvSpPr>
          <p:nvPr/>
        </p:nvSpPr>
        <p:spPr bwMode="auto">
          <a:xfrm>
            <a:off x="3277570" y="3025135"/>
            <a:ext cx="75072" cy="164443"/>
          </a:xfrm>
          <a:custGeom>
            <a:avLst/>
            <a:gdLst>
              <a:gd name="T0" fmla="*/ 12 w 16"/>
              <a:gd name="T1" fmla="*/ 4 h 34"/>
              <a:gd name="T2" fmla="*/ 10 w 16"/>
              <a:gd name="T3" fmla="*/ 3 h 34"/>
              <a:gd name="T4" fmla="*/ 9 w 16"/>
              <a:gd name="T5" fmla="*/ 1 h 34"/>
              <a:gd name="T6" fmla="*/ 7 w 16"/>
              <a:gd name="T7" fmla="*/ 1 h 34"/>
              <a:gd name="T8" fmla="*/ 6 w 16"/>
              <a:gd name="T9" fmla="*/ 2 h 34"/>
              <a:gd name="T10" fmla="*/ 4 w 16"/>
              <a:gd name="T11" fmla="*/ 2 h 34"/>
              <a:gd name="T12" fmla="*/ 2 w 16"/>
              <a:gd name="T13" fmla="*/ 2 h 34"/>
              <a:gd name="T14" fmla="*/ 1 w 16"/>
              <a:gd name="T15" fmla="*/ 2 h 34"/>
              <a:gd name="T16" fmla="*/ 0 w 16"/>
              <a:gd name="T17" fmla="*/ 3 h 34"/>
              <a:gd name="T18" fmla="*/ 1 w 16"/>
              <a:gd name="T19" fmla="*/ 4 h 34"/>
              <a:gd name="T20" fmla="*/ 2 w 16"/>
              <a:gd name="T21" fmla="*/ 5 h 34"/>
              <a:gd name="T22" fmla="*/ 4 w 16"/>
              <a:gd name="T23" fmla="*/ 6 h 34"/>
              <a:gd name="T24" fmla="*/ 5 w 16"/>
              <a:gd name="T25" fmla="*/ 7 h 34"/>
              <a:gd name="T26" fmla="*/ 6 w 16"/>
              <a:gd name="T27" fmla="*/ 8 h 34"/>
              <a:gd name="T28" fmla="*/ 4 w 16"/>
              <a:gd name="T29" fmla="*/ 9 h 34"/>
              <a:gd name="T30" fmla="*/ 7 w 16"/>
              <a:gd name="T31" fmla="*/ 12 h 34"/>
              <a:gd name="T32" fmla="*/ 8 w 16"/>
              <a:gd name="T33" fmla="*/ 14 h 34"/>
              <a:gd name="T34" fmla="*/ 10 w 16"/>
              <a:gd name="T35" fmla="*/ 16 h 34"/>
              <a:gd name="T36" fmla="*/ 11 w 16"/>
              <a:gd name="T37" fmla="*/ 18 h 34"/>
              <a:gd name="T38" fmla="*/ 12 w 16"/>
              <a:gd name="T39" fmla="*/ 20 h 34"/>
              <a:gd name="T40" fmla="*/ 13 w 16"/>
              <a:gd name="T41" fmla="*/ 23 h 34"/>
              <a:gd name="T42" fmla="*/ 11 w 16"/>
              <a:gd name="T43" fmla="*/ 26 h 34"/>
              <a:gd name="T44" fmla="*/ 9 w 16"/>
              <a:gd name="T45" fmla="*/ 27 h 34"/>
              <a:gd name="T46" fmla="*/ 9 w 16"/>
              <a:gd name="T47" fmla="*/ 29 h 34"/>
              <a:gd name="T48" fmla="*/ 7 w 16"/>
              <a:gd name="T49" fmla="*/ 29 h 34"/>
              <a:gd name="T50" fmla="*/ 5 w 16"/>
              <a:gd name="T51" fmla="*/ 30 h 34"/>
              <a:gd name="T52" fmla="*/ 6 w 16"/>
              <a:gd name="T53" fmla="*/ 31 h 34"/>
              <a:gd name="T54" fmla="*/ 6 w 16"/>
              <a:gd name="T55" fmla="*/ 33 h 34"/>
              <a:gd name="T56" fmla="*/ 7 w 16"/>
              <a:gd name="T57" fmla="*/ 34 h 34"/>
              <a:gd name="T58" fmla="*/ 9 w 16"/>
              <a:gd name="T59" fmla="*/ 32 h 34"/>
              <a:gd name="T60" fmla="*/ 9 w 16"/>
              <a:gd name="T61" fmla="*/ 31 h 34"/>
              <a:gd name="T62" fmla="*/ 10 w 16"/>
              <a:gd name="T63" fmla="*/ 30 h 34"/>
              <a:gd name="T64" fmla="*/ 11 w 16"/>
              <a:gd name="T65" fmla="*/ 30 h 34"/>
              <a:gd name="T66" fmla="*/ 14 w 16"/>
              <a:gd name="T67" fmla="*/ 29 h 34"/>
              <a:gd name="T68" fmla="*/ 16 w 16"/>
              <a:gd name="T69" fmla="*/ 26 h 34"/>
              <a:gd name="T70" fmla="*/ 15 w 16"/>
              <a:gd name="T71" fmla="*/ 21 h 34"/>
              <a:gd name="T72" fmla="*/ 13 w 16"/>
              <a:gd name="T73" fmla="*/ 17 h 34"/>
              <a:gd name="T74" fmla="*/ 10 w 16"/>
              <a:gd name="T75" fmla="*/ 14 h 34"/>
              <a:gd name="T76" fmla="*/ 9 w 16"/>
              <a:gd name="T77" fmla="*/ 12 h 34"/>
              <a:gd name="T78" fmla="*/ 8 w 16"/>
              <a:gd name="T79" fmla="*/ 9 h 34"/>
              <a:gd name="T80" fmla="*/ 10 w 16"/>
              <a:gd name="T81" fmla="*/ 7 h 34"/>
              <a:gd name="T82" fmla="*/ 11 w 16"/>
              <a:gd name="T83" fmla="*/ 6 h 34"/>
              <a:gd name="T84" fmla="*/ 12 w 16"/>
              <a:gd name="T85" fmla="*/ 5 h 34"/>
              <a:gd name="T86" fmla="*/ 12 w 16"/>
              <a:gd name="T87" fmla="*/ 5 h 34"/>
              <a:gd name="T88" fmla="*/ 12 w 16"/>
              <a:gd name="T8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4">
                <a:moveTo>
                  <a:pt x="12" y="4"/>
                </a:moveTo>
                <a:cubicBezTo>
                  <a:pt x="11" y="4"/>
                  <a:pt x="10" y="3"/>
                  <a:pt x="10" y="3"/>
                </a:cubicBezTo>
                <a:cubicBezTo>
                  <a:pt x="10" y="2"/>
                  <a:pt x="11" y="2"/>
                  <a:pt x="9" y="1"/>
                </a:cubicBezTo>
                <a:cubicBezTo>
                  <a:pt x="8" y="1"/>
                  <a:pt x="8" y="1"/>
                  <a:pt x="7" y="1"/>
                </a:cubicBezTo>
                <a:cubicBezTo>
                  <a:pt x="7" y="0"/>
                  <a:pt x="6" y="1"/>
                  <a:pt x="6" y="2"/>
                </a:cubicBezTo>
                <a:cubicBezTo>
                  <a:pt x="5" y="2"/>
                  <a:pt x="5" y="1"/>
                  <a:pt x="4" y="2"/>
                </a:cubicBezTo>
                <a:cubicBezTo>
                  <a:pt x="3" y="2"/>
                  <a:pt x="3" y="1"/>
                  <a:pt x="2" y="2"/>
                </a:cubicBezTo>
                <a:cubicBezTo>
                  <a:pt x="2" y="3"/>
                  <a:pt x="1" y="2"/>
                  <a:pt x="1" y="2"/>
                </a:cubicBezTo>
                <a:cubicBezTo>
                  <a:pt x="0" y="2"/>
                  <a:pt x="0" y="2"/>
                  <a:pt x="0" y="3"/>
                </a:cubicBezTo>
                <a:cubicBezTo>
                  <a:pt x="0" y="3"/>
                  <a:pt x="1" y="3"/>
                  <a:pt x="1" y="4"/>
                </a:cubicBezTo>
                <a:cubicBezTo>
                  <a:pt x="1" y="4"/>
                  <a:pt x="2" y="5"/>
                  <a:pt x="2" y="5"/>
                </a:cubicBezTo>
                <a:cubicBezTo>
                  <a:pt x="2" y="6"/>
                  <a:pt x="3" y="7"/>
                  <a:pt x="4" y="6"/>
                </a:cubicBezTo>
                <a:cubicBezTo>
                  <a:pt x="4" y="6"/>
                  <a:pt x="5" y="6"/>
                  <a:pt x="5" y="7"/>
                </a:cubicBezTo>
                <a:cubicBezTo>
                  <a:pt x="5" y="8"/>
                  <a:pt x="6" y="8"/>
                  <a:pt x="6" y="8"/>
                </a:cubicBezTo>
                <a:cubicBezTo>
                  <a:pt x="6" y="9"/>
                  <a:pt x="5" y="9"/>
                  <a:pt x="4" y="9"/>
                </a:cubicBezTo>
                <a:cubicBezTo>
                  <a:pt x="4" y="10"/>
                  <a:pt x="7" y="11"/>
                  <a:pt x="7" y="12"/>
                </a:cubicBezTo>
                <a:cubicBezTo>
                  <a:pt x="7" y="12"/>
                  <a:pt x="8" y="13"/>
                  <a:pt x="8" y="14"/>
                </a:cubicBezTo>
                <a:cubicBezTo>
                  <a:pt x="8" y="14"/>
                  <a:pt x="9" y="15"/>
                  <a:pt x="10" y="16"/>
                </a:cubicBezTo>
                <a:cubicBezTo>
                  <a:pt x="10" y="17"/>
                  <a:pt x="11" y="17"/>
                  <a:pt x="11" y="18"/>
                </a:cubicBezTo>
                <a:cubicBezTo>
                  <a:pt x="12" y="18"/>
                  <a:pt x="12" y="19"/>
                  <a:pt x="12" y="20"/>
                </a:cubicBezTo>
                <a:cubicBezTo>
                  <a:pt x="12" y="21"/>
                  <a:pt x="12" y="22"/>
                  <a:pt x="13" y="23"/>
                </a:cubicBezTo>
                <a:cubicBezTo>
                  <a:pt x="13" y="25"/>
                  <a:pt x="12" y="25"/>
                  <a:pt x="11" y="26"/>
                </a:cubicBezTo>
                <a:cubicBezTo>
                  <a:pt x="10" y="27"/>
                  <a:pt x="11" y="28"/>
                  <a:pt x="9" y="27"/>
                </a:cubicBezTo>
                <a:cubicBezTo>
                  <a:pt x="7" y="27"/>
                  <a:pt x="9" y="29"/>
                  <a:pt x="9" y="29"/>
                </a:cubicBezTo>
                <a:cubicBezTo>
                  <a:pt x="9" y="30"/>
                  <a:pt x="7" y="29"/>
                  <a:pt x="7" y="29"/>
                </a:cubicBezTo>
                <a:cubicBezTo>
                  <a:pt x="7" y="30"/>
                  <a:pt x="6" y="30"/>
                  <a:pt x="5" y="30"/>
                </a:cubicBezTo>
                <a:cubicBezTo>
                  <a:pt x="5" y="31"/>
                  <a:pt x="6" y="31"/>
                  <a:pt x="6" y="31"/>
                </a:cubicBezTo>
                <a:cubicBezTo>
                  <a:pt x="7" y="31"/>
                  <a:pt x="6" y="32"/>
                  <a:pt x="6" y="33"/>
                </a:cubicBezTo>
                <a:cubicBezTo>
                  <a:pt x="6" y="34"/>
                  <a:pt x="6" y="34"/>
                  <a:pt x="7" y="34"/>
                </a:cubicBezTo>
                <a:cubicBezTo>
                  <a:pt x="7" y="33"/>
                  <a:pt x="8" y="32"/>
                  <a:pt x="9" y="32"/>
                </a:cubicBezTo>
                <a:cubicBezTo>
                  <a:pt x="9" y="32"/>
                  <a:pt x="9" y="31"/>
                  <a:pt x="9" y="31"/>
                </a:cubicBezTo>
                <a:cubicBezTo>
                  <a:pt x="10" y="31"/>
                  <a:pt x="10" y="31"/>
                  <a:pt x="10" y="30"/>
                </a:cubicBezTo>
                <a:cubicBezTo>
                  <a:pt x="10" y="30"/>
                  <a:pt x="10" y="30"/>
                  <a:pt x="11" y="30"/>
                </a:cubicBezTo>
                <a:cubicBezTo>
                  <a:pt x="12" y="30"/>
                  <a:pt x="13" y="29"/>
                  <a:pt x="14" y="29"/>
                </a:cubicBezTo>
                <a:cubicBezTo>
                  <a:pt x="15" y="28"/>
                  <a:pt x="15" y="28"/>
                  <a:pt x="16" y="26"/>
                </a:cubicBezTo>
                <a:cubicBezTo>
                  <a:pt x="16" y="24"/>
                  <a:pt x="15" y="21"/>
                  <a:pt x="15" y="21"/>
                </a:cubicBezTo>
                <a:cubicBezTo>
                  <a:pt x="15" y="20"/>
                  <a:pt x="14" y="17"/>
                  <a:pt x="13" y="17"/>
                </a:cubicBezTo>
                <a:cubicBezTo>
                  <a:pt x="13" y="17"/>
                  <a:pt x="10" y="14"/>
                  <a:pt x="10" y="14"/>
                </a:cubicBezTo>
                <a:cubicBezTo>
                  <a:pt x="9" y="14"/>
                  <a:pt x="9" y="13"/>
                  <a:pt x="9" y="12"/>
                </a:cubicBezTo>
                <a:cubicBezTo>
                  <a:pt x="8" y="12"/>
                  <a:pt x="8" y="10"/>
                  <a:pt x="8" y="9"/>
                </a:cubicBezTo>
                <a:cubicBezTo>
                  <a:pt x="8" y="8"/>
                  <a:pt x="10" y="8"/>
                  <a:pt x="10" y="7"/>
                </a:cubicBezTo>
                <a:cubicBezTo>
                  <a:pt x="10" y="7"/>
                  <a:pt x="10" y="6"/>
                  <a:pt x="11" y="6"/>
                </a:cubicBezTo>
                <a:cubicBezTo>
                  <a:pt x="11" y="6"/>
                  <a:pt x="12" y="5"/>
                  <a:pt x="12" y="5"/>
                </a:cubicBezTo>
                <a:cubicBezTo>
                  <a:pt x="12" y="5"/>
                  <a:pt x="12" y="5"/>
                  <a:pt x="12" y="5"/>
                </a:cubicBezTo>
                <a:cubicBezTo>
                  <a:pt x="12" y="5"/>
                  <a:pt x="12"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97"/>
          <p:cNvSpPr>
            <a:spLocks/>
          </p:cNvSpPr>
          <p:nvPr/>
        </p:nvSpPr>
        <p:spPr bwMode="auto">
          <a:xfrm>
            <a:off x="3277570" y="3125231"/>
            <a:ext cx="60772" cy="42898"/>
          </a:xfrm>
          <a:custGeom>
            <a:avLst/>
            <a:gdLst>
              <a:gd name="T0" fmla="*/ 7 w 13"/>
              <a:gd name="T1" fmla="*/ 8 h 9"/>
              <a:gd name="T2" fmla="*/ 9 w 13"/>
              <a:gd name="T3" fmla="*/ 8 h 9"/>
              <a:gd name="T4" fmla="*/ 9 w 13"/>
              <a:gd name="T5" fmla="*/ 6 h 9"/>
              <a:gd name="T6" fmla="*/ 11 w 13"/>
              <a:gd name="T7" fmla="*/ 5 h 9"/>
              <a:gd name="T8" fmla="*/ 13 w 13"/>
              <a:gd name="T9" fmla="*/ 2 h 9"/>
              <a:gd name="T10" fmla="*/ 12 w 13"/>
              <a:gd name="T11" fmla="*/ 0 h 9"/>
              <a:gd name="T12" fmla="*/ 10 w 13"/>
              <a:gd name="T13" fmla="*/ 0 h 9"/>
              <a:gd name="T14" fmla="*/ 9 w 13"/>
              <a:gd name="T15" fmla="*/ 0 h 9"/>
              <a:gd name="T16" fmla="*/ 8 w 13"/>
              <a:gd name="T17" fmla="*/ 1 h 9"/>
              <a:gd name="T18" fmla="*/ 7 w 13"/>
              <a:gd name="T19" fmla="*/ 0 h 9"/>
              <a:gd name="T20" fmla="*/ 4 w 13"/>
              <a:gd name="T21" fmla="*/ 0 h 9"/>
              <a:gd name="T22" fmla="*/ 1 w 13"/>
              <a:gd name="T23" fmla="*/ 2 h 9"/>
              <a:gd name="T24" fmla="*/ 1 w 13"/>
              <a:gd name="T25" fmla="*/ 4 h 9"/>
              <a:gd name="T26" fmla="*/ 1 w 13"/>
              <a:gd name="T27" fmla="*/ 5 h 9"/>
              <a:gd name="T28" fmla="*/ 1 w 13"/>
              <a:gd name="T29" fmla="*/ 5 h 9"/>
              <a:gd name="T30" fmla="*/ 2 w 13"/>
              <a:gd name="T31" fmla="*/ 7 h 9"/>
              <a:gd name="T32" fmla="*/ 3 w 13"/>
              <a:gd name="T33" fmla="*/ 8 h 9"/>
              <a:gd name="T34" fmla="*/ 3 w 13"/>
              <a:gd name="T35" fmla="*/ 9 h 9"/>
              <a:gd name="T36" fmla="*/ 5 w 13"/>
              <a:gd name="T37" fmla="*/ 9 h 9"/>
              <a:gd name="T38" fmla="*/ 5 w 13"/>
              <a:gd name="T39" fmla="*/ 9 h 9"/>
              <a:gd name="T40" fmla="*/ 7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7" y="8"/>
                </a:moveTo>
                <a:cubicBezTo>
                  <a:pt x="7" y="8"/>
                  <a:pt x="9" y="9"/>
                  <a:pt x="9" y="8"/>
                </a:cubicBezTo>
                <a:cubicBezTo>
                  <a:pt x="9" y="8"/>
                  <a:pt x="7" y="6"/>
                  <a:pt x="9" y="6"/>
                </a:cubicBezTo>
                <a:cubicBezTo>
                  <a:pt x="11" y="7"/>
                  <a:pt x="10" y="6"/>
                  <a:pt x="11" y="5"/>
                </a:cubicBezTo>
                <a:cubicBezTo>
                  <a:pt x="12" y="4"/>
                  <a:pt x="13" y="4"/>
                  <a:pt x="13" y="2"/>
                </a:cubicBezTo>
                <a:cubicBezTo>
                  <a:pt x="12" y="2"/>
                  <a:pt x="12" y="1"/>
                  <a:pt x="12" y="0"/>
                </a:cubicBezTo>
                <a:cubicBezTo>
                  <a:pt x="11" y="0"/>
                  <a:pt x="11" y="0"/>
                  <a:pt x="10" y="0"/>
                </a:cubicBezTo>
                <a:cubicBezTo>
                  <a:pt x="10" y="0"/>
                  <a:pt x="9" y="0"/>
                  <a:pt x="9" y="0"/>
                </a:cubicBezTo>
                <a:cubicBezTo>
                  <a:pt x="9" y="1"/>
                  <a:pt x="8" y="1"/>
                  <a:pt x="8" y="1"/>
                </a:cubicBezTo>
                <a:cubicBezTo>
                  <a:pt x="8" y="1"/>
                  <a:pt x="7" y="1"/>
                  <a:pt x="7" y="0"/>
                </a:cubicBezTo>
                <a:cubicBezTo>
                  <a:pt x="6" y="0"/>
                  <a:pt x="5" y="0"/>
                  <a:pt x="4" y="0"/>
                </a:cubicBezTo>
                <a:cubicBezTo>
                  <a:pt x="3" y="0"/>
                  <a:pt x="2" y="1"/>
                  <a:pt x="1" y="2"/>
                </a:cubicBezTo>
                <a:cubicBezTo>
                  <a:pt x="0" y="3"/>
                  <a:pt x="1" y="3"/>
                  <a:pt x="1" y="4"/>
                </a:cubicBezTo>
                <a:cubicBezTo>
                  <a:pt x="1" y="5"/>
                  <a:pt x="1" y="5"/>
                  <a:pt x="1" y="5"/>
                </a:cubicBezTo>
                <a:cubicBezTo>
                  <a:pt x="1" y="5"/>
                  <a:pt x="1" y="5"/>
                  <a:pt x="1" y="5"/>
                </a:cubicBezTo>
                <a:cubicBezTo>
                  <a:pt x="2" y="6"/>
                  <a:pt x="2" y="7"/>
                  <a:pt x="2" y="7"/>
                </a:cubicBezTo>
                <a:cubicBezTo>
                  <a:pt x="2" y="8"/>
                  <a:pt x="3" y="8"/>
                  <a:pt x="3" y="8"/>
                </a:cubicBezTo>
                <a:cubicBezTo>
                  <a:pt x="4" y="8"/>
                  <a:pt x="3" y="8"/>
                  <a:pt x="3" y="9"/>
                </a:cubicBezTo>
                <a:cubicBezTo>
                  <a:pt x="4" y="9"/>
                  <a:pt x="5" y="8"/>
                  <a:pt x="5" y="9"/>
                </a:cubicBezTo>
                <a:cubicBezTo>
                  <a:pt x="5" y="9"/>
                  <a:pt x="5" y="9"/>
                  <a:pt x="5" y="9"/>
                </a:cubicBezTo>
                <a:cubicBezTo>
                  <a:pt x="6" y="9"/>
                  <a:pt x="7" y="9"/>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98"/>
          <p:cNvSpPr>
            <a:spLocks/>
          </p:cNvSpPr>
          <p:nvPr/>
        </p:nvSpPr>
        <p:spPr bwMode="auto">
          <a:xfrm>
            <a:off x="3256121" y="3035860"/>
            <a:ext cx="78647" cy="96521"/>
          </a:xfrm>
          <a:custGeom>
            <a:avLst/>
            <a:gdLst>
              <a:gd name="T0" fmla="*/ 11 w 16"/>
              <a:gd name="T1" fmla="*/ 10 h 20"/>
              <a:gd name="T2" fmla="*/ 8 w 16"/>
              <a:gd name="T3" fmla="*/ 7 h 20"/>
              <a:gd name="T4" fmla="*/ 10 w 16"/>
              <a:gd name="T5" fmla="*/ 6 h 20"/>
              <a:gd name="T6" fmla="*/ 9 w 16"/>
              <a:gd name="T7" fmla="*/ 5 h 20"/>
              <a:gd name="T8" fmla="*/ 8 w 16"/>
              <a:gd name="T9" fmla="*/ 4 h 20"/>
              <a:gd name="T10" fmla="*/ 6 w 16"/>
              <a:gd name="T11" fmla="*/ 3 h 20"/>
              <a:gd name="T12" fmla="*/ 5 w 16"/>
              <a:gd name="T13" fmla="*/ 2 h 20"/>
              <a:gd name="T14" fmla="*/ 4 w 16"/>
              <a:gd name="T15" fmla="*/ 1 h 20"/>
              <a:gd name="T16" fmla="*/ 3 w 16"/>
              <a:gd name="T17" fmla="*/ 1 h 20"/>
              <a:gd name="T18" fmla="*/ 3 w 16"/>
              <a:gd name="T19" fmla="*/ 2 h 20"/>
              <a:gd name="T20" fmla="*/ 3 w 16"/>
              <a:gd name="T21" fmla="*/ 3 h 20"/>
              <a:gd name="T22" fmla="*/ 2 w 16"/>
              <a:gd name="T23" fmla="*/ 2 h 20"/>
              <a:gd name="T24" fmla="*/ 0 w 16"/>
              <a:gd name="T25" fmla="*/ 4 h 20"/>
              <a:gd name="T26" fmla="*/ 0 w 16"/>
              <a:gd name="T27" fmla="*/ 5 h 20"/>
              <a:gd name="T28" fmla="*/ 0 w 16"/>
              <a:gd name="T29" fmla="*/ 5 h 20"/>
              <a:gd name="T30" fmla="*/ 0 w 16"/>
              <a:gd name="T31" fmla="*/ 7 h 20"/>
              <a:gd name="T32" fmla="*/ 2 w 16"/>
              <a:gd name="T33" fmla="*/ 8 h 20"/>
              <a:gd name="T34" fmla="*/ 2 w 16"/>
              <a:gd name="T35" fmla="*/ 10 h 20"/>
              <a:gd name="T36" fmla="*/ 1 w 16"/>
              <a:gd name="T37" fmla="*/ 12 h 20"/>
              <a:gd name="T38" fmla="*/ 3 w 16"/>
              <a:gd name="T39" fmla="*/ 11 h 20"/>
              <a:gd name="T40" fmla="*/ 5 w 16"/>
              <a:gd name="T41" fmla="*/ 11 h 20"/>
              <a:gd name="T42" fmla="*/ 6 w 16"/>
              <a:gd name="T43" fmla="*/ 10 h 20"/>
              <a:gd name="T44" fmla="*/ 8 w 16"/>
              <a:gd name="T45" fmla="*/ 10 h 20"/>
              <a:gd name="T46" fmla="*/ 10 w 16"/>
              <a:gd name="T47" fmla="*/ 12 h 20"/>
              <a:gd name="T48" fmla="*/ 10 w 16"/>
              <a:gd name="T49" fmla="*/ 15 h 20"/>
              <a:gd name="T50" fmla="*/ 11 w 16"/>
              <a:gd name="T51" fmla="*/ 17 h 20"/>
              <a:gd name="T52" fmla="*/ 11 w 16"/>
              <a:gd name="T53" fmla="*/ 19 h 20"/>
              <a:gd name="T54" fmla="*/ 12 w 16"/>
              <a:gd name="T55" fmla="*/ 20 h 20"/>
              <a:gd name="T56" fmla="*/ 13 w 16"/>
              <a:gd name="T57" fmla="*/ 19 h 20"/>
              <a:gd name="T58" fmla="*/ 14 w 16"/>
              <a:gd name="T59" fmla="*/ 19 h 20"/>
              <a:gd name="T60" fmla="*/ 16 w 16"/>
              <a:gd name="T61" fmla="*/ 19 h 20"/>
              <a:gd name="T62" fmla="*/ 16 w 16"/>
              <a:gd name="T63" fmla="*/ 18 h 20"/>
              <a:gd name="T64" fmla="*/ 15 w 16"/>
              <a:gd name="T65" fmla="*/ 16 h 20"/>
              <a:gd name="T66" fmla="*/ 14 w 16"/>
              <a:gd name="T67" fmla="*/ 14 h 20"/>
              <a:gd name="T68" fmla="*/ 12 w 16"/>
              <a:gd name="T69" fmla="*/ 12 h 20"/>
              <a:gd name="T70" fmla="*/ 11 w 16"/>
              <a:gd name="T7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0">
                <a:moveTo>
                  <a:pt x="11" y="10"/>
                </a:moveTo>
                <a:cubicBezTo>
                  <a:pt x="11" y="9"/>
                  <a:pt x="8" y="8"/>
                  <a:pt x="8" y="7"/>
                </a:cubicBezTo>
                <a:cubicBezTo>
                  <a:pt x="9" y="7"/>
                  <a:pt x="10" y="7"/>
                  <a:pt x="10" y="6"/>
                </a:cubicBezTo>
                <a:cubicBezTo>
                  <a:pt x="10" y="6"/>
                  <a:pt x="9" y="6"/>
                  <a:pt x="9" y="5"/>
                </a:cubicBezTo>
                <a:cubicBezTo>
                  <a:pt x="9" y="4"/>
                  <a:pt x="8" y="4"/>
                  <a:pt x="8" y="4"/>
                </a:cubicBezTo>
                <a:cubicBezTo>
                  <a:pt x="7" y="5"/>
                  <a:pt x="6" y="4"/>
                  <a:pt x="6" y="3"/>
                </a:cubicBezTo>
                <a:cubicBezTo>
                  <a:pt x="6" y="3"/>
                  <a:pt x="5" y="2"/>
                  <a:pt x="5" y="2"/>
                </a:cubicBezTo>
                <a:cubicBezTo>
                  <a:pt x="5" y="1"/>
                  <a:pt x="4" y="1"/>
                  <a:pt x="4" y="1"/>
                </a:cubicBezTo>
                <a:cubicBezTo>
                  <a:pt x="4" y="1"/>
                  <a:pt x="3" y="1"/>
                  <a:pt x="3" y="1"/>
                </a:cubicBezTo>
                <a:cubicBezTo>
                  <a:pt x="3" y="0"/>
                  <a:pt x="3" y="1"/>
                  <a:pt x="3" y="2"/>
                </a:cubicBezTo>
                <a:cubicBezTo>
                  <a:pt x="3" y="2"/>
                  <a:pt x="3" y="4"/>
                  <a:pt x="3" y="3"/>
                </a:cubicBezTo>
                <a:cubicBezTo>
                  <a:pt x="2" y="3"/>
                  <a:pt x="2" y="2"/>
                  <a:pt x="2" y="2"/>
                </a:cubicBezTo>
                <a:cubicBezTo>
                  <a:pt x="2" y="2"/>
                  <a:pt x="0" y="4"/>
                  <a:pt x="0" y="4"/>
                </a:cubicBezTo>
                <a:cubicBezTo>
                  <a:pt x="0" y="5"/>
                  <a:pt x="0" y="5"/>
                  <a:pt x="0" y="5"/>
                </a:cubicBezTo>
                <a:cubicBezTo>
                  <a:pt x="0" y="5"/>
                  <a:pt x="0" y="5"/>
                  <a:pt x="0" y="5"/>
                </a:cubicBezTo>
                <a:cubicBezTo>
                  <a:pt x="0" y="6"/>
                  <a:pt x="0" y="6"/>
                  <a:pt x="0" y="7"/>
                </a:cubicBezTo>
                <a:cubicBezTo>
                  <a:pt x="1" y="8"/>
                  <a:pt x="1" y="7"/>
                  <a:pt x="2" y="8"/>
                </a:cubicBezTo>
                <a:cubicBezTo>
                  <a:pt x="2" y="9"/>
                  <a:pt x="2" y="9"/>
                  <a:pt x="2" y="10"/>
                </a:cubicBezTo>
                <a:cubicBezTo>
                  <a:pt x="2" y="11"/>
                  <a:pt x="1" y="11"/>
                  <a:pt x="1" y="12"/>
                </a:cubicBezTo>
                <a:cubicBezTo>
                  <a:pt x="1" y="13"/>
                  <a:pt x="2" y="11"/>
                  <a:pt x="3" y="11"/>
                </a:cubicBezTo>
                <a:cubicBezTo>
                  <a:pt x="4" y="10"/>
                  <a:pt x="4" y="10"/>
                  <a:pt x="5" y="11"/>
                </a:cubicBezTo>
                <a:cubicBezTo>
                  <a:pt x="5" y="11"/>
                  <a:pt x="6" y="11"/>
                  <a:pt x="6" y="10"/>
                </a:cubicBezTo>
                <a:cubicBezTo>
                  <a:pt x="6" y="10"/>
                  <a:pt x="8" y="10"/>
                  <a:pt x="8" y="10"/>
                </a:cubicBezTo>
                <a:cubicBezTo>
                  <a:pt x="9" y="11"/>
                  <a:pt x="9" y="12"/>
                  <a:pt x="10" y="12"/>
                </a:cubicBezTo>
                <a:cubicBezTo>
                  <a:pt x="10" y="12"/>
                  <a:pt x="9" y="14"/>
                  <a:pt x="10" y="15"/>
                </a:cubicBezTo>
                <a:cubicBezTo>
                  <a:pt x="11" y="15"/>
                  <a:pt x="11" y="16"/>
                  <a:pt x="11" y="17"/>
                </a:cubicBezTo>
                <a:cubicBezTo>
                  <a:pt x="11" y="18"/>
                  <a:pt x="12" y="19"/>
                  <a:pt x="11" y="19"/>
                </a:cubicBezTo>
                <a:cubicBezTo>
                  <a:pt x="12" y="20"/>
                  <a:pt x="12" y="20"/>
                  <a:pt x="12" y="20"/>
                </a:cubicBezTo>
                <a:cubicBezTo>
                  <a:pt x="12" y="20"/>
                  <a:pt x="13" y="20"/>
                  <a:pt x="13" y="19"/>
                </a:cubicBezTo>
                <a:cubicBezTo>
                  <a:pt x="13" y="19"/>
                  <a:pt x="14" y="19"/>
                  <a:pt x="14" y="19"/>
                </a:cubicBezTo>
                <a:cubicBezTo>
                  <a:pt x="15" y="19"/>
                  <a:pt x="15" y="19"/>
                  <a:pt x="16" y="19"/>
                </a:cubicBezTo>
                <a:cubicBezTo>
                  <a:pt x="16" y="18"/>
                  <a:pt x="16" y="18"/>
                  <a:pt x="16" y="18"/>
                </a:cubicBezTo>
                <a:cubicBezTo>
                  <a:pt x="16" y="17"/>
                  <a:pt x="16" y="16"/>
                  <a:pt x="15" y="16"/>
                </a:cubicBezTo>
                <a:cubicBezTo>
                  <a:pt x="15" y="15"/>
                  <a:pt x="14" y="15"/>
                  <a:pt x="14" y="14"/>
                </a:cubicBezTo>
                <a:cubicBezTo>
                  <a:pt x="13" y="13"/>
                  <a:pt x="12" y="12"/>
                  <a:pt x="12" y="12"/>
                </a:cubicBezTo>
                <a:cubicBezTo>
                  <a:pt x="12" y="11"/>
                  <a:pt x="11" y="10"/>
                  <a:pt x="11"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99"/>
          <p:cNvSpPr>
            <a:spLocks/>
          </p:cNvSpPr>
          <p:nvPr/>
        </p:nvSpPr>
        <p:spPr bwMode="auto">
          <a:xfrm>
            <a:off x="3227522" y="3057309"/>
            <a:ext cx="89371" cy="164443"/>
          </a:xfrm>
          <a:custGeom>
            <a:avLst/>
            <a:gdLst>
              <a:gd name="T0" fmla="*/ 11 w 18"/>
              <a:gd name="T1" fmla="*/ 18 h 34"/>
              <a:gd name="T2" fmla="*/ 11 w 18"/>
              <a:gd name="T3" fmla="*/ 16 h 34"/>
              <a:gd name="T4" fmla="*/ 14 w 18"/>
              <a:gd name="T5" fmla="*/ 14 h 34"/>
              <a:gd name="T6" fmla="*/ 17 w 18"/>
              <a:gd name="T7" fmla="*/ 14 h 34"/>
              <a:gd name="T8" fmla="*/ 17 w 18"/>
              <a:gd name="T9" fmla="*/ 14 h 34"/>
              <a:gd name="T10" fmla="*/ 17 w 18"/>
              <a:gd name="T11" fmla="*/ 12 h 34"/>
              <a:gd name="T12" fmla="*/ 16 w 18"/>
              <a:gd name="T13" fmla="*/ 10 h 34"/>
              <a:gd name="T14" fmla="*/ 16 w 18"/>
              <a:gd name="T15" fmla="*/ 7 h 34"/>
              <a:gd name="T16" fmla="*/ 14 w 18"/>
              <a:gd name="T17" fmla="*/ 5 h 34"/>
              <a:gd name="T18" fmla="*/ 12 w 18"/>
              <a:gd name="T19" fmla="*/ 5 h 34"/>
              <a:gd name="T20" fmla="*/ 11 w 18"/>
              <a:gd name="T21" fmla="*/ 6 h 34"/>
              <a:gd name="T22" fmla="*/ 9 w 18"/>
              <a:gd name="T23" fmla="*/ 6 h 34"/>
              <a:gd name="T24" fmla="*/ 7 w 18"/>
              <a:gd name="T25" fmla="*/ 7 h 34"/>
              <a:gd name="T26" fmla="*/ 8 w 18"/>
              <a:gd name="T27" fmla="*/ 5 h 34"/>
              <a:gd name="T28" fmla="*/ 8 w 18"/>
              <a:gd name="T29" fmla="*/ 3 h 34"/>
              <a:gd name="T30" fmla="*/ 6 w 18"/>
              <a:gd name="T31" fmla="*/ 2 h 34"/>
              <a:gd name="T32" fmla="*/ 6 w 18"/>
              <a:gd name="T33" fmla="*/ 0 h 34"/>
              <a:gd name="T34" fmla="*/ 6 w 18"/>
              <a:gd name="T35" fmla="*/ 0 h 34"/>
              <a:gd name="T36" fmla="*/ 5 w 18"/>
              <a:gd name="T37" fmla="*/ 0 h 34"/>
              <a:gd name="T38" fmla="*/ 3 w 18"/>
              <a:gd name="T39" fmla="*/ 1 h 34"/>
              <a:gd name="T40" fmla="*/ 2 w 18"/>
              <a:gd name="T41" fmla="*/ 2 h 34"/>
              <a:gd name="T42" fmla="*/ 0 w 18"/>
              <a:gd name="T43" fmla="*/ 3 h 34"/>
              <a:gd name="T44" fmla="*/ 0 w 18"/>
              <a:gd name="T45" fmla="*/ 6 h 34"/>
              <a:gd name="T46" fmla="*/ 2 w 18"/>
              <a:gd name="T47" fmla="*/ 8 h 34"/>
              <a:gd name="T48" fmla="*/ 2 w 18"/>
              <a:gd name="T49" fmla="*/ 10 h 34"/>
              <a:gd name="T50" fmla="*/ 2 w 18"/>
              <a:gd name="T51" fmla="*/ 11 h 34"/>
              <a:gd name="T52" fmla="*/ 2 w 18"/>
              <a:gd name="T53" fmla="*/ 12 h 34"/>
              <a:gd name="T54" fmla="*/ 2 w 18"/>
              <a:gd name="T55" fmla="*/ 15 h 34"/>
              <a:gd name="T56" fmla="*/ 3 w 18"/>
              <a:gd name="T57" fmla="*/ 17 h 34"/>
              <a:gd name="T58" fmla="*/ 4 w 18"/>
              <a:gd name="T59" fmla="*/ 19 h 34"/>
              <a:gd name="T60" fmla="*/ 2 w 18"/>
              <a:gd name="T61" fmla="*/ 23 h 34"/>
              <a:gd name="T62" fmla="*/ 1 w 18"/>
              <a:gd name="T63" fmla="*/ 26 h 34"/>
              <a:gd name="T64" fmla="*/ 2 w 18"/>
              <a:gd name="T65" fmla="*/ 28 h 34"/>
              <a:gd name="T66" fmla="*/ 4 w 18"/>
              <a:gd name="T67" fmla="*/ 31 h 34"/>
              <a:gd name="T68" fmla="*/ 5 w 18"/>
              <a:gd name="T69" fmla="*/ 32 h 34"/>
              <a:gd name="T70" fmla="*/ 6 w 18"/>
              <a:gd name="T71" fmla="*/ 32 h 34"/>
              <a:gd name="T72" fmla="*/ 8 w 18"/>
              <a:gd name="T73" fmla="*/ 33 h 34"/>
              <a:gd name="T74" fmla="*/ 9 w 18"/>
              <a:gd name="T75" fmla="*/ 33 h 34"/>
              <a:gd name="T76" fmla="*/ 10 w 18"/>
              <a:gd name="T77" fmla="*/ 32 h 34"/>
              <a:gd name="T78" fmla="*/ 7 w 18"/>
              <a:gd name="T79" fmla="*/ 31 h 34"/>
              <a:gd name="T80" fmla="*/ 6 w 18"/>
              <a:gd name="T81" fmla="*/ 28 h 34"/>
              <a:gd name="T82" fmla="*/ 5 w 18"/>
              <a:gd name="T83" fmla="*/ 26 h 34"/>
              <a:gd name="T84" fmla="*/ 4 w 18"/>
              <a:gd name="T85" fmla="*/ 25 h 34"/>
              <a:gd name="T86" fmla="*/ 4 w 18"/>
              <a:gd name="T87" fmla="*/ 22 h 34"/>
              <a:gd name="T88" fmla="*/ 5 w 18"/>
              <a:gd name="T89" fmla="*/ 17 h 34"/>
              <a:gd name="T90" fmla="*/ 7 w 18"/>
              <a:gd name="T91" fmla="*/ 17 h 34"/>
              <a:gd name="T92" fmla="*/ 9 w 18"/>
              <a:gd name="T93" fmla="*/ 18 h 34"/>
              <a:gd name="T94" fmla="*/ 11 w 18"/>
              <a:gd name="T95" fmla="*/ 19 h 34"/>
              <a:gd name="T96" fmla="*/ 11 w 18"/>
              <a:gd name="T97" fmla="*/ 19 h 34"/>
              <a:gd name="T98" fmla="*/ 11 w 18"/>
              <a:gd name="T99" fmla="*/ 19 h 34"/>
              <a:gd name="T100" fmla="*/ 11 w 18"/>
              <a:gd name="T101"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4">
                <a:moveTo>
                  <a:pt x="11" y="18"/>
                </a:moveTo>
                <a:cubicBezTo>
                  <a:pt x="11" y="17"/>
                  <a:pt x="10" y="17"/>
                  <a:pt x="11" y="16"/>
                </a:cubicBezTo>
                <a:cubicBezTo>
                  <a:pt x="12" y="15"/>
                  <a:pt x="13" y="14"/>
                  <a:pt x="14" y="14"/>
                </a:cubicBezTo>
                <a:cubicBezTo>
                  <a:pt x="15" y="14"/>
                  <a:pt x="16" y="14"/>
                  <a:pt x="17" y="14"/>
                </a:cubicBezTo>
                <a:cubicBezTo>
                  <a:pt x="17" y="14"/>
                  <a:pt x="17" y="14"/>
                  <a:pt x="17" y="14"/>
                </a:cubicBezTo>
                <a:cubicBezTo>
                  <a:pt x="18" y="14"/>
                  <a:pt x="17" y="13"/>
                  <a:pt x="17" y="12"/>
                </a:cubicBezTo>
                <a:cubicBezTo>
                  <a:pt x="17" y="11"/>
                  <a:pt x="17" y="10"/>
                  <a:pt x="16" y="10"/>
                </a:cubicBezTo>
                <a:cubicBezTo>
                  <a:pt x="15" y="9"/>
                  <a:pt x="16" y="7"/>
                  <a:pt x="16" y="7"/>
                </a:cubicBezTo>
                <a:cubicBezTo>
                  <a:pt x="15" y="7"/>
                  <a:pt x="15" y="6"/>
                  <a:pt x="14" y="5"/>
                </a:cubicBezTo>
                <a:cubicBezTo>
                  <a:pt x="14" y="5"/>
                  <a:pt x="12" y="5"/>
                  <a:pt x="12" y="5"/>
                </a:cubicBezTo>
                <a:cubicBezTo>
                  <a:pt x="12" y="6"/>
                  <a:pt x="11" y="6"/>
                  <a:pt x="11" y="6"/>
                </a:cubicBezTo>
                <a:cubicBezTo>
                  <a:pt x="10" y="5"/>
                  <a:pt x="10" y="5"/>
                  <a:pt x="9" y="6"/>
                </a:cubicBezTo>
                <a:cubicBezTo>
                  <a:pt x="8" y="6"/>
                  <a:pt x="7" y="8"/>
                  <a:pt x="7" y="7"/>
                </a:cubicBezTo>
                <a:cubicBezTo>
                  <a:pt x="7" y="6"/>
                  <a:pt x="8" y="6"/>
                  <a:pt x="8" y="5"/>
                </a:cubicBezTo>
                <a:cubicBezTo>
                  <a:pt x="8" y="4"/>
                  <a:pt x="8" y="4"/>
                  <a:pt x="8" y="3"/>
                </a:cubicBezTo>
                <a:cubicBezTo>
                  <a:pt x="7" y="2"/>
                  <a:pt x="7" y="3"/>
                  <a:pt x="6" y="2"/>
                </a:cubicBezTo>
                <a:cubicBezTo>
                  <a:pt x="6" y="1"/>
                  <a:pt x="6" y="1"/>
                  <a:pt x="6" y="0"/>
                </a:cubicBezTo>
                <a:cubicBezTo>
                  <a:pt x="6" y="0"/>
                  <a:pt x="6" y="0"/>
                  <a:pt x="6" y="0"/>
                </a:cubicBezTo>
                <a:cubicBezTo>
                  <a:pt x="5" y="0"/>
                  <a:pt x="5" y="0"/>
                  <a:pt x="5" y="0"/>
                </a:cubicBezTo>
                <a:cubicBezTo>
                  <a:pt x="5" y="1"/>
                  <a:pt x="4" y="1"/>
                  <a:pt x="3" y="1"/>
                </a:cubicBezTo>
                <a:cubicBezTo>
                  <a:pt x="3" y="2"/>
                  <a:pt x="2" y="2"/>
                  <a:pt x="2" y="2"/>
                </a:cubicBezTo>
                <a:cubicBezTo>
                  <a:pt x="1" y="2"/>
                  <a:pt x="0" y="2"/>
                  <a:pt x="0" y="3"/>
                </a:cubicBezTo>
                <a:cubicBezTo>
                  <a:pt x="0" y="3"/>
                  <a:pt x="0" y="6"/>
                  <a:pt x="0" y="6"/>
                </a:cubicBezTo>
                <a:cubicBezTo>
                  <a:pt x="0" y="7"/>
                  <a:pt x="1" y="8"/>
                  <a:pt x="2" y="8"/>
                </a:cubicBezTo>
                <a:cubicBezTo>
                  <a:pt x="2" y="8"/>
                  <a:pt x="2" y="9"/>
                  <a:pt x="2" y="10"/>
                </a:cubicBezTo>
                <a:cubicBezTo>
                  <a:pt x="3" y="10"/>
                  <a:pt x="2" y="11"/>
                  <a:pt x="2" y="11"/>
                </a:cubicBezTo>
                <a:cubicBezTo>
                  <a:pt x="2" y="11"/>
                  <a:pt x="2" y="12"/>
                  <a:pt x="2" y="12"/>
                </a:cubicBezTo>
                <a:cubicBezTo>
                  <a:pt x="1" y="13"/>
                  <a:pt x="2" y="14"/>
                  <a:pt x="2" y="15"/>
                </a:cubicBezTo>
                <a:cubicBezTo>
                  <a:pt x="3" y="15"/>
                  <a:pt x="3" y="17"/>
                  <a:pt x="3" y="17"/>
                </a:cubicBezTo>
                <a:cubicBezTo>
                  <a:pt x="3" y="18"/>
                  <a:pt x="4" y="18"/>
                  <a:pt x="4" y="19"/>
                </a:cubicBezTo>
                <a:cubicBezTo>
                  <a:pt x="4" y="19"/>
                  <a:pt x="3" y="23"/>
                  <a:pt x="2" y="23"/>
                </a:cubicBezTo>
                <a:cubicBezTo>
                  <a:pt x="2" y="24"/>
                  <a:pt x="2" y="25"/>
                  <a:pt x="1" y="26"/>
                </a:cubicBezTo>
                <a:cubicBezTo>
                  <a:pt x="1" y="27"/>
                  <a:pt x="1" y="28"/>
                  <a:pt x="2" y="28"/>
                </a:cubicBezTo>
                <a:cubicBezTo>
                  <a:pt x="2" y="28"/>
                  <a:pt x="3" y="29"/>
                  <a:pt x="4" y="31"/>
                </a:cubicBezTo>
                <a:cubicBezTo>
                  <a:pt x="5" y="31"/>
                  <a:pt x="5" y="31"/>
                  <a:pt x="5" y="32"/>
                </a:cubicBezTo>
                <a:cubicBezTo>
                  <a:pt x="6" y="32"/>
                  <a:pt x="6" y="32"/>
                  <a:pt x="6" y="32"/>
                </a:cubicBezTo>
                <a:cubicBezTo>
                  <a:pt x="7" y="32"/>
                  <a:pt x="8" y="33"/>
                  <a:pt x="8" y="33"/>
                </a:cubicBezTo>
                <a:cubicBezTo>
                  <a:pt x="8" y="34"/>
                  <a:pt x="9" y="33"/>
                  <a:pt x="9" y="33"/>
                </a:cubicBezTo>
                <a:cubicBezTo>
                  <a:pt x="9" y="33"/>
                  <a:pt x="9" y="33"/>
                  <a:pt x="10" y="32"/>
                </a:cubicBezTo>
                <a:cubicBezTo>
                  <a:pt x="10" y="32"/>
                  <a:pt x="8" y="31"/>
                  <a:pt x="7" y="31"/>
                </a:cubicBezTo>
                <a:cubicBezTo>
                  <a:pt x="6" y="31"/>
                  <a:pt x="6" y="29"/>
                  <a:pt x="6" y="28"/>
                </a:cubicBezTo>
                <a:cubicBezTo>
                  <a:pt x="6" y="28"/>
                  <a:pt x="5" y="27"/>
                  <a:pt x="5" y="26"/>
                </a:cubicBezTo>
                <a:cubicBezTo>
                  <a:pt x="5" y="26"/>
                  <a:pt x="4" y="26"/>
                  <a:pt x="4" y="25"/>
                </a:cubicBezTo>
                <a:cubicBezTo>
                  <a:pt x="3" y="25"/>
                  <a:pt x="4" y="23"/>
                  <a:pt x="4" y="22"/>
                </a:cubicBezTo>
                <a:cubicBezTo>
                  <a:pt x="4" y="21"/>
                  <a:pt x="6" y="18"/>
                  <a:pt x="5" y="17"/>
                </a:cubicBezTo>
                <a:cubicBezTo>
                  <a:pt x="5" y="16"/>
                  <a:pt x="7" y="16"/>
                  <a:pt x="7" y="17"/>
                </a:cubicBezTo>
                <a:cubicBezTo>
                  <a:pt x="7" y="18"/>
                  <a:pt x="7" y="18"/>
                  <a:pt x="9" y="18"/>
                </a:cubicBezTo>
                <a:cubicBezTo>
                  <a:pt x="10" y="18"/>
                  <a:pt x="10" y="19"/>
                  <a:pt x="11" y="19"/>
                </a:cubicBezTo>
                <a:cubicBezTo>
                  <a:pt x="11" y="19"/>
                  <a:pt x="11" y="19"/>
                  <a:pt x="11" y="19"/>
                </a:cubicBezTo>
                <a:cubicBezTo>
                  <a:pt x="11" y="19"/>
                  <a:pt x="11" y="19"/>
                  <a:pt x="11" y="19"/>
                </a:cubicBezTo>
                <a:cubicBezTo>
                  <a:pt x="11" y="19"/>
                  <a:pt x="11" y="19"/>
                  <a:pt x="11"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0"/>
          <p:cNvSpPr>
            <a:spLocks/>
          </p:cNvSpPr>
          <p:nvPr/>
        </p:nvSpPr>
        <p:spPr bwMode="auto">
          <a:xfrm>
            <a:off x="2351685" y="2617603"/>
            <a:ext cx="103671" cy="89371"/>
          </a:xfrm>
          <a:custGeom>
            <a:avLst/>
            <a:gdLst>
              <a:gd name="T0" fmla="*/ 1 w 22"/>
              <a:gd name="T1" fmla="*/ 4 h 18"/>
              <a:gd name="T2" fmla="*/ 1 w 22"/>
              <a:gd name="T3" fmla="*/ 6 h 18"/>
              <a:gd name="T4" fmla="*/ 1 w 22"/>
              <a:gd name="T5" fmla="*/ 7 h 18"/>
              <a:gd name="T6" fmla="*/ 1 w 22"/>
              <a:gd name="T7" fmla="*/ 8 h 18"/>
              <a:gd name="T8" fmla="*/ 1 w 22"/>
              <a:gd name="T9" fmla="*/ 9 h 18"/>
              <a:gd name="T10" fmla="*/ 2 w 22"/>
              <a:gd name="T11" fmla="*/ 11 h 18"/>
              <a:gd name="T12" fmla="*/ 2 w 22"/>
              <a:gd name="T13" fmla="*/ 12 h 18"/>
              <a:gd name="T14" fmla="*/ 3 w 22"/>
              <a:gd name="T15" fmla="*/ 13 h 18"/>
              <a:gd name="T16" fmla="*/ 5 w 22"/>
              <a:gd name="T17" fmla="*/ 14 h 18"/>
              <a:gd name="T18" fmla="*/ 6 w 22"/>
              <a:gd name="T19" fmla="*/ 14 h 18"/>
              <a:gd name="T20" fmla="*/ 7 w 22"/>
              <a:gd name="T21" fmla="*/ 14 h 18"/>
              <a:gd name="T22" fmla="*/ 8 w 22"/>
              <a:gd name="T23" fmla="*/ 15 h 18"/>
              <a:gd name="T24" fmla="*/ 9 w 22"/>
              <a:gd name="T25" fmla="*/ 15 h 18"/>
              <a:gd name="T26" fmla="*/ 10 w 22"/>
              <a:gd name="T27" fmla="*/ 17 h 18"/>
              <a:gd name="T28" fmla="*/ 12 w 22"/>
              <a:gd name="T29" fmla="*/ 16 h 18"/>
              <a:gd name="T30" fmla="*/ 14 w 22"/>
              <a:gd name="T31" fmla="*/ 17 h 18"/>
              <a:gd name="T32" fmla="*/ 15 w 22"/>
              <a:gd name="T33" fmla="*/ 17 h 18"/>
              <a:gd name="T34" fmla="*/ 17 w 22"/>
              <a:gd name="T35" fmla="*/ 17 h 18"/>
              <a:gd name="T36" fmla="*/ 18 w 22"/>
              <a:gd name="T37" fmla="*/ 18 h 18"/>
              <a:gd name="T38" fmla="*/ 18 w 22"/>
              <a:gd name="T39" fmla="*/ 16 h 18"/>
              <a:gd name="T40" fmla="*/ 20 w 22"/>
              <a:gd name="T41" fmla="*/ 14 h 18"/>
              <a:gd name="T42" fmla="*/ 21 w 22"/>
              <a:gd name="T43" fmla="*/ 13 h 18"/>
              <a:gd name="T44" fmla="*/ 20 w 22"/>
              <a:gd name="T45" fmla="*/ 11 h 18"/>
              <a:gd name="T46" fmla="*/ 20 w 22"/>
              <a:gd name="T47" fmla="*/ 9 h 18"/>
              <a:gd name="T48" fmla="*/ 20 w 22"/>
              <a:gd name="T49" fmla="*/ 8 h 18"/>
              <a:gd name="T50" fmla="*/ 21 w 22"/>
              <a:gd name="T51" fmla="*/ 7 h 18"/>
              <a:gd name="T52" fmla="*/ 21 w 22"/>
              <a:gd name="T53" fmla="*/ 5 h 18"/>
              <a:gd name="T54" fmla="*/ 20 w 22"/>
              <a:gd name="T55" fmla="*/ 3 h 18"/>
              <a:gd name="T56" fmla="*/ 19 w 22"/>
              <a:gd name="T57" fmla="*/ 2 h 18"/>
              <a:gd name="T58" fmla="*/ 19 w 22"/>
              <a:gd name="T59" fmla="*/ 2 h 18"/>
              <a:gd name="T60" fmla="*/ 13 w 22"/>
              <a:gd name="T61" fmla="*/ 2 h 18"/>
              <a:gd name="T62" fmla="*/ 12 w 22"/>
              <a:gd name="T63" fmla="*/ 1 h 18"/>
              <a:gd name="T64" fmla="*/ 11 w 22"/>
              <a:gd name="T65" fmla="*/ 2 h 18"/>
              <a:gd name="T66" fmla="*/ 9 w 22"/>
              <a:gd name="T67" fmla="*/ 1 h 18"/>
              <a:gd name="T68" fmla="*/ 5 w 22"/>
              <a:gd name="T69" fmla="*/ 2 h 18"/>
              <a:gd name="T70" fmla="*/ 1 w 22"/>
              <a:gd name="T71" fmla="*/ 3 h 18"/>
              <a:gd name="T72" fmla="*/ 1 w 22"/>
              <a:gd name="T73" fmla="*/ 4 h 18"/>
              <a:gd name="T74" fmla="*/ 1 w 22"/>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8">
                <a:moveTo>
                  <a:pt x="1" y="4"/>
                </a:moveTo>
                <a:cubicBezTo>
                  <a:pt x="1" y="4"/>
                  <a:pt x="1" y="6"/>
                  <a:pt x="1" y="6"/>
                </a:cubicBezTo>
                <a:cubicBezTo>
                  <a:pt x="0" y="7"/>
                  <a:pt x="0" y="7"/>
                  <a:pt x="1" y="7"/>
                </a:cubicBezTo>
                <a:cubicBezTo>
                  <a:pt x="1" y="7"/>
                  <a:pt x="1" y="8"/>
                  <a:pt x="1" y="8"/>
                </a:cubicBezTo>
                <a:cubicBezTo>
                  <a:pt x="1" y="8"/>
                  <a:pt x="1" y="8"/>
                  <a:pt x="1" y="9"/>
                </a:cubicBezTo>
                <a:cubicBezTo>
                  <a:pt x="2" y="10"/>
                  <a:pt x="2" y="11"/>
                  <a:pt x="2" y="11"/>
                </a:cubicBezTo>
                <a:cubicBezTo>
                  <a:pt x="2" y="11"/>
                  <a:pt x="2" y="12"/>
                  <a:pt x="2" y="12"/>
                </a:cubicBezTo>
                <a:cubicBezTo>
                  <a:pt x="2" y="12"/>
                  <a:pt x="3" y="13"/>
                  <a:pt x="3" y="13"/>
                </a:cubicBezTo>
                <a:cubicBezTo>
                  <a:pt x="4" y="13"/>
                  <a:pt x="5" y="13"/>
                  <a:pt x="5" y="14"/>
                </a:cubicBezTo>
                <a:cubicBezTo>
                  <a:pt x="5" y="14"/>
                  <a:pt x="6" y="15"/>
                  <a:pt x="6" y="14"/>
                </a:cubicBezTo>
                <a:cubicBezTo>
                  <a:pt x="6" y="14"/>
                  <a:pt x="7" y="14"/>
                  <a:pt x="7" y="14"/>
                </a:cubicBezTo>
                <a:cubicBezTo>
                  <a:pt x="8" y="14"/>
                  <a:pt x="8" y="15"/>
                  <a:pt x="8" y="15"/>
                </a:cubicBezTo>
                <a:cubicBezTo>
                  <a:pt x="8" y="15"/>
                  <a:pt x="9" y="15"/>
                  <a:pt x="9" y="15"/>
                </a:cubicBezTo>
                <a:cubicBezTo>
                  <a:pt x="10" y="15"/>
                  <a:pt x="10" y="16"/>
                  <a:pt x="10" y="17"/>
                </a:cubicBezTo>
                <a:cubicBezTo>
                  <a:pt x="11" y="17"/>
                  <a:pt x="11" y="16"/>
                  <a:pt x="12" y="16"/>
                </a:cubicBezTo>
                <a:cubicBezTo>
                  <a:pt x="12" y="17"/>
                  <a:pt x="13" y="17"/>
                  <a:pt x="14" y="17"/>
                </a:cubicBezTo>
                <a:cubicBezTo>
                  <a:pt x="14" y="16"/>
                  <a:pt x="14" y="17"/>
                  <a:pt x="15" y="17"/>
                </a:cubicBezTo>
                <a:cubicBezTo>
                  <a:pt x="16" y="17"/>
                  <a:pt x="17" y="17"/>
                  <a:pt x="17" y="17"/>
                </a:cubicBezTo>
                <a:cubicBezTo>
                  <a:pt x="17" y="17"/>
                  <a:pt x="18" y="17"/>
                  <a:pt x="18" y="18"/>
                </a:cubicBezTo>
                <a:cubicBezTo>
                  <a:pt x="19" y="17"/>
                  <a:pt x="18" y="16"/>
                  <a:pt x="18" y="16"/>
                </a:cubicBezTo>
                <a:cubicBezTo>
                  <a:pt x="18" y="16"/>
                  <a:pt x="20" y="14"/>
                  <a:pt x="20" y="14"/>
                </a:cubicBezTo>
                <a:cubicBezTo>
                  <a:pt x="21" y="14"/>
                  <a:pt x="21" y="14"/>
                  <a:pt x="21" y="13"/>
                </a:cubicBezTo>
                <a:cubicBezTo>
                  <a:pt x="22" y="13"/>
                  <a:pt x="21" y="11"/>
                  <a:pt x="20" y="11"/>
                </a:cubicBezTo>
                <a:cubicBezTo>
                  <a:pt x="20" y="11"/>
                  <a:pt x="20" y="10"/>
                  <a:pt x="20" y="9"/>
                </a:cubicBezTo>
                <a:cubicBezTo>
                  <a:pt x="20" y="9"/>
                  <a:pt x="20" y="8"/>
                  <a:pt x="20" y="8"/>
                </a:cubicBezTo>
                <a:cubicBezTo>
                  <a:pt x="20" y="8"/>
                  <a:pt x="20" y="7"/>
                  <a:pt x="21" y="7"/>
                </a:cubicBezTo>
                <a:cubicBezTo>
                  <a:pt x="21" y="7"/>
                  <a:pt x="21" y="5"/>
                  <a:pt x="21" y="5"/>
                </a:cubicBezTo>
                <a:cubicBezTo>
                  <a:pt x="20" y="5"/>
                  <a:pt x="20" y="4"/>
                  <a:pt x="20" y="3"/>
                </a:cubicBezTo>
                <a:cubicBezTo>
                  <a:pt x="21" y="3"/>
                  <a:pt x="19" y="2"/>
                  <a:pt x="19" y="2"/>
                </a:cubicBezTo>
                <a:cubicBezTo>
                  <a:pt x="19" y="2"/>
                  <a:pt x="19" y="2"/>
                  <a:pt x="19" y="2"/>
                </a:cubicBezTo>
                <a:cubicBezTo>
                  <a:pt x="17" y="2"/>
                  <a:pt x="13" y="2"/>
                  <a:pt x="13" y="2"/>
                </a:cubicBezTo>
                <a:cubicBezTo>
                  <a:pt x="13" y="2"/>
                  <a:pt x="12" y="1"/>
                  <a:pt x="12" y="1"/>
                </a:cubicBezTo>
                <a:cubicBezTo>
                  <a:pt x="12" y="2"/>
                  <a:pt x="11" y="2"/>
                  <a:pt x="11" y="2"/>
                </a:cubicBezTo>
                <a:cubicBezTo>
                  <a:pt x="10" y="2"/>
                  <a:pt x="10" y="1"/>
                  <a:pt x="9" y="1"/>
                </a:cubicBezTo>
                <a:cubicBezTo>
                  <a:pt x="9" y="0"/>
                  <a:pt x="6" y="1"/>
                  <a:pt x="5" y="2"/>
                </a:cubicBezTo>
                <a:cubicBezTo>
                  <a:pt x="4" y="3"/>
                  <a:pt x="1" y="3"/>
                  <a:pt x="1" y="3"/>
                </a:cubicBezTo>
                <a:cubicBezTo>
                  <a:pt x="1" y="3"/>
                  <a:pt x="1" y="4"/>
                  <a:pt x="1" y="4"/>
                </a:cubicBezTo>
                <a:cubicBezTo>
                  <a:pt x="1" y="4"/>
                  <a:pt x="1" y="4"/>
                  <a:pt x="1"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1"/>
          <p:cNvSpPr>
            <a:spLocks/>
          </p:cNvSpPr>
          <p:nvPr/>
        </p:nvSpPr>
        <p:spPr bwMode="auto">
          <a:xfrm>
            <a:off x="2365984" y="2753447"/>
            <a:ext cx="35748" cy="39323"/>
          </a:xfrm>
          <a:custGeom>
            <a:avLst/>
            <a:gdLst>
              <a:gd name="T0" fmla="*/ 6 w 8"/>
              <a:gd name="T1" fmla="*/ 7 h 8"/>
              <a:gd name="T2" fmla="*/ 8 w 8"/>
              <a:gd name="T3" fmla="*/ 5 h 8"/>
              <a:gd name="T4" fmla="*/ 8 w 8"/>
              <a:gd name="T5" fmla="*/ 2 h 8"/>
              <a:gd name="T6" fmla="*/ 6 w 8"/>
              <a:gd name="T7" fmla="*/ 1 h 8"/>
              <a:gd name="T8" fmla="*/ 3 w 8"/>
              <a:gd name="T9" fmla="*/ 1 h 8"/>
              <a:gd name="T10" fmla="*/ 1 w 8"/>
              <a:gd name="T11" fmla="*/ 1 h 8"/>
              <a:gd name="T12" fmla="*/ 0 w 8"/>
              <a:gd name="T13" fmla="*/ 1 h 8"/>
              <a:gd name="T14" fmla="*/ 1 w 8"/>
              <a:gd name="T15" fmla="*/ 3 h 8"/>
              <a:gd name="T16" fmla="*/ 3 w 8"/>
              <a:gd name="T17" fmla="*/ 5 h 8"/>
              <a:gd name="T18" fmla="*/ 5 w 8"/>
              <a:gd name="T19" fmla="*/ 7 h 8"/>
              <a:gd name="T20" fmla="*/ 6 w 8"/>
              <a:gd name="T21" fmla="*/ 8 h 8"/>
              <a:gd name="T22" fmla="*/ 6 w 8"/>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6" y="7"/>
                </a:moveTo>
                <a:cubicBezTo>
                  <a:pt x="6" y="7"/>
                  <a:pt x="8" y="5"/>
                  <a:pt x="8" y="5"/>
                </a:cubicBezTo>
                <a:cubicBezTo>
                  <a:pt x="8" y="5"/>
                  <a:pt x="8" y="3"/>
                  <a:pt x="8" y="2"/>
                </a:cubicBezTo>
                <a:cubicBezTo>
                  <a:pt x="7" y="1"/>
                  <a:pt x="6" y="1"/>
                  <a:pt x="6" y="1"/>
                </a:cubicBezTo>
                <a:cubicBezTo>
                  <a:pt x="6" y="1"/>
                  <a:pt x="3" y="1"/>
                  <a:pt x="3" y="1"/>
                </a:cubicBezTo>
                <a:cubicBezTo>
                  <a:pt x="2" y="0"/>
                  <a:pt x="2" y="1"/>
                  <a:pt x="1" y="1"/>
                </a:cubicBezTo>
                <a:cubicBezTo>
                  <a:pt x="1" y="1"/>
                  <a:pt x="0" y="1"/>
                  <a:pt x="0" y="1"/>
                </a:cubicBezTo>
                <a:cubicBezTo>
                  <a:pt x="1" y="2"/>
                  <a:pt x="1" y="2"/>
                  <a:pt x="1" y="3"/>
                </a:cubicBezTo>
                <a:cubicBezTo>
                  <a:pt x="1" y="4"/>
                  <a:pt x="3" y="5"/>
                  <a:pt x="3" y="5"/>
                </a:cubicBezTo>
                <a:cubicBezTo>
                  <a:pt x="3" y="5"/>
                  <a:pt x="4" y="6"/>
                  <a:pt x="5" y="7"/>
                </a:cubicBezTo>
                <a:cubicBezTo>
                  <a:pt x="5" y="7"/>
                  <a:pt x="6" y="8"/>
                  <a:pt x="6" y="8"/>
                </a:cubicBezTo>
                <a:cubicBezTo>
                  <a:pt x="6" y="8"/>
                  <a:pt x="6" y="7"/>
                  <a:pt x="6"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02"/>
          <p:cNvSpPr>
            <a:spLocks/>
          </p:cNvSpPr>
          <p:nvPr/>
        </p:nvSpPr>
        <p:spPr bwMode="auto">
          <a:xfrm>
            <a:off x="2344535" y="2739147"/>
            <a:ext cx="57198" cy="50048"/>
          </a:xfrm>
          <a:custGeom>
            <a:avLst/>
            <a:gdLst>
              <a:gd name="T0" fmla="*/ 7 w 12"/>
              <a:gd name="T1" fmla="*/ 8 h 10"/>
              <a:gd name="T2" fmla="*/ 5 w 12"/>
              <a:gd name="T3" fmla="*/ 6 h 10"/>
              <a:gd name="T4" fmla="*/ 4 w 12"/>
              <a:gd name="T5" fmla="*/ 4 h 10"/>
              <a:gd name="T6" fmla="*/ 5 w 12"/>
              <a:gd name="T7" fmla="*/ 4 h 10"/>
              <a:gd name="T8" fmla="*/ 7 w 12"/>
              <a:gd name="T9" fmla="*/ 4 h 10"/>
              <a:gd name="T10" fmla="*/ 10 w 12"/>
              <a:gd name="T11" fmla="*/ 4 h 10"/>
              <a:gd name="T12" fmla="*/ 12 w 12"/>
              <a:gd name="T13" fmla="*/ 5 h 10"/>
              <a:gd name="T14" fmla="*/ 12 w 12"/>
              <a:gd name="T15" fmla="*/ 4 h 10"/>
              <a:gd name="T16" fmla="*/ 11 w 12"/>
              <a:gd name="T17" fmla="*/ 3 h 10"/>
              <a:gd name="T18" fmla="*/ 11 w 12"/>
              <a:gd name="T19" fmla="*/ 2 h 10"/>
              <a:gd name="T20" fmla="*/ 10 w 12"/>
              <a:gd name="T21" fmla="*/ 2 h 10"/>
              <a:gd name="T22" fmla="*/ 8 w 12"/>
              <a:gd name="T23" fmla="*/ 1 h 10"/>
              <a:gd name="T24" fmla="*/ 6 w 12"/>
              <a:gd name="T25" fmla="*/ 0 h 10"/>
              <a:gd name="T26" fmla="*/ 5 w 12"/>
              <a:gd name="T27" fmla="*/ 1 h 10"/>
              <a:gd name="T28" fmla="*/ 4 w 12"/>
              <a:gd name="T29" fmla="*/ 2 h 10"/>
              <a:gd name="T30" fmla="*/ 3 w 12"/>
              <a:gd name="T31" fmla="*/ 3 h 10"/>
              <a:gd name="T32" fmla="*/ 2 w 12"/>
              <a:gd name="T33" fmla="*/ 3 h 10"/>
              <a:gd name="T34" fmla="*/ 0 w 12"/>
              <a:gd name="T35" fmla="*/ 3 h 10"/>
              <a:gd name="T36" fmla="*/ 1 w 12"/>
              <a:gd name="T37" fmla="*/ 4 h 10"/>
              <a:gd name="T38" fmla="*/ 2 w 12"/>
              <a:gd name="T39" fmla="*/ 5 h 10"/>
              <a:gd name="T40" fmla="*/ 4 w 12"/>
              <a:gd name="T41" fmla="*/ 8 h 10"/>
              <a:gd name="T42" fmla="*/ 6 w 12"/>
              <a:gd name="T43" fmla="*/ 9 h 10"/>
              <a:gd name="T44" fmla="*/ 8 w 12"/>
              <a:gd name="T45" fmla="*/ 10 h 10"/>
              <a:gd name="T46" fmla="*/ 9 w 12"/>
              <a:gd name="T47" fmla="*/ 10 h 10"/>
              <a:gd name="T48" fmla="*/ 7 w 12"/>
              <a:gd name="T4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7" y="8"/>
                </a:moveTo>
                <a:cubicBezTo>
                  <a:pt x="7" y="8"/>
                  <a:pt x="5" y="7"/>
                  <a:pt x="5" y="6"/>
                </a:cubicBezTo>
                <a:cubicBezTo>
                  <a:pt x="5" y="5"/>
                  <a:pt x="5" y="5"/>
                  <a:pt x="4" y="4"/>
                </a:cubicBezTo>
                <a:cubicBezTo>
                  <a:pt x="4" y="4"/>
                  <a:pt x="5" y="4"/>
                  <a:pt x="5" y="4"/>
                </a:cubicBezTo>
                <a:cubicBezTo>
                  <a:pt x="6" y="4"/>
                  <a:pt x="6" y="3"/>
                  <a:pt x="7" y="4"/>
                </a:cubicBezTo>
                <a:cubicBezTo>
                  <a:pt x="7" y="4"/>
                  <a:pt x="10" y="4"/>
                  <a:pt x="10" y="4"/>
                </a:cubicBezTo>
                <a:cubicBezTo>
                  <a:pt x="10" y="4"/>
                  <a:pt x="11" y="4"/>
                  <a:pt x="12" y="5"/>
                </a:cubicBezTo>
                <a:cubicBezTo>
                  <a:pt x="12" y="5"/>
                  <a:pt x="12" y="5"/>
                  <a:pt x="12" y="4"/>
                </a:cubicBezTo>
                <a:cubicBezTo>
                  <a:pt x="12" y="4"/>
                  <a:pt x="12" y="3"/>
                  <a:pt x="11" y="3"/>
                </a:cubicBezTo>
                <a:cubicBezTo>
                  <a:pt x="11" y="3"/>
                  <a:pt x="11" y="2"/>
                  <a:pt x="11" y="2"/>
                </a:cubicBezTo>
                <a:cubicBezTo>
                  <a:pt x="10" y="2"/>
                  <a:pt x="10" y="2"/>
                  <a:pt x="10" y="2"/>
                </a:cubicBezTo>
                <a:cubicBezTo>
                  <a:pt x="9" y="2"/>
                  <a:pt x="8" y="2"/>
                  <a:pt x="8" y="1"/>
                </a:cubicBezTo>
                <a:cubicBezTo>
                  <a:pt x="7" y="1"/>
                  <a:pt x="6" y="0"/>
                  <a:pt x="6" y="0"/>
                </a:cubicBezTo>
                <a:cubicBezTo>
                  <a:pt x="6" y="0"/>
                  <a:pt x="5" y="1"/>
                  <a:pt x="5" y="1"/>
                </a:cubicBezTo>
                <a:cubicBezTo>
                  <a:pt x="4" y="1"/>
                  <a:pt x="4" y="2"/>
                  <a:pt x="4" y="2"/>
                </a:cubicBezTo>
                <a:cubicBezTo>
                  <a:pt x="4" y="2"/>
                  <a:pt x="3" y="3"/>
                  <a:pt x="3" y="3"/>
                </a:cubicBezTo>
                <a:cubicBezTo>
                  <a:pt x="3" y="3"/>
                  <a:pt x="2" y="3"/>
                  <a:pt x="2" y="3"/>
                </a:cubicBezTo>
                <a:cubicBezTo>
                  <a:pt x="2" y="3"/>
                  <a:pt x="1" y="3"/>
                  <a:pt x="0" y="3"/>
                </a:cubicBezTo>
                <a:cubicBezTo>
                  <a:pt x="0" y="4"/>
                  <a:pt x="0" y="4"/>
                  <a:pt x="1" y="4"/>
                </a:cubicBezTo>
                <a:cubicBezTo>
                  <a:pt x="1" y="4"/>
                  <a:pt x="2" y="4"/>
                  <a:pt x="2" y="5"/>
                </a:cubicBezTo>
                <a:cubicBezTo>
                  <a:pt x="3" y="6"/>
                  <a:pt x="4" y="7"/>
                  <a:pt x="4" y="8"/>
                </a:cubicBezTo>
                <a:cubicBezTo>
                  <a:pt x="5" y="8"/>
                  <a:pt x="6" y="8"/>
                  <a:pt x="6" y="9"/>
                </a:cubicBezTo>
                <a:cubicBezTo>
                  <a:pt x="6" y="9"/>
                  <a:pt x="7" y="10"/>
                  <a:pt x="8" y="10"/>
                </a:cubicBezTo>
                <a:cubicBezTo>
                  <a:pt x="8" y="10"/>
                  <a:pt x="9" y="10"/>
                  <a:pt x="9" y="10"/>
                </a:cubicBezTo>
                <a:cubicBezTo>
                  <a:pt x="8" y="9"/>
                  <a:pt x="7" y="8"/>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03"/>
          <p:cNvSpPr>
            <a:spLocks/>
          </p:cNvSpPr>
          <p:nvPr/>
        </p:nvSpPr>
        <p:spPr bwMode="auto">
          <a:xfrm>
            <a:off x="2401733" y="2792770"/>
            <a:ext cx="21449" cy="39323"/>
          </a:xfrm>
          <a:custGeom>
            <a:avLst/>
            <a:gdLst>
              <a:gd name="T0" fmla="*/ 2 w 4"/>
              <a:gd name="T1" fmla="*/ 7 h 8"/>
              <a:gd name="T2" fmla="*/ 3 w 4"/>
              <a:gd name="T3" fmla="*/ 6 h 8"/>
              <a:gd name="T4" fmla="*/ 4 w 4"/>
              <a:gd name="T5" fmla="*/ 5 h 8"/>
              <a:gd name="T6" fmla="*/ 4 w 4"/>
              <a:gd name="T7" fmla="*/ 4 h 8"/>
              <a:gd name="T8" fmla="*/ 3 w 4"/>
              <a:gd name="T9" fmla="*/ 3 h 8"/>
              <a:gd name="T10" fmla="*/ 3 w 4"/>
              <a:gd name="T11" fmla="*/ 1 h 8"/>
              <a:gd name="T12" fmla="*/ 1 w 4"/>
              <a:gd name="T13" fmla="*/ 0 h 8"/>
              <a:gd name="T14" fmla="*/ 0 w 4"/>
              <a:gd name="T15" fmla="*/ 1 h 8"/>
              <a:gd name="T16" fmla="*/ 0 w 4"/>
              <a:gd name="T17" fmla="*/ 3 h 8"/>
              <a:gd name="T18" fmla="*/ 0 w 4"/>
              <a:gd name="T19" fmla="*/ 6 h 8"/>
              <a:gd name="T20" fmla="*/ 2 w 4"/>
              <a:gd name="T21" fmla="*/ 8 h 8"/>
              <a:gd name="T22" fmla="*/ 2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7"/>
                </a:moveTo>
                <a:cubicBezTo>
                  <a:pt x="3" y="7"/>
                  <a:pt x="3" y="6"/>
                  <a:pt x="3" y="6"/>
                </a:cubicBezTo>
                <a:cubicBezTo>
                  <a:pt x="3" y="5"/>
                  <a:pt x="4" y="5"/>
                  <a:pt x="4" y="5"/>
                </a:cubicBezTo>
                <a:cubicBezTo>
                  <a:pt x="4" y="4"/>
                  <a:pt x="4" y="4"/>
                  <a:pt x="4" y="4"/>
                </a:cubicBezTo>
                <a:cubicBezTo>
                  <a:pt x="3" y="4"/>
                  <a:pt x="3" y="4"/>
                  <a:pt x="3" y="3"/>
                </a:cubicBezTo>
                <a:cubicBezTo>
                  <a:pt x="2" y="3"/>
                  <a:pt x="3" y="2"/>
                  <a:pt x="3" y="1"/>
                </a:cubicBezTo>
                <a:cubicBezTo>
                  <a:pt x="2" y="1"/>
                  <a:pt x="1" y="0"/>
                  <a:pt x="1" y="0"/>
                </a:cubicBezTo>
                <a:cubicBezTo>
                  <a:pt x="1" y="0"/>
                  <a:pt x="0" y="1"/>
                  <a:pt x="0" y="1"/>
                </a:cubicBezTo>
                <a:cubicBezTo>
                  <a:pt x="1" y="2"/>
                  <a:pt x="1" y="2"/>
                  <a:pt x="0" y="3"/>
                </a:cubicBezTo>
                <a:cubicBezTo>
                  <a:pt x="0" y="3"/>
                  <a:pt x="0" y="5"/>
                  <a:pt x="0" y="6"/>
                </a:cubicBezTo>
                <a:cubicBezTo>
                  <a:pt x="1" y="6"/>
                  <a:pt x="1" y="8"/>
                  <a:pt x="2" y="8"/>
                </a:cubicBezTo>
                <a:cubicBezTo>
                  <a:pt x="2" y="7"/>
                  <a:pt x="2" y="7"/>
                  <a:pt x="2"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04"/>
          <p:cNvSpPr>
            <a:spLocks/>
          </p:cNvSpPr>
          <p:nvPr/>
        </p:nvSpPr>
        <p:spPr bwMode="auto">
          <a:xfrm>
            <a:off x="2301637" y="2706974"/>
            <a:ext cx="82221" cy="32174"/>
          </a:xfrm>
          <a:custGeom>
            <a:avLst/>
            <a:gdLst>
              <a:gd name="T0" fmla="*/ 14 w 17"/>
              <a:gd name="T1" fmla="*/ 0 h 7"/>
              <a:gd name="T2" fmla="*/ 12 w 17"/>
              <a:gd name="T3" fmla="*/ 0 h 7"/>
              <a:gd name="T4" fmla="*/ 12 w 17"/>
              <a:gd name="T5" fmla="*/ 1 h 7"/>
              <a:gd name="T6" fmla="*/ 10 w 17"/>
              <a:gd name="T7" fmla="*/ 1 h 7"/>
              <a:gd name="T8" fmla="*/ 9 w 17"/>
              <a:gd name="T9" fmla="*/ 2 h 7"/>
              <a:gd name="T10" fmla="*/ 8 w 17"/>
              <a:gd name="T11" fmla="*/ 3 h 7"/>
              <a:gd name="T12" fmla="*/ 7 w 17"/>
              <a:gd name="T13" fmla="*/ 4 h 7"/>
              <a:gd name="T14" fmla="*/ 5 w 17"/>
              <a:gd name="T15" fmla="*/ 4 h 7"/>
              <a:gd name="T16" fmla="*/ 3 w 17"/>
              <a:gd name="T17" fmla="*/ 4 h 7"/>
              <a:gd name="T18" fmla="*/ 2 w 17"/>
              <a:gd name="T19" fmla="*/ 5 h 7"/>
              <a:gd name="T20" fmla="*/ 1 w 17"/>
              <a:gd name="T21" fmla="*/ 4 h 7"/>
              <a:gd name="T22" fmla="*/ 0 w 17"/>
              <a:gd name="T23" fmla="*/ 5 h 7"/>
              <a:gd name="T24" fmla="*/ 2 w 17"/>
              <a:gd name="T25" fmla="*/ 6 h 7"/>
              <a:gd name="T26" fmla="*/ 3 w 17"/>
              <a:gd name="T27" fmla="*/ 6 h 7"/>
              <a:gd name="T28" fmla="*/ 4 w 17"/>
              <a:gd name="T29" fmla="*/ 6 h 7"/>
              <a:gd name="T30" fmla="*/ 6 w 17"/>
              <a:gd name="T31" fmla="*/ 6 h 7"/>
              <a:gd name="T32" fmla="*/ 7 w 17"/>
              <a:gd name="T33" fmla="*/ 6 h 7"/>
              <a:gd name="T34" fmla="*/ 9 w 17"/>
              <a:gd name="T35" fmla="*/ 7 h 7"/>
              <a:gd name="T36" fmla="*/ 11 w 17"/>
              <a:gd name="T37" fmla="*/ 7 h 7"/>
              <a:gd name="T38" fmla="*/ 13 w 17"/>
              <a:gd name="T39" fmla="*/ 7 h 7"/>
              <a:gd name="T40" fmla="*/ 14 w 17"/>
              <a:gd name="T41" fmla="*/ 6 h 7"/>
              <a:gd name="T42" fmla="*/ 14 w 17"/>
              <a:gd name="T43" fmla="*/ 6 h 7"/>
              <a:gd name="T44" fmla="*/ 15 w 17"/>
              <a:gd name="T45" fmla="*/ 6 h 7"/>
              <a:gd name="T46" fmla="*/ 15 w 17"/>
              <a:gd name="T47" fmla="*/ 5 h 7"/>
              <a:gd name="T48" fmla="*/ 15 w 17"/>
              <a:gd name="T49" fmla="*/ 4 h 7"/>
              <a:gd name="T50" fmla="*/ 16 w 17"/>
              <a:gd name="T51" fmla="*/ 3 h 7"/>
              <a:gd name="T52" fmla="*/ 17 w 17"/>
              <a:gd name="T53" fmla="*/ 3 h 7"/>
              <a:gd name="T54" fmla="*/ 16 w 17"/>
              <a:gd name="T55" fmla="*/ 1 h 7"/>
              <a:gd name="T56" fmla="*/ 14 w 17"/>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7">
                <a:moveTo>
                  <a:pt x="14" y="0"/>
                </a:moveTo>
                <a:cubicBezTo>
                  <a:pt x="14" y="0"/>
                  <a:pt x="12" y="0"/>
                  <a:pt x="12" y="0"/>
                </a:cubicBezTo>
                <a:cubicBezTo>
                  <a:pt x="12" y="0"/>
                  <a:pt x="12" y="0"/>
                  <a:pt x="12" y="1"/>
                </a:cubicBezTo>
                <a:cubicBezTo>
                  <a:pt x="12" y="1"/>
                  <a:pt x="11" y="1"/>
                  <a:pt x="10" y="1"/>
                </a:cubicBezTo>
                <a:cubicBezTo>
                  <a:pt x="10" y="1"/>
                  <a:pt x="9" y="1"/>
                  <a:pt x="9" y="2"/>
                </a:cubicBezTo>
                <a:cubicBezTo>
                  <a:pt x="8" y="2"/>
                  <a:pt x="7" y="2"/>
                  <a:pt x="8" y="3"/>
                </a:cubicBezTo>
                <a:cubicBezTo>
                  <a:pt x="8" y="4"/>
                  <a:pt x="7" y="4"/>
                  <a:pt x="7" y="4"/>
                </a:cubicBezTo>
                <a:cubicBezTo>
                  <a:pt x="7" y="4"/>
                  <a:pt x="5" y="4"/>
                  <a:pt x="5" y="4"/>
                </a:cubicBezTo>
                <a:cubicBezTo>
                  <a:pt x="4" y="5"/>
                  <a:pt x="4" y="5"/>
                  <a:pt x="3" y="4"/>
                </a:cubicBezTo>
                <a:cubicBezTo>
                  <a:pt x="3" y="4"/>
                  <a:pt x="2" y="4"/>
                  <a:pt x="2" y="5"/>
                </a:cubicBezTo>
                <a:cubicBezTo>
                  <a:pt x="2" y="5"/>
                  <a:pt x="1" y="4"/>
                  <a:pt x="1" y="4"/>
                </a:cubicBezTo>
                <a:cubicBezTo>
                  <a:pt x="0" y="4"/>
                  <a:pt x="0" y="5"/>
                  <a:pt x="0" y="5"/>
                </a:cubicBezTo>
                <a:cubicBezTo>
                  <a:pt x="0" y="6"/>
                  <a:pt x="1" y="6"/>
                  <a:pt x="2" y="6"/>
                </a:cubicBezTo>
                <a:cubicBezTo>
                  <a:pt x="2" y="6"/>
                  <a:pt x="3" y="6"/>
                  <a:pt x="3" y="6"/>
                </a:cubicBezTo>
                <a:cubicBezTo>
                  <a:pt x="3" y="6"/>
                  <a:pt x="4" y="6"/>
                  <a:pt x="4" y="6"/>
                </a:cubicBezTo>
                <a:cubicBezTo>
                  <a:pt x="5" y="6"/>
                  <a:pt x="6" y="6"/>
                  <a:pt x="6" y="6"/>
                </a:cubicBezTo>
                <a:cubicBezTo>
                  <a:pt x="6" y="6"/>
                  <a:pt x="6" y="6"/>
                  <a:pt x="7" y="6"/>
                </a:cubicBezTo>
                <a:cubicBezTo>
                  <a:pt x="7" y="7"/>
                  <a:pt x="8" y="7"/>
                  <a:pt x="9" y="7"/>
                </a:cubicBezTo>
                <a:cubicBezTo>
                  <a:pt x="9" y="7"/>
                  <a:pt x="11" y="7"/>
                  <a:pt x="11" y="7"/>
                </a:cubicBezTo>
                <a:cubicBezTo>
                  <a:pt x="11" y="7"/>
                  <a:pt x="12" y="7"/>
                  <a:pt x="13" y="7"/>
                </a:cubicBezTo>
                <a:cubicBezTo>
                  <a:pt x="14" y="7"/>
                  <a:pt x="14" y="6"/>
                  <a:pt x="14" y="6"/>
                </a:cubicBezTo>
                <a:cubicBezTo>
                  <a:pt x="14" y="6"/>
                  <a:pt x="14" y="6"/>
                  <a:pt x="14" y="6"/>
                </a:cubicBezTo>
                <a:cubicBezTo>
                  <a:pt x="15" y="6"/>
                  <a:pt x="15" y="6"/>
                  <a:pt x="15" y="6"/>
                </a:cubicBezTo>
                <a:cubicBezTo>
                  <a:pt x="15" y="5"/>
                  <a:pt x="15" y="5"/>
                  <a:pt x="15" y="5"/>
                </a:cubicBezTo>
                <a:cubicBezTo>
                  <a:pt x="15" y="4"/>
                  <a:pt x="15" y="4"/>
                  <a:pt x="15" y="4"/>
                </a:cubicBezTo>
                <a:cubicBezTo>
                  <a:pt x="16" y="4"/>
                  <a:pt x="16" y="4"/>
                  <a:pt x="16" y="3"/>
                </a:cubicBezTo>
                <a:cubicBezTo>
                  <a:pt x="16" y="3"/>
                  <a:pt x="17" y="3"/>
                  <a:pt x="17" y="3"/>
                </a:cubicBezTo>
                <a:cubicBezTo>
                  <a:pt x="16" y="2"/>
                  <a:pt x="16" y="1"/>
                  <a:pt x="16" y="1"/>
                </a:cubicBezTo>
                <a:cubicBezTo>
                  <a:pt x="16" y="1"/>
                  <a:pt x="15" y="1"/>
                  <a:pt x="1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05"/>
          <p:cNvSpPr>
            <a:spLocks/>
          </p:cNvSpPr>
          <p:nvPr/>
        </p:nvSpPr>
        <p:spPr bwMode="auto">
          <a:xfrm>
            <a:off x="2369559" y="2710549"/>
            <a:ext cx="71497" cy="39323"/>
          </a:xfrm>
          <a:custGeom>
            <a:avLst/>
            <a:gdLst>
              <a:gd name="T0" fmla="*/ 14 w 15"/>
              <a:gd name="T1" fmla="*/ 1 h 8"/>
              <a:gd name="T2" fmla="*/ 14 w 15"/>
              <a:gd name="T3" fmla="*/ 1 h 8"/>
              <a:gd name="T4" fmla="*/ 12 w 15"/>
              <a:gd name="T5" fmla="*/ 0 h 8"/>
              <a:gd name="T6" fmla="*/ 10 w 15"/>
              <a:gd name="T7" fmla="*/ 0 h 8"/>
              <a:gd name="T8" fmla="*/ 8 w 15"/>
              <a:gd name="T9" fmla="*/ 1 h 8"/>
              <a:gd name="T10" fmla="*/ 6 w 15"/>
              <a:gd name="T11" fmla="*/ 2 h 8"/>
              <a:gd name="T12" fmla="*/ 3 w 15"/>
              <a:gd name="T13" fmla="*/ 2 h 8"/>
              <a:gd name="T14" fmla="*/ 3 w 15"/>
              <a:gd name="T15" fmla="*/ 2 h 8"/>
              <a:gd name="T16" fmla="*/ 2 w 15"/>
              <a:gd name="T17" fmla="*/ 2 h 8"/>
              <a:gd name="T18" fmla="*/ 1 w 15"/>
              <a:gd name="T19" fmla="*/ 3 h 8"/>
              <a:gd name="T20" fmla="*/ 1 w 15"/>
              <a:gd name="T21" fmla="*/ 4 h 8"/>
              <a:gd name="T22" fmla="*/ 1 w 15"/>
              <a:gd name="T23" fmla="*/ 5 h 8"/>
              <a:gd name="T24" fmla="*/ 0 w 15"/>
              <a:gd name="T25" fmla="*/ 5 h 8"/>
              <a:gd name="T26" fmla="*/ 1 w 15"/>
              <a:gd name="T27" fmla="*/ 6 h 8"/>
              <a:gd name="T28" fmla="*/ 1 w 15"/>
              <a:gd name="T29" fmla="*/ 6 h 8"/>
              <a:gd name="T30" fmla="*/ 3 w 15"/>
              <a:gd name="T31" fmla="*/ 7 h 8"/>
              <a:gd name="T32" fmla="*/ 5 w 15"/>
              <a:gd name="T33" fmla="*/ 8 h 8"/>
              <a:gd name="T34" fmla="*/ 8 w 15"/>
              <a:gd name="T35" fmla="*/ 7 h 8"/>
              <a:gd name="T36" fmla="*/ 9 w 15"/>
              <a:gd name="T37" fmla="*/ 7 h 8"/>
              <a:gd name="T38" fmla="*/ 10 w 15"/>
              <a:gd name="T39" fmla="*/ 7 h 8"/>
              <a:gd name="T40" fmla="*/ 11 w 15"/>
              <a:gd name="T41" fmla="*/ 6 h 8"/>
              <a:gd name="T42" fmla="*/ 13 w 15"/>
              <a:gd name="T43" fmla="*/ 3 h 8"/>
              <a:gd name="T44" fmla="*/ 14 w 15"/>
              <a:gd name="T45" fmla="*/ 2 h 8"/>
              <a:gd name="T46" fmla="*/ 14 w 15"/>
              <a:gd name="T4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14" y="1"/>
                </a:moveTo>
                <a:cubicBezTo>
                  <a:pt x="14" y="1"/>
                  <a:pt x="14" y="1"/>
                  <a:pt x="14" y="1"/>
                </a:cubicBezTo>
                <a:cubicBezTo>
                  <a:pt x="13" y="1"/>
                  <a:pt x="13" y="1"/>
                  <a:pt x="12" y="0"/>
                </a:cubicBezTo>
                <a:cubicBezTo>
                  <a:pt x="12" y="0"/>
                  <a:pt x="11" y="0"/>
                  <a:pt x="10" y="0"/>
                </a:cubicBezTo>
                <a:cubicBezTo>
                  <a:pt x="10" y="0"/>
                  <a:pt x="9" y="1"/>
                  <a:pt x="8" y="1"/>
                </a:cubicBezTo>
                <a:cubicBezTo>
                  <a:pt x="8" y="1"/>
                  <a:pt x="6" y="1"/>
                  <a:pt x="6" y="2"/>
                </a:cubicBezTo>
                <a:cubicBezTo>
                  <a:pt x="6" y="2"/>
                  <a:pt x="4" y="2"/>
                  <a:pt x="3" y="2"/>
                </a:cubicBezTo>
                <a:cubicBezTo>
                  <a:pt x="3" y="2"/>
                  <a:pt x="3" y="2"/>
                  <a:pt x="3" y="2"/>
                </a:cubicBezTo>
                <a:cubicBezTo>
                  <a:pt x="3" y="2"/>
                  <a:pt x="2" y="2"/>
                  <a:pt x="2" y="2"/>
                </a:cubicBezTo>
                <a:cubicBezTo>
                  <a:pt x="2" y="3"/>
                  <a:pt x="2" y="3"/>
                  <a:pt x="1" y="3"/>
                </a:cubicBezTo>
                <a:cubicBezTo>
                  <a:pt x="1" y="3"/>
                  <a:pt x="1" y="3"/>
                  <a:pt x="1" y="4"/>
                </a:cubicBezTo>
                <a:cubicBezTo>
                  <a:pt x="1" y="4"/>
                  <a:pt x="1" y="4"/>
                  <a:pt x="1" y="5"/>
                </a:cubicBezTo>
                <a:cubicBezTo>
                  <a:pt x="1" y="5"/>
                  <a:pt x="1" y="5"/>
                  <a:pt x="0" y="5"/>
                </a:cubicBezTo>
                <a:cubicBezTo>
                  <a:pt x="1" y="5"/>
                  <a:pt x="1" y="6"/>
                  <a:pt x="1" y="6"/>
                </a:cubicBezTo>
                <a:cubicBezTo>
                  <a:pt x="1" y="6"/>
                  <a:pt x="1" y="6"/>
                  <a:pt x="1" y="6"/>
                </a:cubicBezTo>
                <a:cubicBezTo>
                  <a:pt x="1" y="6"/>
                  <a:pt x="2" y="7"/>
                  <a:pt x="3" y="7"/>
                </a:cubicBezTo>
                <a:cubicBezTo>
                  <a:pt x="3" y="8"/>
                  <a:pt x="4" y="8"/>
                  <a:pt x="5" y="8"/>
                </a:cubicBezTo>
                <a:cubicBezTo>
                  <a:pt x="6" y="8"/>
                  <a:pt x="8" y="7"/>
                  <a:pt x="8" y="7"/>
                </a:cubicBezTo>
                <a:cubicBezTo>
                  <a:pt x="8" y="7"/>
                  <a:pt x="9" y="7"/>
                  <a:pt x="9" y="7"/>
                </a:cubicBezTo>
                <a:cubicBezTo>
                  <a:pt x="9" y="7"/>
                  <a:pt x="9" y="7"/>
                  <a:pt x="10" y="7"/>
                </a:cubicBezTo>
                <a:cubicBezTo>
                  <a:pt x="10" y="7"/>
                  <a:pt x="10" y="7"/>
                  <a:pt x="11" y="6"/>
                </a:cubicBezTo>
                <a:cubicBezTo>
                  <a:pt x="12" y="6"/>
                  <a:pt x="13" y="3"/>
                  <a:pt x="13" y="3"/>
                </a:cubicBezTo>
                <a:cubicBezTo>
                  <a:pt x="13" y="3"/>
                  <a:pt x="14" y="2"/>
                  <a:pt x="14" y="2"/>
                </a:cubicBezTo>
                <a:cubicBezTo>
                  <a:pt x="15" y="2"/>
                  <a:pt x="15" y="1"/>
                  <a:pt x="1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06"/>
          <p:cNvSpPr>
            <a:spLocks/>
          </p:cNvSpPr>
          <p:nvPr/>
        </p:nvSpPr>
        <p:spPr bwMode="auto">
          <a:xfrm>
            <a:off x="2330236" y="2678375"/>
            <a:ext cx="67922" cy="32174"/>
          </a:xfrm>
          <a:custGeom>
            <a:avLst/>
            <a:gdLst>
              <a:gd name="T0" fmla="*/ 13 w 14"/>
              <a:gd name="T1" fmla="*/ 3 h 7"/>
              <a:gd name="T2" fmla="*/ 12 w 14"/>
              <a:gd name="T3" fmla="*/ 3 h 7"/>
              <a:gd name="T4" fmla="*/ 11 w 14"/>
              <a:gd name="T5" fmla="*/ 2 h 7"/>
              <a:gd name="T6" fmla="*/ 10 w 14"/>
              <a:gd name="T7" fmla="*/ 2 h 7"/>
              <a:gd name="T8" fmla="*/ 9 w 14"/>
              <a:gd name="T9" fmla="*/ 2 h 7"/>
              <a:gd name="T10" fmla="*/ 7 w 14"/>
              <a:gd name="T11" fmla="*/ 1 h 7"/>
              <a:gd name="T12" fmla="*/ 6 w 14"/>
              <a:gd name="T13" fmla="*/ 0 h 7"/>
              <a:gd name="T14" fmla="*/ 6 w 14"/>
              <a:gd name="T15" fmla="*/ 0 h 7"/>
              <a:gd name="T16" fmla="*/ 5 w 14"/>
              <a:gd name="T17" fmla="*/ 0 h 7"/>
              <a:gd name="T18" fmla="*/ 3 w 14"/>
              <a:gd name="T19" fmla="*/ 1 h 7"/>
              <a:gd name="T20" fmla="*/ 1 w 14"/>
              <a:gd name="T21" fmla="*/ 2 h 7"/>
              <a:gd name="T22" fmla="*/ 1 w 14"/>
              <a:gd name="T23" fmla="*/ 3 h 7"/>
              <a:gd name="T24" fmla="*/ 2 w 14"/>
              <a:gd name="T25" fmla="*/ 5 h 7"/>
              <a:gd name="T26" fmla="*/ 4 w 14"/>
              <a:gd name="T27" fmla="*/ 7 h 7"/>
              <a:gd name="T28" fmla="*/ 4 w 14"/>
              <a:gd name="T29" fmla="*/ 7 h 7"/>
              <a:gd name="T30" fmla="*/ 6 w 14"/>
              <a:gd name="T31" fmla="*/ 7 h 7"/>
              <a:gd name="T32" fmla="*/ 6 w 14"/>
              <a:gd name="T33" fmla="*/ 6 h 7"/>
              <a:gd name="T34" fmla="*/ 8 w 14"/>
              <a:gd name="T35" fmla="*/ 6 h 7"/>
              <a:gd name="T36" fmla="*/ 10 w 14"/>
              <a:gd name="T37" fmla="*/ 7 h 7"/>
              <a:gd name="T38" fmla="*/ 10 w 14"/>
              <a:gd name="T39" fmla="*/ 7 h 7"/>
              <a:gd name="T40" fmla="*/ 11 w 14"/>
              <a:gd name="T41" fmla="*/ 6 h 7"/>
              <a:gd name="T42" fmla="*/ 13 w 14"/>
              <a:gd name="T43" fmla="*/ 5 h 7"/>
              <a:gd name="T44" fmla="*/ 14 w 14"/>
              <a:gd name="T45" fmla="*/ 4 h 7"/>
              <a:gd name="T46" fmla="*/ 13 w 14"/>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7">
                <a:moveTo>
                  <a:pt x="13" y="3"/>
                </a:moveTo>
                <a:cubicBezTo>
                  <a:pt x="13" y="3"/>
                  <a:pt x="12" y="3"/>
                  <a:pt x="12" y="3"/>
                </a:cubicBezTo>
                <a:cubicBezTo>
                  <a:pt x="12" y="3"/>
                  <a:pt x="12" y="2"/>
                  <a:pt x="11" y="2"/>
                </a:cubicBezTo>
                <a:cubicBezTo>
                  <a:pt x="11" y="2"/>
                  <a:pt x="10" y="2"/>
                  <a:pt x="10" y="2"/>
                </a:cubicBezTo>
                <a:cubicBezTo>
                  <a:pt x="10" y="3"/>
                  <a:pt x="9" y="2"/>
                  <a:pt x="9" y="2"/>
                </a:cubicBezTo>
                <a:cubicBezTo>
                  <a:pt x="9" y="1"/>
                  <a:pt x="8" y="1"/>
                  <a:pt x="7" y="1"/>
                </a:cubicBezTo>
                <a:cubicBezTo>
                  <a:pt x="7" y="1"/>
                  <a:pt x="6" y="0"/>
                  <a:pt x="6" y="0"/>
                </a:cubicBezTo>
                <a:cubicBezTo>
                  <a:pt x="6" y="0"/>
                  <a:pt x="6" y="0"/>
                  <a:pt x="6" y="0"/>
                </a:cubicBezTo>
                <a:cubicBezTo>
                  <a:pt x="6" y="1"/>
                  <a:pt x="5" y="0"/>
                  <a:pt x="5" y="0"/>
                </a:cubicBezTo>
                <a:cubicBezTo>
                  <a:pt x="4" y="1"/>
                  <a:pt x="4" y="1"/>
                  <a:pt x="3" y="1"/>
                </a:cubicBezTo>
                <a:cubicBezTo>
                  <a:pt x="2" y="2"/>
                  <a:pt x="1" y="2"/>
                  <a:pt x="1" y="2"/>
                </a:cubicBezTo>
                <a:cubicBezTo>
                  <a:pt x="0" y="2"/>
                  <a:pt x="1" y="3"/>
                  <a:pt x="1" y="3"/>
                </a:cubicBezTo>
                <a:cubicBezTo>
                  <a:pt x="1" y="4"/>
                  <a:pt x="1" y="5"/>
                  <a:pt x="2" y="5"/>
                </a:cubicBezTo>
                <a:cubicBezTo>
                  <a:pt x="2" y="5"/>
                  <a:pt x="4" y="6"/>
                  <a:pt x="4" y="7"/>
                </a:cubicBezTo>
                <a:cubicBezTo>
                  <a:pt x="4" y="7"/>
                  <a:pt x="4" y="7"/>
                  <a:pt x="4" y="7"/>
                </a:cubicBezTo>
                <a:cubicBezTo>
                  <a:pt x="5" y="7"/>
                  <a:pt x="6" y="7"/>
                  <a:pt x="6" y="7"/>
                </a:cubicBezTo>
                <a:cubicBezTo>
                  <a:pt x="6" y="6"/>
                  <a:pt x="6" y="6"/>
                  <a:pt x="6" y="6"/>
                </a:cubicBezTo>
                <a:cubicBezTo>
                  <a:pt x="6" y="6"/>
                  <a:pt x="8" y="6"/>
                  <a:pt x="8" y="6"/>
                </a:cubicBezTo>
                <a:cubicBezTo>
                  <a:pt x="9" y="7"/>
                  <a:pt x="10" y="7"/>
                  <a:pt x="10" y="7"/>
                </a:cubicBezTo>
                <a:cubicBezTo>
                  <a:pt x="10" y="7"/>
                  <a:pt x="10" y="7"/>
                  <a:pt x="10" y="7"/>
                </a:cubicBezTo>
                <a:cubicBezTo>
                  <a:pt x="10" y="7"/>
                  <a:pt x="10" y="6"/>
                  <a:pt x="11" y="6"/>
                </a:cubicBezTo>
                <a:cubicBezTo>
                  <a:pt x="11" y="6"/>
                  <a:pt x="12" y="6"/>
                  <a:pt x="13" y="5"/>
                </a:cubicBezTo>
                <a:cubicBezTo>
                  <a:pt x="13" y="5"/>
                  <a:pt x="14" y="5"/>
                  <a:pt x="14" y="4"/>
                </a:cubicBezTo>
                <a:cubicBezTo>
                  <a:pt x="14" y="4"/>
                  <a:pt x="14" y="3"/>
                  <a:pt x="13"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7"/>
          <p:cNvSpPr>
            <a:spLocks/>
          </p:cNvSpPr>
          <p:nvPr/>
        </p:nvSpPr>
        <p:spPr bwMode="auto">
          <a:xfrm>
            <a:off x="2380283" y="2696249"/>
            <a:ext cx="57198" cy="25024"/>
          </a:xfrm>
          <a:custGeom>
            <a:avLst/>
            <a:gdLst>
              <a:gd name="T0" fmla="*/ 9 w 12"/>
              <a:gd name="T1" fmla="*/ 1 h 5"/>
              <a:gd name="T2" fmla="*/ 8 w 12"/>
              <a:gd name="T3" fmla="*/ 1 h 5"/>
              <a:gd name="T4" fmla="*/ 6 w 12"/>
              <a:gd name="T5" fmla="*/ 0 h 5"/>
              <a:gd name="T6" fmla="*/ 4 w 12"/>
              <a:gd name="T7" fmla="*/ 1 h 5"/>
              <a:gd name="T8" fmla="*/ 4 w 12"/>
              <a:gd name="T9" fmla="*/ 0 h 5"/>
              <a:gd name="T10" fmla="*/ 3 w 12"/>
              <a:gd name="T11" fmla="*/ 1 h 5"/>
              <a:gd name="T12" fmla="*/ 1 w 12"/>
              <a:gd name="T13" fmla="*/ 2 h 5"/>
              <a:gd name="T14" fmla="*/ 0 w 12"/>
              <a:gd name="T15" fmla="*/ 3 h 5"/>
              <a:gd name="T16" fmla="*/ 1 w 12"/>
              <a:gd name="T17" fmla="*/ 5 h 5"/>
              <a:gd name="T18" fmla="*/ 4 w 12"/>
              <a:gd name="T19" fmla="*/ 5 h 5"/>
              <a:gd name="T20" fmla="*/ 6 w 12"/>
              <a:gd name="T21" fmla="*/ 4 h 5"/>
              <a:gd name="T22" fmla="*/ 8 w 12"/>
              <a:gd name="T23" fmla="*/ 3 h 5"/>
              <a:gd name="T24" fmla="*/ 10 w 12"/>
              <a:gd name="T25" fmla="*/ 3 h 5"/>
              <a:gd name="T26" fmla="*/ 12 w 12"/>
              <a:gd name="T27" fmla="*/ 4 h 5"/>
              <a:gd name="T28" fmla="*/ 11 w 12"/>
              <a:gd name="T29" fmla="*/ 3 h 5"/>
              <a:gd name="T30" fmla="*/ 12 w 12"/>
              <a:gd name="T31" fmla="*/ 2 h 5"/>
              <a:gd name="T32" fmla="*/ 12 w 12"/>
              <a:gd name="T33" fmla="*/ 2 h 5"/>
              <a:gd name="T34" fmla="*/ 11 w 12"/>
              <a:gd name="T35" fmla="*/ 1 h 5"/>
              <a:gd name="T36" fmla="*/ 9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9" y="1"/>
                </a:moveTo>
                <a:cubicBezTo>
                  <a:pt x="8" y="1"/>
                  <a:pt x="8" y="0"/>
                  <a:pt x="8" y="1"/>
                </a:cubicBezTo>
                <a:cubicBezTo>
                  <a:pt x="7" y="1"/>
                  <a:pt x="6" y="1"/>
                  <a:pt x="6" y="0"/>
                </a:cubicBezTo>
                <a:cubicBezTo>
                  <a:pt x="5" y="0"/>
                  <a:pt x="5" y="1"/>
                  <a:pt x="4" y="1"/>
                </a:cubicBezTo>
                <a:cubicBezTo>
                  <a:pt x="4" y="1"/>
                  <a:pt x="4" y="0"/>
                  <a:pt x="4" y="0"/>
                </a:cubicBezTo>
                <a:cubicBezTo>
                  <a:pt x="4" y="1"/>
                  <a:pt x="3" y="1"/>
                  <a:pt x="3" y="1"/>
                </a:cubicBezTo>
                <a:cubicBezTo>
                  <a:pt x="2" y="2"/>
                  <a:pt x="1" y="2"/>
                  <a:pt x="1" y="2"/>
                </a:cubicBezTo>
                <a:cubicBezTo>
                  <a:pt x="0" y="2"/>
                  <a:pt x="0" y="3"/>
                  <a:pt x="0" y="3"/>
                </a:cubicBezTo>
                <a:cubicBezTo>
                  <a:pt x="0" y="4"/>
                  <a:pt x="1" y="4"/>
                  <a:pt x="1" y="5"/>
                </a:cubicBezTo>
                <a:cubicBezTo>
                  <a:pt x="2" y="5"/>
                  <a:pt x="4" y="5"/>
                  <a:pt x="4" y="5"/>
                </a:cubicBezTo>
                <a:cubicBezTo>
                  <a:pt x="4" y="4"/>
                  <a:pt x="6" y="4"/>
                  <a:pt x="6" y="4"/>
                </a:cubicBezTo>
                <a:cubicBezTo>
                  <a:pt x="7" y="4"/>
                  <a:pt x="8" y="3"/>
                  <a:pt x="8" y="3"/>
                </a:cubicBezTo>
                <a:cubicBezTo>
                  <a:pt x="9" y="3"/>
                  <a:pt x="10" y="3"/>
                  <a:pt x="10" y="3"/>
                </a:cubicBezTo>
                <a:cubicBezTo>
                  <a:pt x="11" y="4"/>
                  <a:pt x="11" y="4"/>
                  <a:pt x="12" y="4"/>
                </a:cubicBezTo>
                <a:cubicBezTo>
                  <a:pt x="12" y="4"/>
                  <a:pt x="11" y="3"/>
                  <a:pt x="11" y="3"/>
                </a:cubicBezTo>
                <a:cubicBezTo>
                  <a:pt x="11" y="3"/>
                  <a:pt x="12" y="2"/>
                  <a:pt x="12" y="2"/>
                </a:cubicBezTo>
                <a:cubicBezTo>
                  <a:pt x="12" y="2"/>
                  <a:pt x="12" y="2"/>
                  <a:pt x="12" y="2"/>
                </a:cubicBezTo>
                <a:cubicBezTo>
                  <a:pt x="12" y="1"/>
                  <a:pt x="11" y="1"/>
                  <a:pt x="11" y="1"/>
                </a:cubicBezTo>
                <a:cubicBezTo>
                  <a:pt x="11" y="1"/>
                  <a:pt x="10" y="1"/>
                  <a:pt x="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08"/>
          <p:cNvSpPr>
            <a:spLocks/>
          </p:cNvSpPr>
          <p:nvPr/>
        </p:nvSpPr>
        <p:spPr bwMode="auto">
          <a:xfrm>
            <a:off x="2094296" y="2796345"/>
            <a:ext cx="42898" cy="67922"/>
          </a:xfrm>
          <a:custGeom>
            <a:avLst/>
            <a:gdLst>
              <a:gd name="T0" fmla="*/ 6 w 9"/>
              <a:gd name="T1" fmla="*/ 11 h 14"/>
              <a:gd name="T2" fmla="*/ 6 w 9"/>
              <a:gd name="T3" fmla="*/ 10 h 14"/>
              <a:gd name="T4" fmla="*/ 6 w 9"/>
              <a:gd name="T5" fmla="*/ 9 h 14"/>
              <a:gd name="T6" fmla="*/ 6 w 9"/>
              <a:gd name="T7" fmla="*/ 8 h 14"/>
              <a:gd name="T8" fmla="*/ 6 w 9"/>
              <a:gd name="T9" fmla="*/ 7 h 14"/>
              <a:gd name="T10" fmla="*/ 7 w 9"/>
              <a:gd name="T11" fmla="*/ 5 h 14"/>
              <a:gd name="T12" fmla="*/ 7 w 9"/>
              <a:gd name="T13" fmla="*/ 3 h 14"/>
              <a:gd name="T14" fmla="*/ 8 w 9"/>
              <a:gd name="T15" fmla="*/ 2 h 14"/>
              <a:gd name="T16" fmla="*/ 7 w 9"/>
              <a:gd name="T17" fmla="*/ 1 h 14"/>
              <a:gd name="T18" fmla="*/ 6 w 9"/>
              <a:gd name="T19" fmla="*/ 1 h 14"/>
              <a:gd name="T20" fmla="*/ 5 w 9"/>
              <a:gd name="T21" fmla="*/ 1 h 14"/>
              <a:gd name="T22" fmla="*/ 4 w 9"/>
              <a:gd name="T23" fmla="*/ 0 h 14"/>
              <a:gd name="T24" fmla="*/ 3 w 9"/>
              <a:gd name="T25" fmla="*/ 0 h 14"/>
              <a:gd name="T26" fmla="*/ 2 w 9"/>
              <a:gd name="T27" fmla="*/ 1 h 14"/>
              <a:gd name="T28" fmla="*/ 3 w 9"/>
              <a:gd name="T29" fmla="*/ 2 h 14"/>
              <a:gd name="T30" fmla="*/ 1 w 9"/>
              <a:gd name="T31" fmla="*/ 7 h 14"/>
              <a:gd name="T32" fmla="*/ 2 w 9"/>
              <a:gd name="T33" fmla="*/ 9 h 14"/>
              <a:gd name="T34" fmla="*/ 2 w 9"/>
              <a:gd name="T35" fmla="*/ 13 h 14"/>
              <a:gd name="T36" fmla="*/ 4 w 9"/>
              <a:gd name="T37" fmla="*/ 14 h 14"/>
              <a:gd name="T38" fmla="*/ 6 w 9"/>
              <a:gd name="T39" fmla="*/ 13 h 14"/>
              <a:gd name="T40" fmla="*/ 5 w 9"/>
              <a:gd name="T41" fmla="*/ 12 h 14"/>
              <a:gd name="T42" fmla="*/ 6 w 9"/>
              <a:gd name="T4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4">
                <a:moveTo>
                  <a:pt x="6" y="11"/>
                </a:moveTo>
                <a:cubicBezTo>
                  <a:pt x="7" y="11"/>
                  <a:pt x="6" y="10"/>
                  <a:pt x="6" y="10"/>
                </a:cubicBezTo>
                <a:cubicBezTo>
                  <a:pt x="6" y="10"/>
                  <a:pt x="6" y="9"/>
                  <a:pt x="6" y="9"/>
                </a:cubicBezTo>
                <a:cubicBezTo>
                  <a:pt x="7" y="9"/>
                  <a:pt x="6" y="8"/>
                  <a:pt x="6" y="8"/>
                </a:cubicBezTo>
                <a:cubicBezTo>
                  <a:pt x="5" y="7"/>
                  <a:pt x="6" y="7"/>
                  <a:pt x="6" y="7"/>
                </a:cubicBezTo>
                <a:cubicBezTo>
                  <a:pt x="7" y="7"/>
                  <a:pt x="6" y="6"/>
                  <a:pt x="7" y="5"/>
                </a:cubicBezTo>
                <a:cubicBezTo>
                  <a:pt x="7" y="5"/>
                  <a:pt x="7" y="4"/>
                  <a:pt x="7" y="3"/>
                </a:cubicBezTo>
                <a:cubicBezTo>
                  <a:pt x="7" y="3"/>
                  <a:pt x="7" y="3"/>
                  <a:pt x="8" y="2"/>
                </a:cubicBezTo>
                <a:cubicBezTo>
                  <a:pt x="9" y="1"/>
                  <a:pt x="7" y="2"/>
                  <a:pt x="7" y="1"/>
                </a:cubicBezTo>
                <a:cubicBezTo>
                  <a:pt x="7" y="1"/>
                  <a:pt x="7" y="0"/>
                  <a:pt x="6" y="1"/>
                </a:cubicBezTo>
                <a:cubicBezTo>
                  <a:pt x="6" y="1"/>
                  <a:pt x="6" y="1"/>
                  <a:pt x="5" y="1"/>
                </a:cubicBezTo>
                <a:cubicBezTo>
                  <a:pt x="5" y="1"/>
                  <a:pt x="4" y="1"/>
                  <a:pt x="4" y="0"/>
                </a:cubicBezTo>
                <a:cubicBezTo>
                  <a:pt x="4" y="0"/>
                  <a:pt x="3" y="0"/>
                  <a:pt x="3" y="0"/>
                </a:cubicBezTo>
                <a:cubicBezTo>
                  <a:pt x="3" y="1"/>
                  <a:pt x="3" y="1"/>
                  <a:pt x="2" y="1"/>
                </a:cubicBezTo>
                <a:cubicBezTo>
                  <a:pt x="2" y="1"/>
                  <a:pt x="2" y="2"/>
                  <a:pt x="3" y="2"/>
                </a:cubicBezTo>
                <a:cubicBezTo>
                  <a:pt x="3" y="3"/>
                  <a:pt x="2" y="6"/>
                  <a:pt x="1" y="7"/>
                </a:cubicBezTo>
                <a:cubicBezTo>
                  <a:pt x="0" y="8"/>
                  <a:pt x="1" y="9"/>
                  <a:pt x="2" y="9"/>
                </a:cubicBezTo>
                <a:cubicBezTo>
                  <a:pt x="3" y="10"/>
                  <a:pt x="2" y="13"/>
                  <a:pt x="2" y="13"/>
                </a:cubicBezTo>
                <a:cubicBezTo>
                  <a:pt x="2" y="14"/>
                  <a:pt x="3" y="14"/>
                  <a:pt x="4" y="14"/>
                </a:cubicBezTo>
                <a:cubicBezTo>
                  <a:pt x="5" y="14"/>
                  <a:pt x="5" y="13"/>
                  <a:pt x="6" y="13"/>
                </a:cubicBezTo>
                <a:cubicBezTo>
                  <a:pt x="6" y="13"/>
                  <a:pt x="5" y="13"/>
                  <a:pt x="5" y="12"/>
                </a:cubicBezTo>
                <a:cubicBezTo>
                  <a:pt x="5" y="12"/>
                  <a:pt x="5" y="11"/>
                  <a:pt x="6"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09"/>
          <p:cNvSpPr>
            <a:spLocks/>
          </p:cNvSpPr>
          <p:nvPr/>
        </p:nvSpPr>
        <p:spPr bwMode="auto">
          <a:xfrm>
            <a:off x="2233715" y="2642627"/>
            <a:ext cx="42898" cy="39323"/>
          </a:xfrm>
          <a:custGeom>
            <a:avLst/>
            <a:gdLst>
              <a:gd name="T0" fmla="*/ 3 w 9"/>
              <a:gd name="T1" fmla="*/ 6 h 8"/>
              <a:gd name="T2" fmla="*/ 4 w 9"/>
              <a:gd name="T3" fmla="*/ 6 h 8"/>
              <a:gd name="T4" fmla="*/ 6 w 9"/>
              <a:gd name="T5" fmla="*/ 7 h 8"/>
              <a:gd name="T6" fmla="*/ 7 w 9"/>
              <a:gd name="T7" fmla="*/ 8 h 8"/>
              <a:gd name="T8" fmla="*/ 7 w 9"/>
              <a:gd name="T9" fmla="*/ 6 h 8"/>
              <a:gd name="T10" fmla="*/ 7 w 9"/>
              <a:gd name="T11" fmla="*/ 5 h 8"/>
              <a:gd name="T12" fmla="*/ 8 w 9"/>
              <a:gd name="T13" fmla="*/ 4 h 8"/>
              <a:gd name="T14" fmla="*/ 9 w 9"/>
              <a:gd name="T15" fmla="*/ 4 h 8"/>
              <a:gd name="T16" fmla="*/ 8 w 9"/>
              <a:gd name="T17" fmla="*/ 2 h 8"/>
              <a:gd name="T18" fmla="*/ 9 w 9"/>
              <a:gd name="T19" fmla="*/ 1 h 8"/>
              <a:gd name="T20" fmla="*/ 9 w 9"/>
              <a:gd name="T21" fmla="*/ 0 h 8"/>
              <a:gd name="T22" fmla="*/ 8 w 9"/>
              <a:gd name="T23" fmla="*/ 0 h 8"/>
              <a:gd name="T24" fmla="*/ 6 w 9"/>
              <a:gd name="T25" fmla="*/ 0 h 8"/>
              <a:gd name="T26" fmla="*/ 5 w 9"/>
              <a:gd name="T27" fmla="*/ 2 h 8"/>
              <a:gd name="T28" fmla="*/ 4 w 9"/>
              <a:gd name="T29" fmla="*/ 2 h 8"/>
              <a:gd name="T30" fmla="*/ 3 w 9"/>
              <a:gd name="T31" fmla="*/ 2 h 8"/>
              <a:gd name="T32" fmla="*/ 2 w 9"/>
              <a:gd name="T33" fmla="*/ 4 h 8"/>
              <a:gd name="T34" fmla="*/ 0 w 9"/>
              <a:gd name="T35" fmla="*/ 6 h 8"/>
              <a:gd name="T36" fmla="*/ 0 w 9"/>
              <a:gd name="T37" fmla="*/ 6 h 8"/>
              <a:gd name="T38" fmla="*/ 1 w 9"/>
              <a:gd name="T39" fmla="*/ 7 h 8"/>
              <a:gd name="T40" fmla="*/ 3 w 9"/>
              <a:gd name="T4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3" y="6"/>
                </a:moveTo>
                <a:cubicBezTo>
                  <a:pt x="3" y="6"/>
                  <a:pt x="4" y="6"/>
                  <a:pt x="4" y="6"/>
                </a:cubicBezTo>
                <a:cubicBezTo>
                  <a:pt x="5" y="7"/>
                  <a:pt x="5" y="7"/>
                  <a:pt x="6" y="7"/>
                </a:cubicBezTo>
                <a:cubicBezTo>
                  <a:pt x="6" y="7"/>
                  <a:pt x="6" y="8"/>
                  <a:pt x="7" y="8"/>
                </a:cubicBezTo>
                <a:cubicBezTo>
                  <a:pt x="7" y="7"/>
                  <a:pt x="7" y="6"/>
                  <a:pt x="7" y="6"/>
                </a:cubicBezTo>
                <a:cubicBezTo>
                  <a:pt x="7" y="5"/>
                  <a:pt x="7" y="5"/>
                  <a:pt x="7" y="5"/>
                </a:cubicBezTo>
                <a:cubicBezTo>
                  <a:pt x="7" y="5"/>
                  <a:pt x="8" y="5"/>
                  <a:pt x="8" y="4"/>
                </a:cubicBezTo>
                <a:cubicBezTo>
                  <a:pt x="8" y="4"/>
                  <a:pt x="8" y="4"/>
                  <a:pt x="9" y="4"/>
                </a:cubicBezTo>
                <a:cubicBezTo>
                  <a:pt x="9" y="3"/>
                  <a:pt x="8" y="3"/>
                  <a:pt x="8" y="2"/>
                </a:cubicBezTo>
                <a:cubicBezTo>
                  <a:pt x="8" y="2"/>
                  <a:pt x="9" y="2"/>
                  <a:pt x="9" y="1"/>
                </a:cubicBezTo>
                <a:cubicBezTo>
                  <a:pt x="9" y="1"/>
                  <a:pt x="9" y="1"/>
                  <a:pt x="9" y="0"/>
                </a:cubicBezTo>
                <a:cubicBezTo>
                  <a:pt x="9" y="0"/>
                  <a:pt x="9" y="0"/>
                  <a:pt x="8" y="0"/>
                </a:cubicBezTo>
                <a:cubicBezTo>
                  <a:pt x="8" y="0"/>
                  <a:pt x="7" y="0"/>
                  <a:pt x="6" y="0"/>
                </a:cubicBezTo>
                <a:cubicBezTo>
                  <a:pt x="5" y="0"/>
                  <a:pt x="5" y="1"/>
                  <a:pt x="5" y="2"/>
                </a:cubicBezTo>
                <a:cubicBezTo>
                  <a:pt x="6" y="2"/>
                  <a:pt x="4" y="2"/>
                  <a:pt x="4" y="2"/>
                </a:cubicBezTo>
                <a:cubicBezTo>
                  <a:pt x="4" y="1"/>
                  <a:pt x="3" y="2"/>
                  <a:pt x="3" y="2"/>
                </a:cubicBezTo>
                <a:cubicBezTo>
                  <a:pt x="3" y="3"/>
                  <a:pt x="2" y="3"/>
                  <a:pt x="2" y="4"/>
                </a:cubicBezTo>
                <a:cubicBezTo>
                  <a:pt x="2" y="5"/>
                  <a:pt x="1" y="6"/>
                  <a:pt x="0" y="6"/>
                </a:cubicBezTo>
                <a:cubicBezTo>
                  <a:pt x="0" y="6"/>
                  <a:pt x="0" y="6"/>
                  <a:pt x="0" y="6"/>
                </a:cubicBezTo>
                <a:cubicBezTo>
                  <a:pt x="0" y="7"/>
                  <a:pt x="1" y="7"/>
                  <a:pt x="1" y="7"/>
                </a:cubicBezTo>
                <a:cubicBezTo>
                  <a:pt x="1" y="7"/>
                  <a:pt x="3" y="6"/>
                  <a:pt x="3"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10"/>
          <p:cNvSpPr>
            <a:spLocks/>
          </p:cNvSpPr>
          <p:nvPr/>
        </p:nvSpPr>
        <p:spPr bwMode="auto">
          <a:xfrm>
            <a:off x="2262313" y="2692674"/>
            <a:ext cx="7150" cy="7150"/>
          </a:xfrm>
          <a:custGeom>
            <a:avLst/>
            <a:gdLst>
              <a:gd name="T0" fmla="*/ 1 w 1"/>
              <a:gd name="T1" fmla="*/ 0 h 2"/>
              <a:gd name="T2" fmla="*/ 0 w 1"/>
              <a:gd name="T3" fmla="*/ 2 h 2"/>
              <a:gd name="T4" fmla="*/ 1 w 1"/>
              <a:gd name="T5" fmla="*/ 2 h 2"/>
              <a:gd name="T6" fmla="*/ 1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2"/>
                </a:cubicBezTo>
                <a:cubicBezTo>
                  <a:pt x="0" y="2"/>
                  <a:pt x="1" y="2"/>
                  <a:pt x="1" y="2"/>
                </a:cubicBezTo>
                <a:cubicBezTo>
                  <a:pt x="1" y="1"/>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11"/>
          <p:cNvSpPr>
            <a:spLocks/>
          </p:cNvSpPr>
          <p:nvPr/>
        </p:nvSpPr>
        <p:spPr bwMode="auto">
          <a:xfrm>
            <a:off x="2230140" y="2671225"/>
            <a:ext cx="39323" cy="28599"/>
          </a:xfrm>
          <a:custGeom>
            <a:avLst/>
            <a:gdLst>
              <a:gd name="T0" fmla="*/ 0 w 8"/>
              <a:gd name="T1" fmla="*/ 1 h 6"/>
              <a:gd name="T2" fmla="*/ 1 w 8"/>
              <a:gd name="T3" fmla="*/ 2 h 6"/>
              <a:gd name="T4" fmla="*/ 2 w 8"/>
              <a:gd name="T5" fmla="*/ 3 h 6"/>
              <a:gd name="T6" fmla="*/ 3 w 8"/>
              <a:gd name="T7" fmla="*/ 4 h 6"/>
              <a:gd name="T8" fmla="*/ 4 w 8"/>
              <a:gd name="T9" fmla="*/ 4 h 6"/>
              <a:gd name="T10" fmla="*/ 5 w 8"/>
              <a:gd name="T11" fmla="*/ 4 h 6"/>
              <a:gd name="T12" fmla="*/ 5 w 8"/>
              <a:gd name="T13" fmla="*/ 5 h 6"/>
              <a:gd name="T14" fmla="*/ 7 w 8"/>
              <a:gd name="T15" fmla="*/ 6 h 6"/>
              <a:gd name="T16" fmla="*/ 7 w 8"/>
              <a:gd name="T17" fmla="*/ 6 h 6"/>
              <a:gd name="T18" fmla="*/ 8 w 8"/>
              <a:gd name="T19" fmla="*/ 4 h 6"/>
              <a:gd name="T20" fmla="*/ 8 w 8"/>
              <a:gd name="T21" fmla="*/ 3 h 6"/>
              <a:gd name="T22" fmla="*/ 8 w 8"/>
              <a:gd name="T23" fmla="*/ 2 h 6"/>
              <a:gd name="T24" fmla="*/ 8 w 8"/>
              <a:gd name="T25" fmla="*/ 2 h 6"/>
              <a:gd name="T26" fmla="*/ 7 w 8"/>
              <a:gd name="T27" fmla="*/ 1 h 6"/>
              <a:gd name="T28" fmla="*/ 5 w 8"/>
              <a:gd name="T29" fmla="*/ 0 h 6"/>
              <a:gd name="T30" fmla="*/ 4 w 8"/>
              <a:gd name="T31" fmla="*/ 0 h 6"/>
              <a:gd name="T32" fmla="*/ 2 w 8"/>
              <a:gd name="T33" fmla="*/ 1 h 6"/>
              <a:gd name="T34" fmla="*/ 1 w 8"/>
              <a:gd name="T35" fmla="*/ 0 h 6"/>
              <a:gd name="T36" fmla="*/ 0 w 8"/>
              <a:gd name="T37" fmla="*/ 1 h 6"/>
              <a:gd name="T38" fmla="*/ 0 w 8"/>
              <a:gd name="T3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6">
                <a:moveTo>
                  <a:pt x="0" y="1"/>
                </a:moveTo>
                <a:cubicBezTo>
                  <a:pt x="0" y="2"/>
                  <a:pt x="0" y="2"/>
                  <a:pt x="1" y="2"/>
                </a:cubicBezTo>
                <a:cubicBezTo>
                  <a:pt x="1" y="2"/>
                  <a:pt x="1" y="3"/>
                  <a:pt x="2" y="3"/>
                </a:cubicBezTo>
                <a:cubicBezTo>
                  <a:pt x="2" y="3"/>
                  <a:pt x="3" y="3"/>
                  <a:pt x="3" y="4"/>
                </a:cubicBezTo>
                <a:cubicBezTo>
                  <a:pt x="3" y="4"/>
                  <a:pt x="3" y="5"/>
                  <a:pt x="4" y="4"/>
                </a:cubicBezTo>
                <a:cubicBezTo>
                  <a:pt x="4" y="4"/>
                  <a:pt x="5" y="3"/>
                  <a:pt x="5" y="4"/>
                </a:cubicBezTo>
                <a:cubicBezTo>
                  <a:pt x="5" y="4"/>
                  <a:pt x="5" y="5"/>
                  <a:pt x="5" y="5"/>
                </a:cubicBezTo>
                <a:cubicBezTo>
                  <a:pt x="6" y="5"/>
                  <a:pt x="6" y="6"/>
                  <a:pt x="7" y="6"/>
                </a:cubicBezTo>
                <a:cubicBezTo>
                  <a:pt x="7" y="6"/>
                  <a:pt x="7" y="6"/>
                  <a:pt x="7" y="6"/>
                </a:cubicBezTo>
                <a:cubicBezTo>
                  <a:pt x="7" y="4"/>
                  <a:pt x="7" y="4"/>
                  <a:pt x="8" y="4"/>
                </a:cubicBezTo>
                <a:cubicBezTo>
                  <a:pt x="8" y="4"/>
                  <a:pt x="8" y="3"/>
                  <a:pt x="8" y="3"/>
                </a:cubicBezTo>
                <a:cubicBezTo>
                  <a:pt x="8" y="3"/>
                  <a:pt x="7" y="2"/>
                  <a:pt x="8" y="2"/>
                </a:cubicBezTo>
                <a:cubicBezTo>
                  <a:pt x="8" y="2"/>
                  <a:pt x="8" y="2"/>
                  <a:pt x="8" y="2"/>
                </a:cubicBezTo>
                <a:cubicBezTo>
                  <a:pt x="7" y="2"/>
                  <a:pt x="7" y="1"/>
                  <a:pt x="7" y="1"/>
                </a:cubicBezTo>
                <a:cubicBezTo>
                  <a:pt x="6" y="1"/>
                  <a:pt x="6" y="1"/>
                  <a:pt x="5" y="0"/>
                </a:cubicBezTo>
                <a:cubicBezTo>
                  <a:pt x="5" y="0"/>
                  <a:pt x="4" y="0"/>
                  <a:pt x="4" y="0"/>
                </a:cubicBezTo>
                <a:cubicBezTo>
                  <a:pt x="4" y="0"/>
                  <a:pt x="2" y="1"/>
                  <a:pt x="2" y="1"/>
                </a:cubicBezTo>
                <a:cubicBezTo>
                  <a:pt x="2" y="1"/>
                  <a:pt x="1" y="1"/>
                  <a:pt x="1" y="0"/>
                </a:cubicBezTo>
                <a:cubicBezTo>
                  <a:pt x="1" y="1"/>
                  <a:pt x="0" y="1"/>
                  <a:pt x="0" y="1"/>
                </a:cubicBezTo>
                <a:cubicBezTo>
                  <a:pt x="0" y="1"/>
                  <a:pt x="0"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12"/>
          <p:cNvSpPr>
            <a:spLocks/>
          </p:cNvSpPr>
          <p:nvPr/>
        </p:nvSpPr>
        <p:spPr bwMode="auto">
          <a:xfrm>
            <a:off x="2419607" y="2714124"/>
            <a:ext cx="96521" cy="64347"/>
          </a:xfrm>
          <a:custGeom>
            <a:avLst/>
            <a:gdLst>
              <a:gd name="T0" fmla="*/ 18 w 20"/>
              <a:gd name="T1" fmla="*/ 8 h 13"/>
              <a:gd name="T2" fmla="*/ 17 w 20"/>
              <a:gd name="T3" fmla="*/ 8 h 13"/>
              <a:gd name="T4" fmla="*/ 17 w 20"/>
              <a:gd name="T5" fmla="*/ 8 h 13"/>
              <a:gd name="T6" fmla="*/ 16 w 20"/>
              <a:gd name="T7" fmla="*/ 5 h 13"/>
              <a:gd name="T8" fmla="*/ 15 w 20"/>
              <a:gd name="T9" fmla="*/ 2 h 13"/>
              <a:gd name="T10" fmla="*/ 13 w 20"/>
              <a:gd name="T11" fmla="*/ 0 h 13"/>
              <a:gd name="T12" fmla="*/ 12 w 20"/>
              <a:gd name="T13" fmla="*/ 0 h 13"/>
              <a:gd name="T14" fmla="*/ 11 w 20"/>
              <a:gd name="T15" fmla="*/ 1 h 13"/>
              <a:gd name="T16" fmla="*/ 10 w 20"/>
              <a:gd name="T17" fmla="*/ 1 h 13"/>
              <a:gd name="T18" fmla="*/ 9 w 20"/>
              <a:gd name="T19" fmla="*/ 1 h 13"/>
              <a:gd name="T20" fmla="*/ 8 w 20"/>
              <a:gd name="T21" fmla="*/ 1 h 13"/>
              <a:gd name="T22" fmla="*/ 6 w 20"/>
              <a:gd name="T23" fmla="*/ 0 h 13"/>
              <a:gd name="T24" fmla="*/ 5 w 20"/>
              <a:gd name="T25" fmla="*/ 1 h 13"/>
              <a:gd name="T26" fmla="*/ 4 w 20"/>
              <a:gd name="T27" fmla="*/ 1 h 13"/>
              <a:gd name="T28" fmla="*/ 3 w 20"/>
              <a:gd name="T29" fmla="*/ 2 h 13"/>
              <a:gd name="T30" fmla="*/ 1 w 20"/>
              <a:gd name="T31" fmla="*/ 5 h 13"/>
              <a:gd name="T32" fmla="*/ 0 w 20"/>
              <a:gd name="T33" fmla="*/ 6 h 13"/>
              <a:gd name="T34" fmla="*/ 0 w 20"/>
              <a:gd name="T35" fmla="*/ 8 h 13"/>
              <a:gd name="T36" fmla="*/ 1 w 20"/>
              <a:gd name="T37" fmla="*/ 8 h 13"/>
              <a:gd name="T38" fmla="*/ 1 w 20"/>
              <a:gd name="T39" fmla="*/ 10 h 13"/>
              <a:gd name="T40" fmla="*/ 4 w 20"/>
              <a:gd name="T41" fmla="*/ 11 h 13"/>
              <a:gd name="T42" fmla="*/ 4 w 20"/>
              <a:gd name="T43" fmla="*/ 11 h 13"/>
              <a:gd name="T44" fmla="*/ 5 w 20"/>
              <a:gd name="T45" fmla="*/ 12 h 13"/>
              <a:gd name="T46" fmla="*/ 8 w 20"/>
              <a:gd name="T47" fmla="*/ 13 h 13"/>
              <a:gd name="T48" fmla="*/ 10 w 20"/>
              <a:gd name="T49" fmla="*/ 13 h 13"/>
              <a:gd name="T50" fmla="*/ 12 w 20"/>
              <a:gd name="T51" fmla="*/ 12 h 13"/>
              <a:gd name="T52" fmla="*/ 14 w 20"/>
              <a:gd name="T53" fmla="*/ 12 h 13"/>
              <a:gd name="T54" fmla="*/ 16 w 20"/>
              <a:gd name="T55" fmla="*/ 12 h 13"/>
              <a:gd name="T56" fmla="*/ 17 w 20"/>
              <a:gd name="T57" fmla="*/ 13 h 13"/>
              <a:gd name="T58" fmla="*/ 17 w 20"/>
              <a:gd name="T59" fmla="*/ 12 h 13"/>
              <a:gd name="T60" fmla="*/ 18 w 20"/>
              <a:gd name="T61" fmla="*/ 10 h 13"/>
              <a:gd name="T62" fmla="*/ 20 w 20"/>
              <a:gd name="T63" fmla="*/ 9 h 13"/>
              <a:gd name="T64" fmla="*/ 20 w 20"/>
              <a:gd name="T65" fmla="*/ 8 h 13"/>
              <a:gd name="T66" fmla="*/ 19 w 20"/>
              <a:gd name="T67" fmla="*/ 8 h 13"/>
              <a:gd name="T68" fmla="*/ 18 w 20"/>
              <a:gd name="T6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3">
                <a:moveTo>
                  <a:pt x="18" y="8"/>
                </a:moveTo>
                <a:cubicBezTo>
                  <a:pt x="17" y="8"/>
                  <a:pt x="16" y="8"/>
                  <a:pt x="17" y="8"/>
                </a:cubicBezTo>
                <a:cubicBezTo>
                  <a:pt x="17" y="8"/>
                  <a:pt x="17" y="8"/>
                  <a:pt x="17" y="8"/>
                </a:cubicBezTo>
                <a:cubicBezTo>
                  <a:pt x="16" y="7"/>
                  <a:pt x="16" y="6"/>
                  <a:pt x="16" y="5"/>
                </a:cubicBezTo>
                <a:cubicBezTo>
                  <a:pt x="17" y="5"/>
                  <a:pt x="16" y="3"/>
                  <a:pt x="15" y="2"/>
                </a:cubicBezTo>
                <a:cubicBezTo>
                  <a:pt x="15" y="2"/>
                  <a:pt x="14" y="1"/>
                  <a:pt x="13" y="0"/>
                </a:cubicBezTo>
                <a:cubicBezTo>
                  <a:pt x="13" y="0"/>
                  <a:pt x="13" y="0"/>
                  <a:pt x="12" y="0"/>
                </a:cubicBezTo>
                <a:cubicBezTo>
                  <a:pt x="12" y="1"/>
                  <a:pt x="12" y="1"/>
                  <a:pt x="11" y="1"/>
                </a:cubicBezTo>
                <a:cubicBezTo>
                  <a:pt x="11" y="1"/>
                  <a:pt x="10" y="1"/>
                  <a:pt x="10" y="1"/>
                </a:cubicBezTo>
                <a:cubicBezTo>
                  <a:pt x="10" y="1"/>
                  <a:pt x="9" y="1"/>
                  <a:pt x="9" y="1"/>
                </a:cubicBezTo>
                <a:cubicBezTo>
                  <a:pt x="9" y="1"/>
                  <a:pt x="8" y="1"/>
                  <a:pt x="8" y="1"/>
                </a:cubicBezTo>
                <a:cubicBezTo>
                  <a:pt x="7" y="1"/>
                  <a:pt x="6" y="0"/>
                  <a:pt x="6" y="0"/>
                </a:cubicBezTo>
                <a:cubicBezTo>
                  <a:pt x="5" y="0"/>
                  <a:pt x="5" y="1"/>
                  <a:pt x="5" y="1"/>
                </a:cubicBezTo>
                <a:cubicBezTo>
                  <a:pt x="5" y="1"/>
                  <a:pt x="5" y="1"/>
                  <a:pt x="4" y="1"/>
                </a:cubicBezTo>
                <a:cubicBezTo>
                  <a:pt x="4" y="1"/>
                  <a:pt x="3" y="2"/>
                  <a:pt x="3" y="2"/>
                </a:cubicBezTo>
                <a:cubicBezTo>
                  <a:pt x="3" y="2"/>
                  <a:pt x="2" y="5"/>
                  <a:pt x="1" y="5"/>
                </a:cubicBezTo>
                <a:cubicBezTo>
                  <a:pt x="0" y="6"/>
                  <a:pt x="0" y="6"/>
                  <a:pt x="0" y="6"/>
                </a:cubicBezTo>
                <a:cubicBezTo>
                  <a:pt x="0" y="7"/>
                  <a:pt x="0" y="7"/>
                  <a:pt x="0" y="8"/>
                </a:cubicBezTo>
                <a:cubicBezTo>
                  <a:pt x="0" y="8"/>
                  <a:pt x="1" y="8"/>
                  <a:pt x="1" y="8"/>
                </a:cubicBezTo>
                <a:cubicBezTo>
                  <a:pt x="2" y="8"/>
                  <a:pt x="1" y="10"/>
                  <a:pt x="1" y="10"/>
                </a:cubicBezTo>
                <a:cubicBezTo>
                  <a:pt x="2" y="10"/>
                  <a:pt x="4" y="10"/>
                  <a:pt x="4" y="11"/>
                </a:cubicBezTo>
                <a:cubicBezTo>
                  <a:pt x="4" y="11"/>
                  <a:pt x="4" y="11"/>
                  <a:pt x="4" y="11"/>
                </a:cubicBezTo>
                <a:cubicBezTo>
                  <a:pt x="5" y="12"/>
                  <a:pt x="5" y="12"/>
                  <a:pt x="5" y="12"/>
                </a:cubicBezTo>
                <a:cubicBezTo>
                  <a:pt x="6" y="12"/>
                  <a:pt x="7" y="13"/>
                  <a:pt x="8" y="13"/>
                </a:cubicBezTo>
                <a:cubicBezTo>
                  <a:pt x="8" y="13"/>
                  <a:pt x="9" y="13"/>
                  <a:pt x="10" y="13"/>
                </a:cubicBezTo>
                <a:cubicBezTo>
                  <a:pt x="11" y="13"/>
                  <a:pt x="11" y="12"/>
                  <a:pt x="12" y="12"/>
                </a:cubicBezTo>
                <a:cubicBezTo>
                  <a:pt x="12" y="12"/>
                  <a:pt x="14" y="11"/>
                  <a:pt x="14" y="12"/>
                </a:cubicBezTo>
                <a:cubicBezTo>
                  <a:pt x="15" y="12"/>
                  <a:pt x="16" y="12"/>
                  <a:pt x="16" y="12"/>
                </a:cubicBezTo>
                <a:cubicBezTo>
                  <a:pt x="16" y="12"/>
                  <a:pt x="17" y="12"/>
                  <a:pt x="17" y="13"/>
                </a:cubicBezTo>
                <a:cubicBezTo>
                  <a:pt x="17" y="12"/>
                  <a:pt x="17" y="12"/>
                  <a:pt x="17" y="12"/>
                </a:cubicBezTo>
                <a:cubicBezTo>
                  <a:pt x="17" y="11"/>
                  <a:pt x="18" y="10"/>
                  <a:pt x="18" y="10"/>
                </a:cubicBezTo>
                <a:cubicBezTo>
                  <a:pt x="19" y="10"/>
                  <a:pt x="20" y="10"/>
                  <a:pt x="20" y="9"/>
                </a:cubicBezTo>
                <a:cubicBezTo>
                  <a:pt x="20" y="8"/>
                  <a:pt x="20" y="8"/>
                  <a:pt x="20" y="8"/>
                </a:cubicBezTo>
                <a:cubicBezTo>
                  <a:pt x="19" y="8"/>
                  <a:pt x="19" y="8"/>
                  <a:pt x="19" y="8"/>
                </a:cubicBezTo>
                <a:cubicBezTo>
                  <a:pt x="18" y="8"/>
                  <a:pt x="18" y="8"/>
                  <a:pt x="18"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13"/>
          <p:cNvSpPr>
            <a:spLocks/>
          </p:cNvSpPr>
          <p:nvPr/>
        </p:nvSpPr>
        <p:spPr bwMode="auto">
          <a:xfrm>
            <a:off x="2480379" y="2710549"/>
            <a:ext cx="35748" cy="42898"/>
          </a:xfrm>
          <a:custGeom>
            <a:avLst/>
            <a:gdLst>
              <a:gd name="T0" fmla="*/ 5 w 7"/>
              <a:gd name="T1" fmla="*/ 2 h 9"/>
              <a:gd name="T2" fmla="*/ 4 w 7"/>
              <a:gd name="T3" fmla="*/ 1 h 9"/>
              <a:gd name="T4" fmla="*/ 2 w 7"/>
              <a:gd name="T5" fmla="*/ 0 h 9"/>
              <a:gd name="T6" fmla="*/ 0 w 7"/>
              <a:gd name="T7" fmla="*/ 1 h 9"/>
              <a:gd name="T8" fmla="*/ 2 w 7"/>
              <a:gd name="T9" fmla="*/ 3 h 9"/>
              <a:gd name="T10" fmla="*/ 3 w 7"/>
              <a:gd name="T11" fmla="*/ 6 h 9"/>
              <a:gd name="T12" fmla="*/ 4 w 7"/>
              <a:gd name="T13" fmla="*/ 9 h 9"/>
              <a:gd name="T14" fmla="*/ 5 w 7"/>
              <a:gd name="T15" fmla="*/ 7 h 9"/>
              <a:gd name="T16" fmla="*/ 6 w 7"/>
              <a:gd name="T17" fmla="*/ 6 h 9"/>
              <a:gd name="T18" fmla="*/ 7 w 7"/>
              <a:gd name="T19" fmla="*/ 6 h 9"/>
              <a:gd name="T20" fmla="*/ 7 w 7"/>
              <a:gd name="T21" fmla="*/ 5 h 9"/>
              <a:gd name="T22" fmla="*/ 5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5" y="2"/>
                </a:moveTo>
                <a:cubicBezTo>
                  <a:pt x="5" y="2"/>
                  <a:pt x="4" y="1"/>
                  <a:pt x="4" y="1"/>
                </a:cubicBezTo>
                <a:cubicBezTo>
                  <a:pt x="3" y="1"/>
                  <a:pt x="3" y="0"/>
                  <a:pt x="2" y="0"/>
                </a:cubicBezTo>
                <a:cubicBezTo>
                  <a:pt x="2" y="0"/>
                  <a:pt x="1" y="1"/>
                  <a:pt x="0" y="1"/>
                </a:cubicBezTo>
                <a:cubicBezTo>
                  <a:pt x="1" y="2"/>
                  <a:pt x="2" y="3"/>
                  <a:pt x="2" y="3"/>
                </a:cubicBezTo>
                <a:cubicBezTo>
                  <a:pt x="3" y="4"/>
                  <a:pt x="4" y="6"/>
                  <a:pt x="3" y="6"/>
                </a:cubicBezTo>
                <a:cubicBezTo>
                  <a:pt x="3" y="7"/>
                  <a:pt x="3" y="8"/>
                  <a:pt x="4" y="9"/>
                </a:cubicBezTo>
                <a:cubicBezTo>
                  <a:pt x="4" y="8"/>
                  <a:pt x="5" y="7"/>
                  <a:pt x="5" y="7"/>
                </a:cubicBezTo>
                <a:cubicBezTo>
                  <a:pt x="5" y="6"/>
                  <a:pt x="5" y="6"/>
                  <a:pt x="6" y="6"/>
                </a:cubicBezTo>
                <a:cubicBezTo>
                  <a:pt x="7" y="6"/>
                  <a:pt x="7" y="6"/>
                  <a:pt x="7" y="6"/>
                </a:cubicBezTo>
                <a:cubicBezTo>
                  <a:pt x="7" y="6"/>
                  <a:pt x="7" y="5"/>
                  <a:pt x="7" y="5"/>
                </a:cubicBezTo>
                <a:cubicBezTo>
                  <a:pt x="6" y="4"/>
                  <a:pt x="6" y="3"/>
                  <a:pt x="5"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314"/>
          <p:cNvSpPr>
            <a:spLocks/>
          </p:cNvSpPr>
          <p:nvPr/>
        </p:nvSpPr>
        <p:spPr bwMode="auto">
          <a:xfrm>
            <a:off x="2433906" y="2767746"/>
            <a:ext cx="64347" cy="39323"/>
          </a:xfrm>
          <a:custGeom>
            <a:avLst/>
            <a:gdLst>
              <a:gd name="T0" fmla="*/ 11 w 14"/>
              <a:gd name="T1" fmla="*/ 1 h 8"/>
              <a:gd name="T2" fmla="*/ 9 w 14"/>
              <a:gd name="T3" fmla="*/ 1 h 8"/>
              <a:gd name="T4" fmla="*/ 7 w 14"/>
              <a:gd name="T5" fmla="*/ 2 h 8"/>
              <a:gd name="T6" fmla="*/ 5 w 14"/>
              <a:gd name="T7" fmla="*/ 2 h 8"/>
              <a:gd name="T8" fmla="*/ 2 w 14"/>
              <a:gd name="T9" fmla="*/ 1 h 8"/>
              <a:gd name="T10" fmla="*/ 1 w 14"/>
              <a:gd name="T11" fmla="*/ 0 h 8"/>
              <a:gd name="T12" fmla="*/ 1 w 14"/>
              <a:gd name="T13" fmla="*/ 1 h 8"/>
              <a:gd name="T14" fmla="*/ 1 w 14"/>
              <a:gd name="T15" fmla="*/ 2 h 8"/>
              <a:gd name="T16" fmla="*/ 2 w 14"/>
              <a:gd name="T17" fmla="*/ 4 h 8"/>
              <a:gd name="T18" fmla="*/ 1 w 14"/>
              <a:gd name="T19" fmla="*/ 5 h 8"/>
              <a:gd name="T20" fmla="*/ 1 w 14"/>
              <a:gd name="T21" fmla="*/ 6 h 8"/>
              <a:gd name="T22" fmla="*/ 2 w 14"/>
              <a:gd name="T23" fmla="*/ 7 h 8"/>
              <a:gd name="T24" fmla="*/ 2 w 14"/>
              <a:gd name="T25" fmla="*/ 8 h 8"/>
              <a:gd name="T26" fmla="*/ 5 w 14"/>
              <a:gd name="T27" fmla="*/ 8 h 8"/>
              <a:gd name="T28" fmla="*/ 8 w 14"/>
              <a:gd name="T29" fmla="*/ 8 h 8"/>
              <a:gd name="T30" fmla="*/ 9 w 14"/>
              <a:gd name="T31" fmla="*/ 8 h 8"/>
              <a:gd name="T32" fmla="*/ 10 w 14"/>
              <a:gd name="T33" fmla="*/ 7 h 8"/>
              <a:gd name="T34" fmla="*/ 10 w 14"/>
              <a:gd name="T35" fmla="*/ 6 h 8"/>
              <a:gd name="T36" fmla="*/ 12 w 14"/>
              <a:gd name="T37" fmla="*/ 6 h 8"/>
              <a:gd name="T38" fmla="*/ 13 w 14"/>
              <a:gd name="T39" fmla="*/ 6 h 8"/>
              <a:gd name="T40" fmla="*/ 13 w 14"/>
              <a:gd name="T41" fmla="*/ 6 h 8"/>
              <a:gd name="T42" fmla="*/ 12 w 14"/>
              <a:gd name="T43" fmla="*/ 4 h 8"/>
              <a:gd name="T44" fmla="*/ 14 w 14"/>
              <a:gd name="T45" fmla="*/ 2 h 8"/>
              <a:gd name="T46" fmla="*/ 14 w 14"/>
              <a:gd name="T47" fmla="*/ 2 h 8"/>
              <a:gd name="T48" fmla="*/ 13 w 14"/>
              <a:gd name="T49" fmla="*/ 1 h 8"/>
              <a:gd name="T50" fmla="*/ 11 w 14"/>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8">
                <a:moveTo>
                  <a:pt x="11" y="1"/>
                </a:moveTo>
                <a:cubicBezTo>
                  <a:pt x="11" y="0"/>
                  <a:pt x="9" y="1"/>
                  <a:pt x="9" y="1"/>
                </a:cubicBezTo>
                <a:cubicBezTo>
                  <a:pt x="8" y="1"/>
                  <a:pt x="8" y="2"/>
                  <a:pt x="7" y="2"/>
                </a:cubicBezTo>
                <a:cubicBezTo>
                  <a:pt x="6" y="2"/>
                  <a:pt x="5" y="2"/>
                  <a:pt x="5" y="2"/>
                </a:cubicBezTo>
                <a:cubicBezTo>
                  <a:pt x="4" y="2"/>
                  <a:pt x="3" y="1"/>
                  <a:pt x="2" y="1"/>
                </a:cubicBezTo>
                <a:cubicBezTo>
                  <a:pt x="2" y="1"/>
                  <a:pt x="2" y="1"/>
                  <a:pt x="1" y="0"/>
                </a:cubicBezTo>
                <a:cubicBezTo>
                  <a:pt x="1" y="1"/>
                  <a:pt x="1" y="1"/>
                  <a:pt x="1" y="1"/>
                </a:cubicBezTo>
                <a:cubicBezTo>
                  <a:pt x="0" y="1"/>
                  <a:pt x="0" y="2"/>
                  <a:pt x="1" y="2"/>
                </a:cubicBezTo>
                <a:cubicBezTo>
                  <a:pt x="1" y="3"/>
                  <a:pt x="2" y="4"/>
                  <a:pt x="2" y="4"/>
                </a:cubicBezTo>
                <a:cubicBezTo>
                  <a:pt x="1" y="4"/>
                  <a:pt x="1" y="4"/>
                  <a:pt x="1" y="5"/>
                </a:cubicBezTo>
                <a:cubicBezTo>
                  <a:pt x="1" y="5"/>
                  <a:pt x="1" y="5"/>
                  <a:pt x="1" y="6"/>
                </a:cubicBezTo>
                <a:cubicBezTo>
                  <a:pt x="1" y="6"/>
                  <a:pt x="2" y="7"/>
                  <a:pt x="2" y="7"/>
                </a:cubicBezTo>
                <a:cubicBezTo>
                  <a:pt x="2" y="7"/>
                  <a:pt x="2" y="7"/>
                  <a:pt x="2" y="8"/>
                </a:cubicBezTo>
                <a:cubicBezTo>
                  <a:pt x="3" y="8"/>
                  <a:pt x="5" y="7"/>
                  <a:pt x="5" y="8"/>
                </a:cubicBezTo>
                <a:cubicBezTo>
                  <a:pt x="6" y="8"/>
                  <a:pt x="8" y="8"/>
                  <a:pt x="8" y="8"/>
                </a:cubicBezTo>
                <a:cubicBezTo>
                  <a:pt x="8" y="8"/>
                  <a:pt x="9" y="8"/>
                  <a:pt x="9" y="8"/>
                </a:cubicBezTo>
                <a:cubicBezTo>
                  <a:pt x="9" y="7"/>
                  <a:pt x="9" y="7"/>
                  <a:pt x="10" y="7"/>
                </a:cubicBezTo>
                <a:cubicBezTo>
                  <a:pt x="10" y="7"/>
                  <a:pt x="10" y="6"/>
                  <a:pt x="10" y="6"/>
                </a:cubicBezTo>
                <a:cubicBezTo>
                  <a:pt x="10" y="6"/>
                  <a:pt x="11" y="6"/>
                  <a:pt x="12" y="6"/>
                </a:cubicBezTo>
                <a:cubicBezTo>
                  <a:pt x="12" y="7"/>
                  <a:pt x="13" y="6"/>
                  <a:pt x="13" y="6"/>
                </a:cubicBezTo>
                <a:cubicBezTo>
                  <a:pt x="13" y="6"/>
                  <a:pt x="13" y="6"/>
                  <a:pt x="13" y="6"/>
                </a:cubicBezTo>
                <a:cubicBezTo>
                  <a:pt x="12" y="6"/>
                  <a:pt x="12" y="4"/>
                  <a:pt x="12" y="4"/>
                </a:cubicBezTo>
                <a:cubicBezTo>
                  <a:pt x="13" y="4"/>
                  <a:pt x="13" y="2"/>
                  <a:pt x="14" y="2"/>
                </a:cubicBezTo>
                <a:cubicBezTo>
                  <a:pt x="14" y="2"/>
                  <a:pt x="14" y="2"/>
                  <a:pt x="14" y="2"/>
                </a:cubicBezTo>
                <a:cubicBezTo>
                  <a:pt x="14" y="1"/>
                  <a:pt x="13" y="1"/>
                  <a:pt x="13" y="1"/>
                </a:cubicBezTo>
                <a:cubicBezTo>
                  <a:pt x="13" y="1"/>
                  <a:pt x="12" y="1"/>
                  <a:pt x="1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315"/>
          <p:cNvSpPr>
            <a:spLocks/>
          </p:cNvSpPr>
          <p:nvPr/>
        </p:nvSpPr>
        <p:spPr bwMode="auto">
          <a:xfrm>
            <a:off x="2412457" y="2792770"/>
            <a:ext cx="28599" cy="17874"/>
          </a:xfrm>
          <a:custGeom>
            <a:avLst/>
            <a:gdLst>
              <a:gd name="T0" fmla="*/ 2 w 6"/>
              <a:gd name="T1" fmla="*/ 4 h 4"/>
              <a:gd name="T2" fmla="*/ 2 w 6"/>
              <a:gd name="T3" fmla="*/ 4 h 4"/>
              <a:gd name="T4" fmla="*/ 2 w 6"/>
              <a:gd name="T5" fmla="*/ 4 h 4"/>
              <a:gd name="T6" fmla="*/ 2 w 6"/>
              <a:gd name="T7" fmla="*/ 4 h 4"/>
              <a:gd name="T8" fmla="*/ 2 w 6"/>
              <a:gd name="T9" fmla="*/ 4 h 4"/>
              <a:gd name="T10" fmla="*/ 2 w 6"/>
              <a:gd name="T11" fmla="*/ 4 h 4"/>
              <a:gd name="T12" fmla="*/ 3 w 6"/>
              <a:gd name="T13" fmla="*/ 4 h 4"/>
              <a:gd name="T14" fmla="*/ 3 w 6"/>
              <a:gd name="T15" fmla="*/ 4 h 4"/>
              <a:gd name="T16" fmla="*/ 3 w 6"/>
              <a:gd name="T17" fmla="*/ 4 h 4"/>
              <a:gd name="T18" fmla="*/ 3 w 6"/>
              <a:gd name="T19" fmla="*/ 4 h 4"/>
              <a:gd name="T20" fmla="*/ 3 w 6"/>
              <a:gd name="T21" fmla="*/ 4 h 4"/>
              <a:gd name="T22" fmla="*/ 4 w 6"/>
              <a:gd name="T23" fmla="*/ 4 h 4"/>
              <a:gd name="T24" fmla="*/ 6 w 6"/>
              <a:gd name="T25" fmla="*/ 3 h 4"/>
              <a:gd name="T26" fmla="*/ 6 w 6"/>
              <a:gd name="T27" fmla="*/ 3 h 4"/>
              <a:gd name="T28" fmla="*/ 6 w 6"/>
              <a:gd name="T29" fmla="*/ 2 h 4"/>
              <a:gd name="T30" fmla="*/ 5 w 6"/>
              <a:gd name="T31" fmla="*/ 1 h 4"/>
              <a:gd name="T32" fmla="*/ 5 w 6"/>
              <a:gd name="T33" fmla="*/ 0 h 4"/>
              <a:gd name="T34" fmla="*/ 5 w 6"/>
              <a:gd name="T35" fmla="*/ 0 h 4"/>
              <a:gd name="T36" fmla="*/ 5 w 6"/>
              <a:gd name="T37" fmla="*/ 0 h 4"/>
              <a:gd name="T38" fmla="*/ 1 w 6"/>
              <a:gd name="T39" fmla="*/ 1 h 4"/>
              <a:gd name="T40" fmla="*/ 1 w 6"/>
              <a:gd name="T41" fmla="*/ 1 h 4"/>
              <a:gd name="T42" fmla="*/ 1 w 6"/>
              <a:gd name="T43" fmla="*/ 3 h 4"/>
              <a:gd name="T44" fmla="*/ 2 w 6"/>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4">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3" y="4"/>
                  <a:pt x="3" y="4"/>
                </a:cubicBezTo>
                <a:cubicBezTo>
                  <a:pt x="4" y="4"/>
                  <a:pt x="4" y="4"/>
                  <a:pt x="4" y="4"/>
                </a:cubicBezTo>
                <a:cubicBezTo>
                  <a:pt x="5" y="4"/>
                  <a:pt x="6" y="3"/>
                  <a:pt x="6" y="3"/>
                </a:cubicBezTo>
                <a:cubicBezTo>
                  <a:pt x="6" y="3"/>
                  <a:pt x="6" y="3"/>
                  <a:pt x="6" y="3"/>
                </a:cubicBezTo>
                <a:cubicBezTo>
                  <a:pt x="6" y="2"/>
                  <a:pt x="6" y="2"/>
                  <a:pt x="6" y="2"/>
                </a:cubicBezTo>
                <a:cubicBezTo>
                  <a:pt x="6" y="2"/>
                  <a:pt x="5" y="1"/>
                  <a:pt x="5" y="1"/>
                </a:cubicBezTo>
                <a:cubicBezTo>
                  <a:pt x="5" y="1"/>
                  <a:pt x="5" y="1"/>
                  <a:pt x="5" y="0"/>
                </a:cubicBezTo>
                <a:cubicBezTo>
                  <a:pt x="5" y="0"/>
                  <a:pt x="5" y="0"/>
                  <a:pt x="5" y="0"/>
                </a:cubicBezTo>
                <a:cubicBezTo>
                  <a:pt x="5" y="0"/>
                  <a:pt x="5" y="0"/>
                  <a:pt x="5" y="0"/>
                </a:cubicBezTo>
                <a:cubicBezTo>
                  <a:pt x="3" y="0"/>
                  <a:pt x="1" y="1"/>
                  <a:pt x="1" y="1"/>
                </a:cubicBezTo>
                <a:cubicBezTo>
                  <a:pt x="1" y="1"/>
                  <a:pt x="1" y="1"/>
                  <a:pt x="1" y="1"/>
                </a:cubicBezTo>
                <a:cubicBezTo>
                  <a:pt x="1" y="2"/>
                  <a:pt x="0" y="3"/>
                  <a:pt x="1" y="3"/>
                </a:cubicBezTo>
                <a:cubicBezTo>
                  <a:pt x="1" y="4"/>
                  <a:pt x="1"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16"/>
          <p:cNvSpPr>
            <a:spLocks/>
          </p:cNvSpPr>
          <p:nvPr/>
        </p:nvSpPr>
        <p:spPr bwMode="auto">
          <a:xfrm>
            <a:off x="2433906" y="2656926"/>
            <a:ext cx="193042" cy="110820"/>
          </a:xfrm>
          <a:custGeom>
            <a:avLst/>
            <a:gdLst>
              <a:gd name="T0" fmla="*/ 37 w 40"/>
              <a:gd name="T1" fmla="*/ 13 h 23"/>
              <a:gd name="T2" fmla="*/ 39 w 40"/>
              <a:gd name="T3" fmla="*/ 12 h 23"/>
              <a:gd name="T4" fmla="*/ 40 w 40"/>
              <a:gd name="T5" fmla="*/ 10 h 23"/>
              <a:gd name="T6" fmla="*/ 40 w 40"/>
              <a:gd name="T7" fmla="*/ 9 h 23"/>
              <a:gd name="T8" fmla="*/ 37 w 40"/>
              <a:gd name="T9" fmla="*/ 8 h 23"/>
              <a:gd name="T10" fmla="*/ 34 w 40"/>
              <a:gd name="T11" fmla="*/ 6 h 23"/>
              <a:gd name="T12" fmla="*/ 31 w 40"/>
              <a:gd name="T13" fmla="*/ 6 h 23"/>
              <a:gd name="T14" fmla="*/ 30 w 40"/>
              <a:gd name="T15" fmla="*/ 5 h 23"/>
              <a:gd name="T16" fmla="*/ 27 w 40"/>
              <a:gd name="T17" fmla="*/ 3 h 23"/>
              <a:gd name="T18" fmla="*/ 26 w 40"/>
              <a:gd name="T19" fmla="*/ 0 h 23"/>
              <a:gd name="T20" fmla="*/ 23 w 40"/>
              <a:gd name="T21" fmla="*/ 0 h 23"/>
              <a:gd name="T22" fmla="*/ 21 w 40"/>
              <a:gd name="T23" fmla="*/ 0 h 23"/>
              <a:gd name="T24" fmla="*/ 18 w 40"/>
              <a:gd name="T25" fmla="*/ 2 h 23"/>
              <a:gd name="T26" fmla="*/ 16 w 40"/>
              <a:gd name="T27" fmla="*/ 3 h 23"/>
              <a:gd name="T28" fmla="*/ 13 w 40"/>
              <a:gd name="T29" fmla="*/ 2 h 23"/>
              <a:gd name="T30" fmla="*/ 10 w 40"/>
              <a:gd name="T31" fmla="*/ 2 h 23"/>
              <a:gd name="T32" fmla="*/ 4 w 40"/>
              <a:gd name="T33" fmla="*/ 2 h 23"/>
              <a:gd name="T34" fmla="*/ 3 w 40"/>
              <a:gd name="T35" fmla="*/ 3 h 23"/>
              <a:gd name="T36" fmla="*/ 3 w 40"/>
              <a:gd name="T37" fmla="*/ 6 h 23"/>
              <a:gd name="T38" fmla="*/ 1 w 40"/>
              <a:gd name="T39" fmla="*/ 10 h 23"/>
              <a:gd name="T40" fmla="*/ 1 w 40"/>
              <a:gd name="T41" fmla="*/ 12 h 23"/>
              <a:gd name="T42" fmla="*/ 3 w 40"/>
              <a:gd name="T43" fmla="*/ 12 h 23"/>
              <a:gd name="T44" fmla="*/ 6 w 40"/>
              <a:gd name="T45" fmla="*/ 13 h 23"/>
              <a:gd name="T46" fmla="*/ 8 w 40"/>
              <a:gd name="T47" fmla="*/ 13 h 23"/>
              <a:gd name="T48" fmla="*/ 12 w 40"/>
              <a:gd name="T49" fmla="*/ 11 h 23"/>
              <a:gd name="T50" fmla="*/ 15 w 40"/>
              <a:gd name="T51" fmla="*/ 13 h 23"/>
              <a:gd name="T52" fmla="*/ 17 w 40"/>
              <a:gd name="T53" fmla="*/ 17 h 23"/>
              <a:gd name="T54" fmla="*/ 15 w 40"/>
              <a:gd name="T55" fmla="*/ 18 h 23"/>
              <a:gd name="T56" fmla="*/ 15 w 40"/>
              <a:gd name="T57" fmla="*/ 20 h 23"/>
              <a:gd name="T58" fmla="*/ 17 w 40"/>
              <a:gd name="T59" fmla="*/ 20 h 23"/>
              <a:gd name="T60" fmla="*/ 19 w 40"/>
              <a:gd name="T61" fmla="*/ 17 h 23"/>
              <a:gd name="T62" fmla="*/ 22 w 40"/>
              <a:gd name="T63" fmla="*/ 18 h 23"/>
              <a:gd name="T64" fmla="*/ 23 w 40"/>
              <a:gd name="T65" fmla="*/ 20 h 23"/>
              <a:gd name="T66" fmla="*/ 25 w 40"/>
              <a:gd name="T67" fmla="*/ 22 h 23"/>
              <a:gd name="T68" fmla="*/ 29 w 40"/>
              <a:gd name="T69" fmla="*/ 21 h 23"/>
              <a:gd name="T70" fmla="*/ 30 w 40"/>
              <a:gd name="T71" fmla="*/ 20 h 23"/>
              <a:gd name="T72" fmla="*/ 31 w 40"/>
              <a:gd name="T73" fmla="*/ 17 h 23"/>
              <a:gd name="T74" fmla="*/ 35 w 40"/>
              <a:gd name="T7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3">
                <a:moveTo>
                  <a:pt x="35" y="14"/>
                </a:moveTo>
                <a:cubicBezTo>
                  <a:pt x="36" y="14"/>
                  <a:pt x="37" y="13"/>
                  <a:pt x="37" y="13"/>
                </a:cubicBezTo>
                <a:cubicBezTo>
                  <a:pt x="37" y="13"/>
                  <a:pt x="39" y="13"/>
                  <a:pt x="39" y="13"/>
                </a:cubicBezTo>
                <a:cubicBezTo>
                  <a:pt x="39" y="13"/>
                  <a:pt x="39" y="12"/>
                  <a:pt x="39" y="12"/>
                </a:cubicBezTo>
                <a:cubicBezTo>
                  <a:pt x="39" y="11"/>
                  <a:pt x="39" y="11"/>
                  <a:pt x="39" y="11"/>
                </a:cubicBezTo>
                <a:cubicBezTo>
                  <a:pt x="39" y="11"/>
                  <a:pt x="40" y="11"/>
                  <a:pt x="40" y="10"/>
                </a:cubicBezTo>
                <a:cubicBezTo>
                  <a:pt x="40" y="10"/>
                  <a:pt x="39" y="10"/>
                  <a:pt x="39" y="10"/>
                </a:cubicBezTo>
                <a:cubicBezTo>
                  <a:pt x="39" y="10"/>
                  <a:pt x="40" y="9"/>
                  <a:pt x="40" y="9"/>
                </a:cubicBezTo>
                <a:cubicBezTo>
                  <a:pt x="40" y="8"/>
                  <a:pt x="39" y="8"/>
                  <a:pt x="38" y="8"/>
                </a:cubicBezTo>
                <a:cubicBezTo>
                  <a:pt x="38" y="8"/>
                  <a:pt x="37" y="8"/>
                  <a:pt x="37" y="8"/>
                </a:cubicBezTo>
                <a:cubicBezTo>
                  <a:pt x="36" y="7"/>
                  <a:pt x="35" y="7"/>
                  <a:pt x="35" y="7"/>
                </a:cubicBezTo>
                <a:cubicBezTo>
                  <a:pt x="35" y="7"/>
                  <a:pt x="34" y="6"/>
                  <a:pt x="34" y="6"/>
                </a:cubicBezTo>
                <a:cubicBezTo>
                  <a:pt x="34" y="6"/>
                  <a:pt x="33" y="6"/>
                  <a:pt x="33" y="6"/>
                </a:cubicBezTo>
                <a:cubicBezTo>
                  <a:pt x="32" y="6"/>
                  <a:pt x="32" y="6"/>
                  <a:pt x="31" y="6"/>
                </a:cubicBezTo>
                <a:cubicBezTo>
                  <a:pt x="31" y="6"/>
                  <a:pt x="31" y="6"/>
                  <a:pt x="30" y="6"/>
                </a:cubicBezTo>
                <a:cubicBezTo>
                  <a:pt x="30" y="6"/>
                  <a:pt x="29" y="6"/>
                  <a:pt x="30" y="5"/>
                </a:cubicBezTo>
                <a:cubicBezTo>
                  <a:pt x="30" y="5"/>
                  <a:pt x="29" y="4"/>
                  <a:pt x="29" y="4"/>
                </a:cubicBezTo>
                <a:cubicBezTo>
                  <a:pt x="28" y="3"/>
                  <a:pt x="27" y="4"/>
                  <a:pt x="27" y="3"/>
                </a:cubicBezTo>
                <a:cubicBezTo>
                  <a:pt x="27" y="3"/>
                  <a:pt x="26" y="2"/>
                  <a:pt x="26" y="2"/>
                </a:cubicBezTo>
                <a:cubicBezTo>
                  <a:pt x="27" y="2"/>
                  <a:pt x="26" y="1"/>
                  <a:pt x="26" y="0"/>
                </a:cubicBezTo>
                <a:cubicBezTo>
                  <a:pt x="26" y="0"/>
                  <a:pt x="25" y="0"/>
                  <a:pt x="24" y="0"/>
                </a:cubicBezTo>
                <a:cubicBezTo>
                  <a:pt x="24" y="0"/>
                  <a:pt x="23" y="0"/>
                  <a:pt x="23" y="0"/>
                </a:cubicBezTo>
                <a:cubicBezTo>
                  <a:pt x="23" y="0"/>
                  <a:pt x="22" y="1"/>
                  <a:pt x="22" y="1"/>
                </a:cubicBezTo>
                <a:cubicBezTo>
                  <a:pt x="22" y="1"/>
                  <a:pt x="21" y="1"/>
                  <a:pt x="21" y="0"/>
                </a:cubicBezTo>
                <a:cubicBezTo>
                  <a:pt x="21" y="1"/>
                  <a:pt x="20" y="1"/>
                  <a:pt x="20" y="1"/>
                </a:cubicBezTo>
                <a:cubicBezTo>
                  <a:pt x="20" y="1"/>
                  <a:pt x="18" y="2"/>
                  <a:pt x="18" y="2"/>
                </a:cubicBezTo>
                <a:cubicBezTo>
                  <a:pt x="18" y="3"/>
                  <a:pt x="18" y="3"/>
                  <a:pt x="18" y="3"/>
                </a:cubicBezTo>
                <a:cubicBezTo>
                  <a:pt x="18" y="3"/>
                  <a:pt x="16" y="3"/>
                  <a:pt x="16" y="3"/>
                </a:cubicBezTo>
                <a:cubicBezTo>
                  <a:pt x="16" y="3"/>
                  <a:pt x="15" y="2"/>
                  <a:pt x="15" y="2"/>
                </a:cubicBezTo>
                <a:cubicBezTo>
                  <a:pt x="14" y="3"/>
                  <a:pt x="13" y="2"/>
                  <a:pt x="13" y="2"/>
                </a:cubicBezTo>
                <a:cubicBezTo>
                  <a:pt x="13" y="2"/>
                  <a:pt x="12" y="2"/>
                  <a:pt x="12" y="2"/>
                </a:cubicBezTo>
                <a:cubicBezTo>
                  <a:pt x="11" y="2"/>
                  <a:pt x="10" y="2"/>
                  <a:pt x="10" y="2"/>
                </a:cubicBezTo>
                <a:cubicBezTo>
                  <a:pt x="9" y="1"/>
                  <a:pt x="7" y="1"/>
                  <a:pt x="6" y="1"/>
                </a:cubicBezTo>
                <a:cubicBezTo>
                  <a:pt x="5" y="1"/>
                  <a:pt x="5" y="2"/>
                  <a:pt x="4" y="2"/>
                </a:cubicBezTo>
                <a:cubicBezTo>
                  <a:pt x="4" y="2"/>
                  <a:pt x="4" y="2"/>
                  <a:pt x="3" y="2"/>
                </a:cubicBezTo>
                <a:cubicBezTo>
                  <a:pt x="3" y="3"/>
                  <a:pt x="3" y="3"/>
                  <a:pt x="3" y="3"/>
                </a:cubicBezTo>
                <a:cubicBezTo>
                  <a:pt x="4" y="3"/>
                  <a:pt x="5" y="5"/>
                  <a:pt x="4" y="5"/>
                </a:cubicBezTo>
                <a:cubicBezTo>
                  <a:pt x="4" y="6"/>
                  <a:pt x="4" y="6"/>
                  <a:pt x="3" y="6"/>
                </a:cubicBezTo>
                <a:cubicBezTo>
                  <a:pt x="3" y="6"/>
                  <a:pt x="1" y="8"/>
                  <a:pt x="1" y="8"/>
                </a:cubicBezTo>
                <a:cubicBezTo>
                  <a:pt x="1" y="8"/>
                  <a:pt x="2" y="9"/>
                  <a:pt x="1" y="10"/>
                </a:cubicBezTo>
                <a:cubicBezTo>
                  <a:pt x="1" y="10"/>
                  <a:pt x="0" y="11"/>
                  <a:pt x="0" y="11"/>
                </a:cubicBezTo>
                <a:cubicBezTo>
                  <a:pt x="0" y="12"/>
                  <a:pt x="1" y="12"/>
                  <a:pt x="1" y="12"/>
                </a:cubicBezTo>
                <a:cubicBezTo>
                  <a:pt x="2" y="12"/>
                  <a:pt x="2" y="12"/>
                  <a:pt x="2" y="13"/>
                </a:cubicBezTo>
                <a:cubicBezTo>
                  <a:pt x="2" y="13"/>
                  <a:pt x="2" y="12"/>
                  <a:pt x="3" y="12"/>
                </a:cubicBezTo>
                <a:cubicBezTo>
                  <a:pt x="3" y="12"/>
                  <a:pt x="4" y="13"/>
                  <a:pt x="5" y="13"/>
                </a:cubicBezTo>
                <a:cubicBezTo>
                  <a:pt x="5" y="13"/>
                  <a:pt x="6" y="13"/>
                  <a:pt x="6" y="13"/>
                </a:cubicBezTo>
                <a:cubicBezTo>
                  <a:pt x="6" y="13"/>
                  <a:pt x="7" y="13"/>
                  <a:pt x="7" y="13"/>
                </a:cubicBezTo>
                <a:cubicBezTo>
                  <a:pt x="7" y="13"/>
                  <a:pt x="8" y="13"/>
                  <a:pt x="8" y="13"/>
                </a:cubicBezTo>
                <a:cubicBezTo>
                  <a:pt x="9" y="13"/>
                  <a:pt x="9" y="13"/>
                  <a:pt x="9" y="12"/>
                </a:cubicBezTo>
                <a:cubicBezTo>
                  <a:pt x="10" y="12"/>
                  <a:pt x="12" y="11"/>
                  <a:pt x="12" y="11"/>
                </a:cubicBezTo>
                <a:cubicBezTo>
                  <a:pt x="13" y="11"/>
                  <a:pt x="13" y="12"/>
                  <a:pt x="14" y="12"/>
                </a:cubicBezTo>
                <a:cubicBezTo>
                  <a:pt x="14" y="12"/>
                  <a:pt x="15" y="13"/>
                  <a:pt x="15" y="13"/>
                </a:cubicBezTo>
                <a:cubicBezTo>
                  <a:pt x="16" y="14"/>
                  <a:pt x="16" y="15"/>
                  <a:pt x="17" y="16"/>
                </a:cubicBezTo>
                <a:cubicBezTo>
                  <a:pt x="17" y="16"/>
                  <a:pt x="17" y="17"/>
                  <a:pt x="17" y="17"/>
                </a:cubicBezTo>
                <a:cubicBezTo>
                  <a:pt x="17" y="17"/>
                  <a:pt x="17" y="17"/>
                  <a:pt x="16" y="17"/>
                </a:cubicBezTo>
                <a:cubicBezTo>
                  <a:pt x="15" y="17"/>
                  <a:pt x="15" y="17"/>
                  <a:pt x="15" y="18"/>
                </a:cubicBezTo>
                <a:cubicBezTo>
                  <a:pt x="15" y="18"/>
                  <a:pt x="14" y="20"/>
                  <a:pt x="14" y="20"/>
                </a:cubicBezTo>
                <a:cubicBezTo>
                  <a:pt x="13" y="20"/>
                  <a:pt x="14" y="20"/>
                  <a:pt x="15" y="20"/>
                </a:cubicBezTo>
                <a:cubicBezTo>
                  <a:pt x="15" y="20"/>
                  <a:pt x="15" y="20"/>
                  <a:pt x="16" y="20"/>
                </a:cubicBezTo>
                <a:cubicBezTo>
                  <a:pt x="16" y="20"/>
                  <a:pt x="16" y="20"/>
                  <a:pt x="17" y="20"/>
                </a:cubicBezTo>
                <a:cubicBezTo>
                  <a:pt x="16" y="19"/>
                  <a:pt x="17" y="19"/>
                  <a:pt x="18" y="19"/>
                </a:cubicBezTo>
                <a:cubicBezTo>
                  <a:pt x="19" y="18"/>
                  <a:pt x="19" y="17"/>
                  <a:pt x="19" y="17"/>
                </a:cubicBezTo>
                <a:cubicBezTo>
                  <a:pt x="20" y="16"/>
                  <a:pt x="21" y="16"/>
                  <a:pt x="22" y="16"/>
                </a:cubicBezTo>
                <a:cubicBezTo>
                  <a:pt x="23" y="16"/>
                  <a:pt x="21" y="17"/>
                  <a:pt x="22" y="18"/>
                </a:cubicBezTo>
                <a:cubicBezTo>
                  <a:pt x="23" y="18"/>
                  <a:pt x="26" y="17"/>
                  <a:pt x="26" y="18"/>
                </a:cubicBezTo>
                <a:cubicBezTo>
                  <a:pt x="26" y="19"/>
                  <a:pt x="23" y="19"/>
                  <a:pt x="23" y="20"/>
                </a:cubicBezTo>
                <a:cubicBezTo>
                  <a:pt x="23" y="20"/>
                  <a:pt x="24" y="20"/>
                  <a:pt x="25" y="21"/>
                </a:cubicBezTo>
                <a:cubicBezTo>
                  <a:pt x="26" y="21"/>
                  <a:pt x="25" y="22"/>
                  <a:pt x="25" y="22"/>
                </a:cubicBezTo>
                <a:cubicBezTo>
                  <a:pt x="25" y="23"/>
                  <a:pt x="26" y="23"/>
                  <a:pt x="27" y="22"/>
                </a:cubicBezTo>
                <a:cubicBezTo>
                  <a:pt x="28" y="22"/>
                  <a:pt x="28" y="22"/>
                  <a:pt x="29" y="21"/>
                </a:cubicBezTo>
                <a:cubicBezTo>
                  <a:pt x="30" y="21"/>
                  <a:pt x="32" y="21"/>
                  <a:pt x="32" y="21"/>
                </a:cubicBezTo>
                <a:cubicBezTo>
                  <a:pt x="32" y="20"/>
                  <a:pt x="31" y="20"/>
                  <a:pt x="30" y="20"/>
                </a:cubicBezTo>
                <a:cubicBezTo>
                  <a:pt x="28" y="20"/>
                  <a:pt x="28" y="19"/>
                  <a:pt x="28" y="18"/>
                </a:cubicBezTo>
                <a:cubicBezTo>
                  <a:pt x="28" y="18"/>
                  <a:pt x="30" y="17"/>
                  <a:pt x="31" y="17"/>
                </a:cubicBezTo>
                <a:cubicBezTo>
                  <a:pt x="32" y="16"/>
                  <a:pt x="33" y="16"/>
                  <a:pt x="34" y="16"/>
                </a:cubicBezTo>
                <a:cubicBezTo>
                  <a:pt x="34" y="16"/>
                  <a:pt x="35" y="15"/>
                  <a:pt x="35" y="15"/>
                </a:cubicBezTo>
                <a:cubicBezTo>
                  <a:pt x="35" y="15"/>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7"/>
          <p:cNvSpPr>
            <a:spLocks/>
          </p:cNvSpPr>
          <p:nvPr/>
        </p:nvSpPr>
        <p:spPr bwMode="auto">
          <a:xfrm>
            <a:off x="2448206" y="2599728"/>
            <a:ext cx="96521" cy="71497"/>
          </a:xfrm>
          <a:custGeom>
            <a:avLst/>
            <a:gdLst>
              <a:gd name="T0" fmla="*/ 19 w 20"/>
              <a:gd name="T1" fmla="*/ 8 h 15"/>
              <a:gd name="T2" fmla="*/ 18 w 20"/>
              <a:gd name="T3" fmla="*/ 6 h 15"/>
              <a:gd name="T4" fmla="*/ 17 w 20"/>
              <a:gd name="T5" fmla="*/ 5 h 15"/>
              <a:gd name="T6" fmla="*/ 16 w 20"/>
              <a:gd name="T7" fmla="*/ 3 h 15"/>
              <a:gd name="T8" fmla="*/ 16 w 20"/>
              <a:gd name="T9" fmla="*/ 2 h 15"/>
              <a:gd name="T10" fmla="*/ 14 w 20"/>
              <a:gd name="T11" fmla="*/ 1 h 15"/>
              <a:gd name="T12" fmla="*/ 13 w 20"/>
              <a:gd name="T13" fmla="*/ 1 h 15"/>
              <a:gd name="T14" fmla="*/ 12 w 20"/>
              <a:gd name="T15" fmla="*/ 1 h 15"/>
              <a:gd name="T16" fmla="*/ 11 w 20"/>
              <a:gd name="T17" fmla="*/ 0 h 15"/>
              <a:gd name="T18" fmla="*/ 11 w 20"/>
              <a:gd name="T19" fmla="*/ 0 h 15"/>
              <a:gd name="T20" fmla="*/ 10 w 20"/>
              <a:gd name="T21" fmla="*/ 1 h 15"/>
              <a:gd name="T22" fmla="*/ 9 w 20"/>
              <a:gd name="T23" fmla="*/ 1 h 15"/>
              <a:gd name="T24" fmla="*/ 8 w 20"/>
              <a:gd name="T25" fmla="*/ 1 h 15"/>
              <a:gd name="T26" fmla="*/ 7 w 20"/>
              <a:gd name="T27" fmla="*/ 3 h 15"/>
              <a:gd name="T28" fmla="*/ 7 w 20"/>
              <a:gd name="T29" fmla="*/ 4 h 15"/>
              <a:gd name="T30" fmla="*/ 6 w 20"/>
              <a:gd name="T31" fmla="*/ 4 h 15"/>
              <a:gd name="T32" fmla="*/ 5 w 20"/>
              <a:gd name="T33" fmla="*/ 5 h 15"/>
              <a:gd name="T34" fmla="*/ 5 w 20"/>
              <a:gd name="T35" fmla="*/ 6 h 15"/>
              <a:gd name="T36" fmla="*/ 3 w 20"/>
              <a:gd name="T37" fmla="*/ 7 h 15"/>
              <a:gd name="T38" fmla="*/ 2 w 20"/>
              <a:gd name="T39" fmla="*/ 7 h 15"/>
              <a:gd name="T40" fmla="*/ 0 w 20"/>
              <a:gd name="T41" fmla="*/ 7 h 15"/>
              <a:gd name="T42" fmla="*/ 0 w 20"/>
              <a:gd name="T43" fmla="*/ 7 h 15"/>
              <a:gd name="T44" fmla="*/ 1 w 20"/>
              <a:gd name="T45" fmla="*/ 9 h 15"/>
              <a:gd name="T46" fmla="*/ 1 w 20"/>
              <a:gd name="T47" fmla="*/ 11 h 15"/>
              <a:gd name="T48" fmla="*/ 0 w 20"/>
              <a:gd name="T49" fmla="*/ 12 h 15"/>
              <a:gd name="T50" fmla="*/ 0 w 20"/>
              <a:gd name="T51" fmla="*/ 13 h 15"/>
              <a:gd name="T52" fmla="*/ 0 w 20"/>
              <a:gd name="T53" fmla="*/ 14 h 15"/>
              <a:gd name="T54" fmla="*/ 1 w 20"/>
              <a:gd name="T55" fmla="*/ 14 h 15"/>
              <a:gd name="T56" fmla="*/ 3 w 20"/>
              <a:gd name="T57" fmla="*/ 13 h 15"/>
              <a:gd name="T58" fmla="*/ 7 w 20"/>
              <a:gd name="T59" fmla="*/ 14 h 15"/>
              <a:gd name="T60" fmla="*/ 9 w 20"/>
              <a:gd name="T61" fmla="*/ 14 h 15"/>
              <a:gd name="T62" fmla="*/ 10 w 20"/>
              <a:gd name="T63" fmla="*/ 14 h 15"/>
              <a:gd name="T64" fmla="*/ 12 w 20"/>
              <a:gd name="T65" fmla="*/ 14 h 15"/>
              <a:gd name="T66" fmla="*/ 13 w 20"/>
              <a:gd name="T67" fmla="*/ 15 h 15"/>
              <a:gd name="T68" fmla="*/ 15 w 20"/>
              <a:gd name="T69" fmla="*/ 15 h 15"/>
              <a:gd name="T70" fmla="*/ 16 w 20"/>
              <a:gd name="T71" fmla="*/ 14 h 15"/>
              <a:gd name="T72" fmla="*/ 17 w 20"/>
              <a:gd name="T73" fmla="*/ 13 h 15"/>
              <a:gd name="T74" fmla="*/ 18 w 20"/>
              <a:gd name="T75" fmla="*/ 12 h 15"/>
              <a:gd name="T76" fmla="*/ 18 w 20"/>
              <a:gd name="T77" fmla="*/ 12 h 15"/>
              <a:gd name="T78" fmla="*/ 18 w 20"/>
              <a:gd name="T79" fmla="*/ 9 h 15"/>
              <a:gd name="T80" fmla="*/ 19 w 20"/>
              <a:gd name="T81" fmla="*/ 10 h 15"/>
              <a:gd name="T82" fmla="*/ 20 w 20"/>
              <a:gd name="T83" fmla="*/ 9 h 15"/>
              <a:gd name="T84" fmla="*/ 19 w 20"/>
              <a:gd name="T8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15">
                <a:moveTo>
                  <a:pt x="19" y="8"/>
                </a:moveTo>
                <a:cubicBezTo>
                  <a:pt x="19" y="7"/>
                  <a:pt x="18" y="7"/>
                  <a:pt x="18" y="6"/>
                </a:cubicBezTo>
                <a:cubicBezTo>
                  <a:pt x="17" y="6"/>
                  <a:pt x="17" y="5"/>
                  <a:pt x="17" y="5"/>
                </a:cubicBezTo>
                <a:cubicBezTo>
                  <a:pt x="16" y="5"/>
                  <a:pt x="17" y="4"/>
                  <a:pt x="16" y="3"/>
                </a:cubicBezTo>
                <a:cubicBezTo>
                  <a:pt x="16" y="3"/>
                  <a:pt x="17" y="2"/>
                  <a:pt x="16" y="2"/>
                </a:cubicBezTo>
                <a:cubicBezTo>
                  <a:pt x="16" y="2"/>
                  <a:pt x="15" y="1"/>
                  <a:pt x="14" y="1"/>
                </a:cubicBezTo>
                <a:cubicBezTo>
                  <a:pt x="14" y="2"/>
                  <a:pt x="13" y="2"/>
                  <a:pt x="13" y="1"/>
                </a:cubicBezTo>
                <a:cubicBezTo>
                  <a:pt x="13" y="1"/>
                  <a:pt x="12" y="1"/>
                  <a:pt x="12" y="1"/>
                </a:cubicBezTo>
                <a:cubicBezTo>
                  <a:pt x="11" y="1"/>
                  <a:pt x="11" y="1"/>
                  <a:pt x="11" y="0"/>
                </a:cubicBezTo>
                <a:cubicBezTo>
                  <a:pt x="11" y="0"/>
                  <a:pt x="11" y="0"/>
                  <a:pt x="11" y="0"/>
                </a:cubicBezTo>
                <a:cubicBezTo>
                  <a:pt x="10" y="0"/>
                  <a:pt x="10" y="0"/>
                  <a:pt x="10" y="1"/>
                </a:cubicBezTo>
                <a:cubicBezTo>
                  <a:pt x="10" y="1"/>
                  <a:pt x="10" y="1"/>
                  <a:pt x="9" y="1"/>
                </a:cubicBezTo>
                <a:cubicBezTo>
                  <a:pt x="9" y="1"/>
                  <a:pt x="8" y="1"/>
                  <a:pt x="8" y="1"/>
                </a:cubicBezTo>
                <a:cubicBezTo>
                  <a:pt x="7" y="2"/>
                  <a:pt x="7" y="2"/>
                  <a:pt x="7" y="3"/>
                </a:cubicBezTo>
                <a:cubicBezTo>
                  <a:pt x="7" y="3"/>
                  <a:pt x="7" y="4"/>
                  <a:pt x="7" y="4"/>
                </a:cubicBezTo>
                <a:cubicBezTo>
                  <a:pt x="6" y="4"/>
                  <a:pt x="6" y="4"/>
                  <a:pt x="6" y="4"/>
                </a:cubicBezTo>
                <a:cubicBezTo>
                  <a:pt x="6" y="4"/>
                  <a:pt x="5" y="5"/>
                  <a:pt x="5" y="5"/>
                </a:cubicBezTo>
                <a:cubicBezTo>
                  <a:pt x="5" y="5"/>
                  <a:pt x="5" y="6"/>
                  <a:pt x="5" y="6"/>
                </a:cubicBezTo>
                <a:cubicBezTo>
                  <a:pt x="4" y="6"/>
                  <a:pt x="3" y="6"/>
                  <a:pt x="3" y="7"/>
                </a:cubicBezTo>
                <a:cubicBezTo>
                  <a:pt x="3" y="7"/>
                  <a:pt x="3" y="7"/>
                  <a:pt x="2" y="7"/>
                </a:cubicBezTo>
                <a:cubicBezTo>
                  <a:pt x="2" y="7"/>
                  <a:pt x="1" y="7"/>
                  <a:pt x="0" y="7"/>
                </a:cubicBezTo>
                <a:cubicBezTo>
                  <a:pt x="0" y="7"/>
                  <a:pt x="0" y="7"/>
                  <a:pt x="0" y="7"/>
                </a:cubicBezTo>
                <a:cubicBezTo>
                  <a:pt x="0" y="8"/>
                  <a:pt x="0" y="9"/>
                  <a:pt x="1" y="9"/>
                </a:cubicBezTo>
                <a:cubicBezTo>
                  <a:pt x="1" y="9"/>
                  <a:pt x="1" y="11"/>
                  <a:pt x="1" y="11"/>
                </a:cubicBezTo>
                <a:cubicBezTo>
                  <a:pt x="0" y="11"/>
                  <a:pt x="0" y="12"/>
                  <a:pt x="0" y="12"/>
                </a:cubicBezTo>
                <a:cubicBezTo>
                  <a:pt x="0" y="12"/>
                  <a:pt x="0" y="13"/>
                  <a:pt x="0" y="13"/>
                </a:cubicBezTo>
                <a:cubicBezTo>
                  <a:pt x="0" y="13"/>
                  <a:pt x="0" y="14"/>
                  <a:pt x="0" y="14"/>
                </a:cubicBezTo>
                <a:cubicBezTo>
                  <a:pt x="1" y="14"/>
                  <a:pt x="1" y="14"/>
                  <a:pt x="1" y="14"/>
                </a:cubicBezTo>
                <a:cubicBezTo>
                  <a:pt x="2" y="14"/>
                  <a:pt x="2" y="13"/>
                  <a:pt x="3" y="13"/>
                </a:cubicBezTo>
                <a:cubicBezTo>
                  <a:pt x="4" y="13"/>
                  <a:pt x="6" y="13"/>
                  <a:pt x="7" y="14"/>
                </a:cubicBezTo>
                <a:cubicBezTo>
                  <a:pt x="7" y="14"/>
                  <a:pt x="8" y="14"/>
                  <a:pt x="9" y="14"/>
                </a:cubicBezTo>
                <a:cubicBezTo>
                  <a:pt x="9" y="14"/>
                  <a:pt x="10" y="14"/>
                  <a:pt x="10" y="14"/>
                </a:cubicBezTo>
                <a:cubicBezTo>
                  <a:pt x="10" y="14"/>
                  <a:pt x="11" y="15"/>
                  <a:pt x="12" y="14"/>
                </a:cubicBezTo>
                <a:cubicBezTo>
                  <a:pt x="12" y="14"/>
                  <a:pt x="13" y="15"/>
                  <a:pt x="13" y="15"/>
                </a:cubicBezTo>
                <a:cubicBezTo>
                  <a:pt x="13" y="15"/>
                  <a:pt x="15" y="15"/>
                  <a:pt x="15" y="15"/>
                </a:cubicBezTo>
                <a:cubicBezTo>
                  <a:pt x="15" y="15"/>
                  <a:pt x="16" y="15"/>
                  <a:pt x="16" y="14"/>
                </a:cubicBezTo>
                <a:cubicBezTo>
                  <a:pt x="16" y="14"/>
                  <a:pt x="17" y="13"/>
                  <a:pt x="17" y="13"/>
                </a:cubicBezTo>
                <a:cubicBezTo>
                  <a:pt x="17" y="13"/>
                  <a:pt x="18" y="13"/>
                  <a:pt x="18" y="12"/>
                </a:cubicBezTo>
                <a:cubicBezTo>
                  <a:pt x="18" y="12"/>
                  <a:pt x="18" y="12"/>
                  <a:pt x="18" y="12"/>
                </a:cubicBezTo>
                <a:cubicBezTo>
                  <a:pt x="18" y="10"/>
                  <a:pt x="17" y="10"/>
                  <a:pt x="18" y="9"/>
                </a:cubicBezTo>
                <a:cubicBezTo>
                  <a:pt x="18" y="9"/>
                  <a:pt x="19" y="10"/>
                  <a:pt x="19" y="10"/>
                </a:cubicBezTo>
                <a:cubicBezTo>
                  <a:pt x="20" y="10"/>
                  <a:pt x="20" y="9"/>
                  <a:pt x="20" y="9"/>
                </a:cubicBezTo>
                <a:cubicBezTo>
                  <a:pt x="20" y="8"/>
                  <a:pt x="19" y="8"/>
                  <a:pt x="19"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18"/>
          <p:cNvSpPr>
            <a:spLocks/>
          </p:cNvSpPr>
          <p:nvPr/>
        </p:nvSpPr>
        <p:spPr bwMode="auto">
          <a:xfrm>
            <a:off x="2419607" y="2571130"/>
            <a:ext cx="78647" cy="39323"/>
          </a:xfrm>
          <a:custGeom>
            <a:avLst/>
            <a:gdLst>
              <a:gd name="T0" fmla="*/ 6 w 17"/>
              <a:gd name="T1" fmla="*/ 6 h 8"/>
              <a:gd name="T2" fmla="*/ 9 w 17"/>
              <a:gd name="T3" fmla="*/ 6 h 8"/>
              <a:gd name="T4" fmla="*/ 10 w 17"/>
              <a:gd name="T5" fmla="*/ 6 h 8"/>
              <a:gd name="T6" fmla="*/ 12 w 17"/>
              <a:gd name="T7" fmla="*/ 7 h 8"/>
              <a:gd name="T8" fmla="*/ 13 w 17"/>
              <a:gd name="T9" fmla="*/ 8 h 8"/>
              <a:gd name="T10" fmla="*/ 14 w 17"/>
              <a:gd name="T11" fmla="*/ 7 h 8"/>
              <a:gd name="T12" fmla="*/ 15 w 17"/>
              <a:gd name="T13" fmla="*/ 7 h 8"/>
              <a:gd name="T14" fmla="*/ 16 w 17"/>
              <a:gd name="T15" fmla="*/ 7 h 8"/>
              <a:gd name="T16" fmla="*/ 17 w 17"/>
              <a:gd name="T17" fmla="*/ 6 h 8"/>
              <a:gd name="T18" fmla="*/ 16 w 17"/>
              <a:gd name="T19" fmla="*/ 5 h 8"/>
              <a:gd name="T20" fmla="*/ 15 w 17"/>
              <a:gd name="T21" fmla="*/ 4 h 8"/>
              <a:gd name="T22" fmla="*/ 15 w 17"/>
              <a:gd name="T23" fmla="*/ 2 h 8"/>
              <a:gd name="T24" fmla="*/ 15 w 17"/>
              <a:gd name="T25" fmla="*/ 2 h 8"/>
              <a:gd name="T26" fmla="*/ 13 w 17"/>
              <a:gd name="T27" fmla="*/ 2 h 8"/>
              <a:gd name="T28" fmla="*/ 11 w 17"/>
              <a:gd name="T29" fmla="*/ 0 h 8"/>
              <a:gd name="T30" fmla="*/ 8 w 17"/>
              <a:gd name="T31" fmla="*/ 0 h 8"/>
              <a:gd name="T32" fmla="*/ 8 w 17"/>
              <a:gd name="T33" fmla="*/ 3 h 8"/>
              <a:gd name="T34" fmla="*/ 6 w 17"/>
              <a:gd name="T35" fmla="*/ 3 h 8"/>
              <a:gd name="T36" fmla="*/ 4 w 17"/>
              <a:gd name="T37" fmla="*/ 1 h 8"/>
              <a:gd name="T38" fmla="*/ 2 w 17"/>
              <a:gd name="T39" fmla="*/ 2 h 8"/>
              <a:gd name="T40" fmla="*/ 1 w 17"/>
              <a:gd name="T41" fmla="*/ 4 h 8"/>
              <a:gd name="T42" fmla="*/ 1 w 17"/>
              <a:gd name="T43" fmla="*/ 6 h 8"/>
              <a:gd name="T44" fmla="*/ 1 w 17"/>
              <a:gd name="T45" fmla="*/ 6 h 8"/>
              <a:gd name="T46" fmla="*/ 3 w 17"/>
              <a:gd name="T47" fmla="*/ 6 h 8"/>
              <a:gd name="T48" fmla="*/ 6 w 17"/>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8">
                <a:moveTo>
                  <a:pt x="6" y="6"/>
                </a:moveTo>
                <a:cubicBezTo>
                  <a:pt x="6" y="6"/>
                  <a:pt x="8" y="6"/>
                  <a:pt x="9" y="6"/>
                </a:cubicBezTo>
                <a:cubicBezTo>
                  <a:pt x="9" y="5"/>
                  <a:pt x="9" y="6"/>
                  <a:pt x="10" y="6"/>
                </a:cubicBezTo>
                <a:cubicBezTo>
                  <a:pt x="10" y="6"/>
                  <a:pt x="11" y="7"/>
                  <a:pt x="12" y="7"/>
                </a:cubicBezTo>
                <a:cubicBezTo>
                  <a:pt x="12" y="8"/>
                  <a:pt x="13" y="8"/>
                  <a:pt x="13" y="8"/>
                </a:cubicBezTo>
                <a:cubicBezTo>
                  <a:pt x="13" y="8"/>
                  <a:pt x="13" y="8"/>
                  <a:pt x="14" y="7"/>
                </a:cubicBezTo>
                <a:cubicBezTo>
                  <a:pt x="14" y="7"/>
                  <a:pt x="15" y="7"/>
                  <a:pt x="15" y="7"/>
                </a:cubicBezTo>
                <a:cubicBezTo>
                  <a:pt x="16" y="7"/>
                  <a:pt x="16" y="7"/>
                  <a:pt x="16" y="7"/>
                </a:cubicBezTo>
                <a:cubicBezTo>
                  <a:pt x="16" y="6"/>
                  <a:pt x="16" y="6"/>
                  <a:pt x="17" y="6"/>
                </a:cubicBezTo>
                <a:cubicBezTo>
                  <a:pt x="16" y="6"/>
                  <a:pt x="16" y="5"/>
                  <a:pt x="16" y="5"/>
                </a:cubicBezTo>
                <a:cubicBezTo>
                  <a:pt x="16" y="5"/>
                  <a:pt x="15" y="4"/>
                  <a:pt x="15" y="4"/>
                </a:cubicBezTo>
                <a:cubicBezTo>
                  <a:pt x="16" y="3"/>
                  <a:pt x="16" y="3"/>
                  <a:pt x="15" y="2"/>
                </a:cubicBezTo>
                <a:cubicBezTo>
                  <a:pt x="15" y="2"/>
                  <a:pt x="15" y="2"/>
                  <a:pt x="15" y="2"/>
                </a:cubicBezTo>
                <a:cubicBezTo>
                  <a:pt x="14" y="2"/>
                  <a:pt x="13" y="2"/>
                  <a:pt x="13" y="2"/>
                </a:cubicBezTo>
                <a:cubicBezTo>
                  <a:pt x="12" y="2"/>
                  <a:pt x="11" y="1"/>
                  <a:pt x="11" y="0"/>
                </a:cubicBezTo>
                <a:cubicBezTo>
                  <a:pt x="10" y="0"/>
                  <a:pt x="9" y="0"/>
                  <a:pt x="8" y="0"/>
                </a:cubicBezTo>
                <a:cubicBezTo>
                  <a:pt x="8" y="1"/>
                  <a:pt x="8" y="2"/>
                  <a:pt x="8" y="3"/>
                </a:cubicBezTo>
                <a:cubicBezTo>
                  <a:pt x="8" y="4"/>
                  <a:pt x="7" y="3"/>
                  <a:pt x="6" y="3"/>
                </a:cubicBezTo>
                <a:cubicBezTo>
                  <a:pt x="6" y="3"/>
                  <a:pt x="5" y="2"/>
                  <a:pt x="4" y="1"/>
                </a:cubicBezTo>
                <a:cubicBezTo>
                  <a:pt x="4" y="1"/>
                  <a:pt x="3" y="2"/>
                  <a:pt x="2" y="2"/>
                </a:cubicBezTo>
                <a:cubicBezTo>
                  <a:pt x="1" y="3"/>
                  <a:pt x="2" y="3"/>
                  <a:pt x="1" y="4"/>
                </a:cubicBezTo>
                <a:cubicBezTo>
                  <a:pt x="1" y="4"/>
                  <a:pt x="0" y="5"/>
                  <a:pt x="1" y="6"/>
                </a:cubicBezTo>
                <a:cubicBezTo>
                  <a:pt x="1" y="6"/>
                  <a:pt x="1" y="6"/>
                  <a:pt x="1" y="6"/>
                </a:cubicBezTo>
                <a:cubicBezTo>
                  <a:pt x="2" y="6"/>
                  <a:pt x="2" y="6"/>
                  <a:pt x="3" y="6"/>
                </a:cubicBezTo>
                <a:cubicBezTo>
                  <a:pt x="3" y="5"/>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19"/>
          <p:cNvSpPr>
            <a:spLocks/>
          </p:cNvSpPr>
          <p:nvPr/>
        </p:nvSpPr>
        <p:spPr bwMode="auto">
          <a:xfrm>
            <a:off x="2419607" y="2596154"/>
            <a:ext cx="60772" cy="39323"/>
          </a:xfrm>
          <a:custGeom>
            <a:avLst/>
            <a:gdLst>
              <a:gd name="T0" fmla="*/ 2 w 13"/>
              <a:gd name="T1" fmla="*/ 4 h 8"/>
              <a:gd name="T2" fmla="*/ 3 w 13"/>
              <a:gd name="T3" fmla="*/ 5 h 8"/>
              <a:gd name="T4" fmla="*/ 5 w 13"/>
              <a:gd name="T5" fmla="*/ 5 h 8"/>
              <a:gd name="T6" fmla="*/ 5 w 13"/>
              <a:gd name="T7" fmla="*/ 7 h 8"/>
              <a:gd name="T8" fmla="*/ 6 w 13"/>
              <a:gd name="T9" fmla="*/ 8 h 8"/>
              <a:gd name="T10" fmla="*/ 8 w 13"/>
              <a:gd name="T11" fmla="*/ 8 h 8"/>
              <a:gd name="T12" fmla="*/ 9 w 13"/>
              <a:gd name="T13" fmla="*/ 8 h 8"/>
              <a:gd name="T14" fmla="*/ 11 w 13"/>
              <a:gd name="T15" fmla="*/ 7 h 8"/>
              <a:gd name="T16" fmla="*/ 11 w 13"/>
              <a:gd name="T17" fmla="*/ 6 h 8"/>
              <a:gd name="T18" fmla="*/ 12 w 13"/>
              <a:gd name="T19" fmla="*/ 5 h 8"/>
              <a:gd name="T20" fmla="*/ 13 w 13"/>
              <a:gd name="T21" fmla="*/ 5 h 8"/>
              <a:gd name="T22" fmla="*/ 13 w 13"/>
              <a:gd name="T23" fmla="*/ 4 h 8"/>
              <a:gd name="T24" fmla="*/ 13 w 13"/>
              <a:gd name="T25" fmla="*/ 3 h 8"/>
              <a:gd name="T26" fmla="*/ 12 w 13"/>
              <a:gd name="T27" fmla="*/ 2 h 8"/>
              <a:gd name="T28" fmla="*/ 10 w 13"/>
              <a:gd name="T29" fmla="*/ 1 h 8"/>
              <a:gd name="T30" fmla="*/ 9 w 13"/>
              <a:gd name="T31" fmla="*/ 1 h 8"/>
              <a:gd name="T32" fmla="*/ 6 w 13"/>
              <a:gd name="T33" fmla="*/ 1 h 8"/>
              <a:gd name="T34" fmla="*/ 3 w 13"/>
              <a:gd name="T35" fmla="*/ 1 h 8"/>
              <a:gd name="T36" fmla="*/ 1 w 13"/>
              <a:gd name="T37" fmla="*/ 1 h 8"/>
              <a:gd name="T38" fmla="*/ 1 w 13"/>
              <a:gd name="T39" fmla="*/ 3 h 8"/>
              <a:gd name="T40" fmla="*/ 1 w 13"/>
              <a:gd name="T41" fmla="*/ 4 h 8"/>
              <a:gd name="T42" fmla="*/ 2 w 13"/>
              <a:gd name="T4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8">
                <a:moveTo>
                  <a:pt x="2" y="4"/>
                </a:moveTo>
                <a:cubicBezTo>
                  <a:pt x="2" y="5"/>
                  <a:pt x="3" y="5"/>
                  <a:pt x="3" y="5"/>
                </a:cubicBezTo>
                <a:cubicBezTo>
                  <a:pt x="4" y="5"/>
                  <a:pt x="5" y="5"/>
                  <a:pt x="5" y="5"/>
                </a:cubicBezTo>
                <a:cubicBezTo>
                  <a:pt x="5" y="6"/>
                  <a:pt x="4" y="7"/>
                  <a:pt x="5" y="7"/>
                </a:cubicBezTo>
                <a:cubicBezTo>
                  <a:pt x="5" y="7"/>
                  <a:pt x="6" y="7"/>
                  <a:pt x="6" y="8"/>
                </a:cubicBezTo>
                <a:cubicBezTo>
                  <a:pt x="7" y="8"/>
                  <a:pt x="8" y="8"/>
                  <a:pt x="8" y="8"/>
                </a:cubicBezTo>
                <a:cubicBezTo>
                  <a:pt x="9" y="8"/>
                  <a:pt x="9" y="8"/>
                  <a:pt x="9" y="8"/>
                </a:cubicBezTo>
                <a:cubicBezTo>
                  <a:pt x="9" y="7"/>
                  <a:pt x="10" y="7"/>
                  <a:pt x="11" y="7"/>
                </a:cubicBezTo>
                <a:cubicBezTo>
                  <a:pt x="11" y="7"/>
                  <a:pt x="11" y="6"/>
                  <a:pt x="11" y="6"/>
                </a:cubicBezTo>
                <a:cubicBezTo>
                  <a:pt x="11" y="6"/>
                  <a:pt x="12" y="5"/>
                  <a:pt x="12" y="5"/>
                </a:cubicBezTo>
                <a:cubicBezTo>
                  <a:pt x="12" y="5"/>
                  <a:pt x="12" y="5"/>
                  <a:pt x="13" y="5"/>
                </a:cubicBezTo>
                <a:cubicBezTo>
                  <a:pt x="13" y="5"/>
                  <a:pt x="13" y="4"/>
                  <a:pt x="13" y="4"/>
                </a:cubicBezTo>
                <a:cubicBezTo>
                  <a:pt x="13" y="3"/>
                  <a:pt x="13" y="3"/>
                  <a:pt x="13" y="3"/>
                </a:cubicBezTo>
                <a:cubicBezTo>
                  <a:pt x="13" y="3"/>
                  <a:pt x="12" y="3"/>
                  <a:pt x="12" y="2"/>
                </a:cubicBezTo>
                <a:cubicBezTo>
                  <a:pt x="11" y="2"/>
                  <a:pt x="10" y="1"/>
                  <a:pt x="10" y="1"/>
                </a:cubicBezTo>
                <a:cubicBezTo>
                  <a:pt x="9" y="1"/>
                  <a:pt x="9" y="0"/>
                  <a:pt x="9" y="1"/>
                </a:cubicBezTo>
                <a:cubicBezTo>
                  <a:pt x="8" y="1"/>
                  <a:pt x="6" y="1"/>
                  <a:pt x="6" y="1"/>
                </a:cubicBezTo>
                <a:cubicBezTo>
                  <a:pt x="5" y="1"/>
                  <a:pt x="3" y="0"/>
                  <a:pt x="3" y="1"/>
                </a:cubicBezTo>
                <a:cubicBezTo>
                  <a:pt x="2" y="1"/>
                  <a:pt x="2" y="1"/>
                  <a:pt x="1" y="1"/>
                </a:cubicBezTo>
                <a:cubicBezTo>
                  <a:pt x="1" y="2"/>
                  <a:pt x="1" y="3"/>
                  <a:pt x="1" y="3"/>
                </a:cubicBezTo>
                <a:cubicBezTo>
                  <a:pt x="0" y="4"/>
                  <a:pt x="1" y="4"/>
                  <a:pt x="1" y="4"/>
                </a:cubicBezTo>
                <a:cubicBezTo>
                  <a:pt x="1" y="4"/>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20"/>
          <p:cNvSpPr>
            <a:spLocks/>
          </p:cNvSpPr>
          <p:nvPr/>
        </p:nvSpPr>
        <p:spPr bwMode="auto">
          <a:xfrm>
            <a:off x="2269463" y="2724848"/>
            <a:ext cx="46473" cy="25024"/>
          </a:xfrm>
          <a:custGeom>
            <a:avLst/>
            <a:gdLst>
              <a:gd name="T0" fmla="*/ 9 w 10"/>
              <a:gd name="T1" fmla="*/ 2 h 5"/>
              <a:gd name="T2" fmla="*/ 7 w 10"/>
              <a:gd name="T3" fmla="*/ 1 h 5"/>
              <a:gd name="T4" fmla="*/ 7 w 10"/>
              <a:gd name="T5" fmla="*/ 0 h 5"/>
              <a:gd name="T6" fmla="*/ 6 w 10"/>
              <a:gd name="T7" fmla="*/ 0 h 5"/>
              <a:gd name="T8" fmla="*/ 5 w 10"/>
              <a:gd name="T9" fmla="*/ 0 h 5"/>
              <a:gd name="T10" fmla="*/ 3 w 10"/>
              <a:gd name="T11" fmla="*/ 0 h 5"/>
              <a:gd name="T12" fmla="*/ 3 w 10"/>
              <a:gd name="T13" fmla="*/ 0 h 5"/>
              <a:gd name="T14" fmla="*/ 1 w 10"/>
              <a:gd name="T15" fmla="*/ 1 h 5"/>
              <a:gd name="T16" fmla="*/ 0 w 10"/>
              <a:gd name="T17" fmla="*/ 3 h 5"/>
              <a:gd name="T18" fmla="*/ 0 w 10"/>
              <a:gd name="T19" fmla="*/ 4 h 5"/>
              <a:gd name="T20" fmla="*/ 1 w 10"/>
              <a:gd name="T21" fmla="*/ 4 h 5"/>
              <a:gd name="T22" fmla="*/ 2 w 10"/>
              <a:gd name="T23" fmla="*/ 5 h 5"/>
              <a:gd name="T24" fmla="*/ 2 w 10"/>
              <a:gd name="T25" fmla="*/ 5 h 5"/>
              <a:gd name="T26" fmla="*/ 4 w 10"/>
              <a:gd name="T27" fmla="*/ 5 h 5"/>
              <a:gd name="T28" fmla="*/ 5 w 10"/>
              <a:gd name="T29" fmla="*/ 3 h 5"/>
              <a:gd name="T30" fmla="*/ 6 w 10"/>
              <a:gd name="T31" fmla="*/ 5 h 5"/>
              <a:gd name="T32" fmla="*/ 6 w 10"/>
              <a:gd name="T33" fmla="*/ 4 h 5"/>
              <a:gd name="T34" fmla="*/ 7 w 10"/>
              <a:gd name="T35" fmla="*/ 4 h 5"/>
              <a:gd name="T36" fmla="*/ 8 w 10"/>
              <a:gd name="T37" fmla="*/ 3 h 5"/>
              <a:gd name="T38" fmla="*/ 9 w 10"/>
              <a:gd name="T39" fmla="*/ 3 h 5"/>
              <a:gd name="T40" fmla="*/ 9 w 10"/>
              <a:gd name="T41" fmla="*/ 2 h 5"/>
              <a:gd name="T42" fmla="*/ 10 w 10"/>
              <a:gd name="T43" fmla="*/ 2 h 5"/>
              <a:gd name="T44" fmla="*/ 9 w 10"/>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9" y="2"/>
                </a:moveTo>
                <a:cubicBezTo>
                  <a:pt x="8" y="2"/>
                  <a:pt x="7" y="2"/>
                  <a:pt x="7" y="1"/>
                </a:cubicBezTo>
                <a:cubicBezTo>
                  <a:pt x="7" y="1"/>
                  <a:pt x="7" y="1"/>
                  <a:pt x="7" y="0"/>
                </a:cubicBezTo>
                <a:cubicBezTo>
                  <a:pt x="7" y="0"/>
                  <a:pt x="7" y="0"/>
                  <a:pt x="6" y="0"/>
                </a:cubicBezTo>
                <a:cubicBezTo>
                  <a:pt x="6" y="0"/>
                  <a:pt x="5" y="0"/>
                  <a:pt x="5" y="0"/>
                </a:cubicBezTo>
                <a:cubicBezTo>
                  <a:pt x="4" y="0"/>
                  <a:pt x="3" y="0"/>
                  <a:pt x="3" y="0"/>
                </a:cubicBezTo>
                <a:cubicBezTo>
                  <a:pt x="3" y="0"/>
                  <a:pt x="3" y="0"/>
                  <a:pt x="3" y="0"/>
                </a:cubicBezTo>
                <a:cubicBezTo>
                  <a:pt x="2" y="0"/>
                  <a:pt x="2" y="1"/>
                  <a:pt x="1" y="1"/>
                </a:cubicBezTo>
                <a:cubicBezTo>
                  <a:pt x="1" y="2"/>
                  <a:pt x="0" y="2"/>
                  <a:pt x="0" y="3"/>
                </a:cubicBezTo>
                <a:cubicBezTo>
                  <a:pt x="0" y="4"/>
                  <a:pt x="0" y="4"/>
                  <a:pt x="0" y="4"/>
                </a:cubicBezTo>
                <a:cubicBezTo>
                  <a:pt x="1" y="3"/>
                  <a:pt x="1" y="3"/>
                  <a:pt x="1" y="4"/>
                </a:cubicBezTo>
                <a:cubicBezTo>
                  <a:pt x="1" y="4"/>
                  <a:pt x="2" y="4"/>
                  <a:pt x="2" y="5"/>
                </a:cubicBezTo>
                <a:cubicBezTo>
                  <a:pt x="2" y="5"/>
                  <a:pt x="2" y="5"/>
                  <a:pt x="2" y="5"/>
                </a:cubicBezTo>
                <a:cubicBezTo>
                  <a:pt x="2" y="5"/>
                  <a:pt x="3" y="5"/>
                  <a:pt x="4" y="5"/>
                </a:cubicBezTo>
                <a:cubicBezTo>
                  <a:pt x="4" y="5"/>
                  <a:pt x="4" y="3"/>
                  <a:pt x="5" y="3"/>
                </a:cubicBezTo>
                <a:cubicBezTo>
                  <a:pt x="5" y="3"/>
                  <a:pt x="5" y="4"/>
                  <a:pt x="6" y="5"/>
                </a:cubicBezTo>
                <a:cubicBezTo>
                  <a:pt x="6" y="5"/>
                  <a:pt x="6" y="4"/>
                  <a:pt x="6" y="4"/>
                </a:cubicBezTo>
                <a:cubicBezTo>
                  <a:pt x="6" y="4"/>
                  <a:pt x="7" y="3"/>
                  <a:pt x="7" y="4"/>
                </a:cubicBezTo>
                <a:cubicBezTo>
                  <a:pt x="8" y="4"/>
                  <a:pt x="8" y="4"/>
                  <a:pt x="8" y="3"/>
                </a:cubicBezTo>
                <a:cubicBezTo>
                  <a:pt x="8" y="3"/>
                  <a:pt x="9" y="3"/>
                  <a:pt x="9" y="3"/>
                </a:cubicBezTo>
                <a:cubicBezTo>
                  <a:pt x="9" y="3"/>
                  <a:pt x="9" y="2"/>
                  <a:pt x="9" y="2"/>
                </a:cubicBezTo>
                <a:cubicBezTo>
                  <a:pt x="10" y="2"/>
                  <a:pt x="10" y="2"/>
                  <a:pt x="10" y="2"/>
                </a:cubicBezTo>
                <a:cubicBezTo>
                  <a:pt x="9" y="2"/>
                  <a:pt x="9" y="2"/>
                  <a:pt x="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262313" y="2624752"/>
            <a:ext cx="96521" cy="107245"/>
          </a:xfrm>
          <a:custGeom>
            <a:avLst/>
            <a:gdLst>
              <a:gd name="T0" fmla="*/ 3 w 20"/>
              <a:gd name="T1" fmla="*/ 5 h 22"/>
              <a:gd name="T2" fmla="*/ 2 w 20"/>
              <a:gd name="T3" fmla="*/ 6 h 22"/>
              <a:gd name="T4" fmla="*/ 3 w 20"/>
              <a:gd name="T5" fmla="*/ 8 h 22"/>
              <a:gd name="T6" fmla="*/ 2 w 20"/>
              <a:gd name="T7" fmla="*/ 8 h 22"/>
              <a:gd name="T8" fmla="*/ 1 w 20"/>
              <a:gd name="T9" fmla="*/ 9 h 22"/>
              <a:gd name="T10" fmla="*/ 1 w 20"/>
              <a:gd name="T11" fmla="*/ 10 h 22"/>
              <a:gd name="T12" fmla="*/ 1 w 20"/>
              <a:gd name="T13" fmla="*/ 12 h 22"/>
              <a:gd name="T14" fmla="*/ 1 w 20"/>
              <a:gd name="T15" fmla="*/ 13 h 22"/>
              <a:gd name="T16" fmla="*/ 1 w 20"/>
              <a:gd name="T17" fmla="*/ 14 h 22"/>
              <a:gd name="T18" fmla="*/ 1 w 20"/>
              <a:gd name="T19" fmla="*/ 16 h 22"/>
              <a:gd name="T20" fmla="*/ 2 w 20"/>
              <a:gd name="T21" fmla="*/ 16 h 22"/>
              <a:gd name="T22" fmla="*/ 3 w 20"/>
              <a:gd name="T23" fmla="*/ 17 h 22"/>
              <a:gd name="T24" fmla="*/ 4 w 20"/>
              <a:gd name="T25" fmla="*/ 17 h 22"/>
              <a:gd name="T26" fmla="*/ 5 w 20"/>
              <a:gd name="T27" fmla="*/ 18 h 22"/>
              <a:gd name="T28" fmla="*/ 4 w 20"/>
              <a:gd name="T29" fmla="*/ 20 h 22"/>
              <a:gd name="T30" fmla="*/ 4 w 20"/>
              <a:gd name="T31" fmla="*/ 21 h 22"/>
              <a:gd name="T32" fmla="*/ 6 w 20"/>
              <a:gd name="T33" fmla="*/ 21 h 22"/>
              <a:gd name="T34" fmla="*/ 7 w 20"/>
              <a:gd name="T35" fmla="*/ 21 h 22"/>
              <a:gd name="T36" fmla="*/ 9 w 20"/>
              <a:gd name="T37" fmla="*/ 21 h 22"/>
              <a:gd name="T38" fmla="*/ 9 w 20"/>
              <a:gd name="T39" fmla="*/ 21 h 22"/>
              <a:gd name="T40" fmla="*/ 10 w 20"/>
              <a:gd name="T41" fmla="*/ 22 h 22"/>
              <a:gd name="T42" fmla="*/ 11 w 20"/>
              <a:gd name="T43" fmla="*/ 21 h 22"/>
              <a:gd name="T44" fmla="*/ 13 w 20"/>
              <a:gd name="T45" fmla="*/ 21 h 22"/>
              <a:gd name="T46" fmla="*/ 15 w 20"/>
              <a:gd name="T47" fmla="*/ 21 h 22"/>
              <a:gd name="T48" fmla="*/ 16 w 20"/>
              <a:gd name="T49" fmla="*/ 20 h 22"/>
              <a:gd name="T50" fmla="*/ 17 w 20"/>
              <a:gd name="T51" fmla="*/ 19 h 22"/>
              <a:gd name="T52" fmla="*/ 18 w 20"/>
              <a:gd name="T53" fmla="*/ 18 h 22"/>
              <a:gd name="T54" fmla="*/ 16 w 20"/>
              <a:gd name="T55" fmla="*/ 16 h 22"/>
              <a:gd name="T56" fmla="*/ 15 w 20"/>
              <a:gd name="T57" fmla="*/ 14 h 22"/>
              <a:gd name="T58" fmla="*/ 15 w 20"/>
              <a:gd name="T59" fmla="*/ 13 h 22"/>
              <a:gd name="T60" fmla="*/ 17 w 20"/>
              <a:gd name="T61" fmla="*/ 12 h 22"/>
              <a:gd name="T62" fmla="*/ 19 w 20"/>
              <a:gd name="T63" fmla="*/ 11 h 22"/>
              <a:gd name="T64" fmla="*/ 20 w 20"/>
              <a:gd name="T65" fmla="*/ 11 h 22"/>
              <a:gd name="T66" fmla="*/ 20 w 20"/>
              <a:gd name="T67" fmla="*/ 10 h 22"/>
              <a:gd name="T68" fmla="*/ 19 w 20"/>
              <a:gd name="T69" fmla="*/ 8 h 22"/>
              <a:gd name="T70" fmla="*/ 19 w 20"/>
              <a:gd name="T71" fmla="*/ 7 h 22"/>
              <a:gd name="T72" fmla="*/ 19 w 20"/>
              <a:gd name="T73" fmla="*/ 6 h 22"/>
              <a:gd name="T74" fmla="*/ 19 w 20"/>
              <a:gd name="T75" fmla="*/ 5 h 22"/>
              <a:gd name="T76" fmla="*/ 19 w 20"/>
              <a:gd name="T77" fmla="*/ 3 h 22"/>
              <a:gd name="T78" fmla="*/ 19 w 20"/>
              <a:gd name="T79" fmla="*/ 3 h 22"/>
              <a:gd name="T80" fmla="*/ 18 w 20"/>
              <a:gd name="T81" fmla="*/ 2 h 22"/>
              <a:gd name="T82" fmla="*/ 17 w 20"/>
              <a:gd name="T83" fmla="*/ 2 h 22"/>
              <a:gd name="T84" fmla="*/ 17 w 20"/>
              <a:gd name="T85" fmla="*/ 0 h 22"/>
              <a:gd name="T86" fmla="*/ 15 w 20"/>
              <a:gd name="T87" fmla="*/ 1 h 22"/>
              <a:gd name="T88" fmla="*/ 13 w 20"/>
              <a:gd name="T89" fmla="*/ 2 h 22"/>
              <a:gd name="T90" fmla="*/ 12 w 20"/>
              <a:gd name="T91" fmla="*/ 1 h 22"/>
              <a:gd name="T92" fmla="*/ 11 w 20"/>
              <a:gd name="T93" fmla="*/ 1 h 22"/>
              <a:gd name="T94" fmla="*/ 9 w 20"/>
              <a:gd name="T95" fmla="*/ 0 h 22"/>
              <a:gd name="T96" fmla="*/ 9 w 20"/>
              <a:gd name="T97" fmla="*/ 0 h 22"/>
              <a:gd name="T98" fmla="*/ 8 w 20"/>
              <a:gd name="T99" fmla="*/ 0 h 22"/>
              <a:gd name="T100" fmla="*/ 6 w 20"/>
              <a:gd name="T101" fmla="*/ 0 h 22"/>
              <a:gd name="T102" fmla="*/ 7 w 20"/>
              <a:gd name="T103" fmla="*/ 1 h 22"/>
              <a:gd name="T104" fmla="*/ 7 w 20"/>
              <a:gd name="T105" fmla="*/ 2 h 22"/>
              <a:gd name="T106" fmla="*/ 6 w 20"/>
              <a:gd name="T107" fmla="*/ 3 h 22"/>
              <a:gd name="T108" fmla="*/ 5 w 20"/>
              <a:gd name="T109" fmla="*/ 3 h 22"/>
              <a:gd name="T110" fmla="*/ 3 w 20"/>
              <a:gd name="T111" fmla="*/ 3 h 22"/>
              <a:gd name="T112" fmla="*/ 3 w 20"/>
              <a:gd name="T113" fmla="*/ 4 h 22"/>
              <a:gd name="T114" fmla="*/ 3 w 20"/>
              <a:gd name="T11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2">
                <a:moveTo>
                  <a:pt x="3" y="5"/>
                </a:moveTo>
                <a:cubicBezTo>
                  <a:pt x="3" y="6"/>
                  <a:pt x="2" y="6"/>
                  <a:pt x="2" y="6"/>
                </a:cubicBezTo>
                <a:cubicBezTo>
                  <a:pt x="2" y="7"/>
                  <a:pt x="3" y="7"/>
                  <a:pt x="3" y="8"/>
                </a:cubicBezTo>
                <a:cubicBezTo>
                  <a:pt x="2" y="8"/>
                  <a:pt x="2" y="8"/>
                  <a:pt x="2" y="8"/>
                </a:cubicBezTo>
                <a:cubicBezTo>
                  <a:pt x="2" y="9"/>
                  <a:pt x="1" y="9"/>
                  <a:pt x="1" y="9"/>
                </a:cubicBezTo>
                <a:cubicBezTo>
                  <a:pt x="1" y="9"/>
                  <a:pt x="1" y="9"/>
                  <a:pt x="1" y="10"/>
                </a:cubicBezTo>
                <a:cubicBezTo>
                  <a:pt x="1" y="10"/>
                  <a:pt x="1" y="11"/>
                  <a:pt x="1" y="12"/>
                </a:cubicBezTo>
                <a:cubicBezTo>
                  <a:pt x="0" y="12"/>
                  <a:pt x="1" y="13"/>
                  <a:pt x="1" y="13"/>
                </a:cubicBezTo>
                <a:cubicBezTo>
                  <a:pt x="1" y="13"/>
                  <a:pt x="1" y="14"/>
                  <a:pt x="1" y="14"/>
                </a:cubicBezTo>
                <a:cubicBezTo>
                  <a:pt x="1" y="14"/>
                  <a:pt x="1" y="15"/>
                  <a:pt x="1" y="16"/>
                </a:cubicBezTo>
                <a:cubicBezTo>
                  <a:pt x="2" y="16"/>
                  <a:pt x="2" y="16"/>
                  <a:pt x="2" y="16"/>
                </a:cubicBezTo>
                <a:cubicBezTo>
                  <a:pt x="2" y="16"/>
                  <a:pt x="3" y="17"/>
                  <a:pt x="3" y="17"/>
                </a:cubicBezTo>
                <a:cubicBezTo>
                  <a:pt x="4" y="17"/>
                  <a:pt x="4" y="17"/>
                  <a:pt x="4" y="17"/>
                </a:cubicBezTo>
                <a:cubicBezTo>
                  <a:pt x="5" y="17"/>
                  <a:pt x="6" y="17"/>
                  <a:pt x="5" y="18"/>
                </a:cubicBezTo>
                <a:cubicBezTo>
                  <a:pt x="4" y="18"/>
                  <a:pt x="4" y="19"/>
                  <a:pt x="4" y="20"/>
                </a:cubicBezTo>
                <a:cubicBezTo>
                  <a:pt x="4" y="20"/>
                  <a:pt x="4" y="21"/>
                  <a:pt x="4" y="21"/>
                </a:cubicBezTo>
                <a:cubicBezTo>
                  <a:pt x="4" y="21"/>
                  <a:pt x="5" y="21"/>
                  <a:pt x="6" y="21"/>
                </a:cubicBezTo>
                <a:cubicBezTo>
                  <a:pt x="6" y="21"/>
                  <a:pt x="7" y="21"/>
                  <a:pt x="7" y="21"/>
                </a:cubicBezTo>
                <a:cubicBezTo>
                  <a:pt x="8" y="21"/>
                  <a:pt x="8" y="21"/>
                  <a:pt x="9" y="21"/>
                </a:cubicBezTo>
                <a:cubicBezTo>
                  <a:pt x="9" y="21"/>
                  <a:pt x="9" y="21"/>
                  <a:pt x="9" y="21"/>
                </a:cubicBezTo>
                <a:cubicBezTo>
                  <a:pt x="9" y="21"/>
                  <a:pt x="10" y="22"/>
                  <a:pt x="10" y="22"/>
                </a:cubicBezTo>
                <a:cubicBezTo>
                  <a:pt x="10" y="21"/>
                  <a:pt x="11" y="21"/>
                  <a:pt x="11" y="21"/>
                </a:cubicBezTo>
                <a:cubicBezTo>
                  <a:pt x="12" y="22"/>
                  <a:pt x="12" y="22"/>
                  <a:pt x="13" y="21"/>
                </a:cubicBezTo>
                <a:cubicBezTo>
                  <a:pt x="13" y="21"/>
                  <a:pt x="15" y="21"/>
                  <a:pt x="15" y="21"/>
                </a:cubicBezTo>
                <a:cubicBezTo>
                  <a:pt x="15" y="21"/>
                  <a:pt x="16" y="21"/>
                  <a:pt x="16" y="20"/>
                </a:cubicBezTo>
                <a:cubicBezTo>
                  <a:pt x="15" y="19"/>
                  <a:pt x="16" y="19"/>
                  <a:pt x="17" y="19"/>
                </a:cubicBezTo>
                <a:cubicBezTo>
                  <a:pt x="17" y="18"/>
                  <a:pt x="18" y="18"/>
                  <a:pt x="18" y="18"/>
                </a:cubicBezTo>
                <a:cubicBezTo>
                  <a:pt x="18" y="17"/>
                  <a:pt x="16" y="16"/>
                  <a:pt x="16" y="16"/>
                </a:cubicBezTo>
                <a:cubicBezTo>
                  <a:pt x="15" y="16"/>
                  <a:pt x="15" y="15"/>
                  <a:pt x="15" y="14"/>
                </a:cubicBezTo>
                <a:cubicBezTo>
                  <a:pt x="15" y="14"/>
                  <a:pt x="14" y="13"/>
                  <a:pt x="15" y="13"/>
                </a:cubicBezTo>
                <a:cubicBezTo>
                  <a:pt x="15" y="13"/>
                  <a:pt x="16" y="13"/>
                  <a:pt x="17" y="12"/>
                </a:cubicBezTo>
                <a:cubicBezTo>
                  <a:pt x="18" y="12"/>
                  <a:pt x="18" y="12"/>
                  <a:pt x="19" y="11"/>
                </a:cubicBezTo>
                <a:cubicBezTo>
                  <a:pt x="19" y="11"/>
                  <a:pt x="20" y="12"/>
                  <a:pt x="20" y="11"/>
                </a:cubicBezTo>
                <a:cubicBezTo>
                  <a:pt x="20" y="11"/>
                  <a:pt x="20" y="10"/>
                  <a:pt x="20" y="10"/>
                </a:cubicBezTo>
                <a:cubicBezTo>
                  <a:pt x="20" y="10"/>
                  <a:pt x="20" y="9"/>
                  <a:pt x="19" y="8"/>
                </a:cubicBezTo>
                <a:cubicBezTo>
                  <a:pt x="19" y="7"/>
                  <a:pt x="19" y="7"/>
                  <a:pt x="19" y="7"/>
                </a:cubicBezTo>
                <a:cubicBezTo>
                  <a:pt x="19" y="7"/>
                  <a:pt x="19" y="6"/>
                  <a:pt x="19" y="6"/>
                </a:cubicBezTo>
                <a:cubicBezTo>
                  <a:pt x="18" y="6"/>
                  <a:pt x="18" y="6"/>
                  <a:pt x="19" y="5"/>
                </a:cubicBezTo>
                <a:cubicBezTo>
                  <a:pt x="19" y="5"/>
                  <a:pt x="19" y="3"/>
                  <a:pt x="19" y="3"/>
                </a:cubicBezTo>
                <a:cubicBezTo>
                  <a:pt x="19" y="3"/>
                  <a:pt x="19" y="3"/>
                  <a:pt x="19" y="3"/>
                </a:cubicBezTo>
                <a:cubicBezTo>
                  <a:pt x="18" y="3"/>
                  <a:pt x="18" y="2"/>
                  <a:pt x="18" y="2"/>
                </a:cubicBezTo>
                <a:cubicBezTo>
                  <a:pt x="18" y="2"/>
                  <a:pt x="18" y="2"/>
                  <a:pt x="17" y="2"/>
                </a:cubicBezTo>
                <a:cubicBezTo>
                  <a:pt x="16" y="2"/>
                  <a:pt x="18" y="1"/>
                  <a:pt x="17" y="0"/>
                </a:cubicBezTo>
                <a:cubicBezTo>
                  <a:pt x="17" y="0"/>
                  <a:pt x="16" y="1"/>
                  <a:pt x="15" y="1"/>
                </a:cubicBezTo>
                <a:cubicBezTo>
                  <a:pt x="15" y="1"/>
                  <a:pt x="14" y="2"/>
                  <a:pt x="13" y="2"/>
                </a:cubicBezTo>
                <a:cubicBezTo>
                  <a:pt x="12" y="3"/>
                  <a:pt x="11" y="2"/>
                  <a:pt x="12" y="1"/>
                </a:cubicBezTo>
                <a:cubicBezTo>
                  <a:pt x="12" y="1"/>
                  <a:pt x="12" y="1"/>
                  <a:pt x="11" y="1"/>
                </a:cubicBezTo>
                <a:cubicBezTo>
                  <a:pt x="10" y="1"/>
                  <a:pt x="9" y="1"/>
                  <a:pt x="9" y="0"/>
                </a:cubicBezTo>
                <a:cubicBezTo>
                  <a:pt x="9" y="0"/>
                  <a:pt x="9" y="0"/>
                  <a:pt x="9" y="0"/>
                </a:cubicBezTo>
                <a:cubicBezTo>
                  <a:pt x="9" y="0"/>
                  <a:pt x="8" y="0"/>
                  <a:pt x="8" y="0"/>
                </a:cubicBezTo>
                <a:cubicBezTo>
                  <a:pt x="8" y="0"/>
                  <a:pt x="7" y="0"/>
                  <a:pt x="6" y="0"/>
                </a:cubicBezTo>
                <a:cubicBezTo>
                  <a:pt x="7" y="0"/>
                  <a:pt x="7" y="0"/>
                  <a:pt x="7" y="1"/>
                </a:cubicBezTo>
                <a:cubicBezTo>
                  <a:pt x="6" y="1"/>
                  <a:pt x="7" y="2"/>
                  <a:pt x="7" y="2"/>
                </a:cubicBezTo>
                <a:cubicBezTo>
                  <a:pt x="8" y="3"/>
                  <a:pt x="6" y="3"/>
                  <a:pt x="6" y="3"/>
                </a:cubicBezTo>
                <a:cubicBezTo>
                  <a:pt x="6" y="4"/>
                  <a:pt x="5" y="3"/>
                  <a:pt x="5" y="3"/>
                </a:cubicBezTo>
                <a:cubicBezTo>
                  <a:pt x="4" y="3"/>
                  <a:pt x="3" y="3"/>
                  <a:pt x="3" y="3"/>
                </a:cubicBezTo>
                <a:cubicBezTo>
                  <a:pt x="3" y="4"/>
                  <a:pt x="3" y="4"/>
                  <a:pt x="3" y="4"/>
                </a:cubicBezTo>
                <a:cubicBezTo>
                  <a:pt x="3" y="5"/>
                  <a:pt x="3" y="5"/>
                  <a:pt x="3"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22"/>
          <p:cNvSpPr>
            <a:spLocks/>
          </p:cNvSpPr>
          <p:nvPr/>
        </p:nvSpPr>
        <p:spPr bwMode="auto">
          <a:xfrm>
            <a:off x="2423182" y="2363788"/>
            <a:ext cx="110820" cy="178742"/>
          </a:xfrm>
          <a:custGeom>
            <a:avLst/>
            <a:gdLst>
              <a:gd name="T0" fmla="*/ 20 w 23"/>
              <a:gd name="T1" fmla="*/ 31 h 37"/>
              <a:gd name="T2" fmla="*/ 23 w 23"/>
              <a:gd name="T3" fmla="*/ 28 h 37"/>
              <a:gd name="T4" fmla="*/ 22 w 23"/>
              <a:gd name="T5" fmla="*/ 26 h 37"/>
              <a:gd name="T6" fmla="*/ 19 w 23"/>
              <a:gd name="T7" fmla="*/ 24 h 37"/>
              <a:gd name="T8" fmla="*/ 21 w 23"/>
              <a:gd name="T9" fmla="*/ 23 h 37"/>
              <a:gd name="T10" fmla="*/ 20 w 23"/>
              <a:gd name="T11" fmla="*/ 21 h 37"/>
              <a:gd name="T12" fmla="*/ 20 w 23"/>
              <a:gd name="T13" fmla="*/ 20 h 37"/>
              <a:gd name="T14" fmla="*/ 19 w 23"/>
              <a:gd name="T15" fmla="*/ 20 h 37"/>
              <a:gd name="T16" fmla="*/ 19 w 23"/>
              <a:gd name="T17" fmla="*/ 19 h 37"/>
              <a:gd name="T18" fmla="*/ 19 w 23"/>
              <a:gd name="T19" fmla="*/ 17 h 37"/>
              <a:gd name="T20" fmla="*/ 20 w 23"/>
              <a:gd name="T21" fmla="*/ 16 h 37"/>
              <a:gd name="T22" fmla="*/ 18 w 23"/>
              <a:gd name="T23" fmla="*/ 13 h 37"/>
              <a:gd name="T24" fmla="*/ 18 w 23"/>
              <a:gd name="T25" fmla="*/ 11 h 37"/>
              <a:gd name="T26" fmla="*/ 20 w 23"/>
              <a:gd name="T27" fmla="*/ 10 h 37"/>
              <a:gd name="T28" fmla="*/ 18 w 23"/>
              <a:gd name="T29" fmla="*/ 8 h 37"/>
              <a:gd name="T30" fmla="*/ 17 w 23"/>
              <a:gd name="T31" fmla="*/ 7 h 37"/>
              <a:gd name="T32" fmla="*/ 16 w 23"/>
              <a:gd name="T33" fmla="*/ 6 h 37"/>
              <a:gd name="T34" fmla="*/ 17 w 23"/>
              <a:gd name="T35" fmla="*/ 5 h 37"/>
              <a:gd name="T36" fmla="*/ 18 w 23"/>
              <a:gd name="T37" fmla="*/ 4 h 37"/>
              <a:gd name="T38" fmla="*/ 18 w 23"/>
              <a:gd name="T39" fmla="*/ 3 h 37"/>
              <a:gd name="T40" fmla="*/ 18 w 23"/>
              <a:gd name="T41" fmla="*/ 2 h 37"/>
              <a:gd name="T42" fmla="*/ 16 w 23"/>
              <a:gd name="T43" fmla="*/ 1 h 37"/>
              <a:gd name="T44" fmla="*/ 14 w 23"/>
              <a:gd name="T45" fmla="*/ 1 h 37"/>
              <a:gd name="T46" fmla="*/ 12 w 23"/>
              <a:gd name="T47" fmla="*/ 1 h 37"/>
              <a:gd name="T48" fmla="*/ 10 w 23"/>
              <a:gd name="T49" fmla="*/ 3 h 37"/>
              <a:gd name="T50" fmla="*/ 10 w 23"/>
              <a:gd name="T51" fmla="*/ 4 h 37"/>
              <a:gd name="T52" fmla="*/ 9 w 23"/>
              <a:gd name="T53" fmla="*/ 6 h 37"/>
              <a:gd name="T54" fmla="*/ 8 w 23"/>
              <a:gd name="T55" fmla="*/ 5 h 37"/>
              <a:gd name="T56" fmla="*/ 6 w 23"/>
              <a:gd name="T57" fmla="*/ 5 h 37"/>
              <a:gd name="T58" fmla="*/ 4 w 23"/>
              <a:gd name="T59" fmla="*/ 5 h 37"/>
              <a:gd name="T60" fmla="*/ 1 w 23"/>
              <a:gd name="T61" fmla="*/ 3 h 37"/>
              <a:gd name="T62" fmla="*/ 0 w 23"/>
              <a:gd name="T63" fmla="*/ 5 h 37"/>
              <a:gd name="T64" fmla="*/ 2 w 23"/>
              <a:gd name="T65" fmla="*/ 6 h 37"/>
              <a:gd name="T66" fmla="*/ 5 w 23"/>
              <a:gd name="T67" fmla="*/ 8 h 37"/>
              <a:gd name="T68" fmla="*/ 5 w 23"/>
              <a:gd name="T69" fmla="*/ 10 h 37"/>
              <a:gd name="T70" fmla="*/ 6 w 23"/>
              <a:gd name="T71" fmla="*/ 12 h 37"/>
              <a:gd name="T72" fmla="*/ 6 w 23"/>
              <a:gd name="T73" fmla="*/ 14 h 37"/>
              <a:gd name="T74" fmla="*/ 6 w 23"/>
              <a:gd name="T75" fmla="*/ 15 h 37"/>
              <a:gd name="T76" fmla="*/ 7 w 23"/>
              <a:gd name="T77" fmla="*/ 16 h 37"/>
              <a:gd name="T78" fmla="*/ 8 w 23"/>
              <a:gd name="T79" fmla="*/ 17 h 37"/>
              <a:gd name="T80" fmla="*/ 9 w 23"/>
              <a:gd name="T81" fmla="*/ 19 h 37"/>
              <a:gd name="T82" fmla="*/ 9 w 23"/>
              <a:gd name="T83" fmla="*/ 20 h 37"/>
              <a:gd name="T84" fmla="*/ 8 w 23"/>
              <a:gd name="T85" fmla="*/ 21 h 37"/>
              <a:gd name="T86" fmla="*/ 5 w 23"/>
              <a:gd name="T87" fmla="*/ 23 h 37"/>
              <a:gd name="T88" fmla="*/ 4 w 23"/>
              <a:gd name="T89" fmla="*/ 24 h 37"/>
              <a:gd name="T90" fmla="*/ 3 w 23"/>
              <a:gd name="T91" fmla="*/ 25 h 37"/>
              <a:gd name="T92" fmla="*/ 1 w 23"/>
              <a:gd name="T93" fmla="*/ 26 h 37"/>
              <a:gd name="T94" fmla="*/ 0 w 23"/>
              <a:gd name="T95" fmla="*/ 27 h 37"/>
              <a:gd name="T96" fmla="*/ 0 w 23"/>
              <a:gd name="T97" fmla="*/ 28 h 37"/>
              <a:gd name="T98" fmla="*/ 1 w 23"/>
              <a:gd name="T99" fmla="*/ 30 h 37"/>
              <a:gd name="T100" fmla="*/ 1 w 23"/>
              <a:gd name="T101" fmla="*/ 32 h 37"/>
              <a:gd name="T102" fmla="*/ 0 w 23"/>
              <a:gd name="T103" fmla="*/ 35 h 37"/>
              <a:gd name="T104" fmla="*/ 2 w 23"/>
              <a:gd name="T105" fmla="*/ 36 h 37"/>
              <a:gd name="T106" fmla="*/ 4 w 23"/>
              <a:gd name="T107" fmla="*/ 36 h 37"/>
              <a:gd name="T108" fmla="*/ 6 w 23"/>
              <a:gd name="T109" fmla="*/ 37 h 37"/>
              <a:gd name="T110" fmla="*/ 13 w 23"/>
              <a:gd name="T111" fmla="*/ 35 h 37"/>
              <a:gd name="T112" fmla="*/ 15 w 23"/>
              <a:gd name="T113" fmla="*/ 35 h 37"/>
              <a:gd name="T114" fmla="*/ 16 w 23"/>
              <a:gd name="T115" fmla="*/ 34 h 37"/>
              <a:gd name="T116" fmla="*/ 20 w 23"/>
              <a:gd name="T11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7">
                <a:moveTo>
                  <a:pt x="20" y="31"/>
                </a:moveTo>
                <a:cubicBezTo>
                  <a:pt x="20" y="30"/>
                  <a:pt x="22" y="29"/>
                  <a:pt x="23" y="28"/>
                </a:cubicBezTo>
                <a:cubicBezTo>
                  <a:pt x="23" y="27"/>
                  <a:pt x="23" y="27"/>
                  <a:pt x="22" y="26"/>
                </a:cubicBezTo>
                <a:cubicBezTo>
                  <a:pt x="21" y="25"/>
                  <a:pt x="19" y="24"/>
                  <a:pt x="19" y="24"/>
                </a:cubicBezTo>
                <a:cubicBezTo>
                  <a:pt x="19" y="23"/>
                  <a:pt x="21" y="23"/>
                  <a:pt x="21" y="23"/>
                </a:cubicBezTo>
                <a:cubicBezTo>
                  <a:pt x="21" y="22"/>
                  <a:pt x="20" y="22"/>
                  <a:pt x="20" y="21"/>
                </a:cubicBezTo>
                <a:cubicBezTo>
                  <a:pt x="19" y="21"/>
                  <a:pt x="20" y="21"/>
                  <a:pt x="20" y="20"/>
                </a:cubicBezTo>
                <a:cubicBezTo>
                  <a:pt x="20" y="20"/>
                  <a:pt x="19" y="20"/>
                  <a:pt x="19" y="20"/>
                </a:cubicBezTo>
                <a:cubicBezTo>
                  <a:pt x="19" y="19"/>
                  <a:pt x="19" y="19"/>
                  <a:pt x="19" y="19"/>
                </a:cubicBezTo>
                <a:cubicBezTo>
                  <a:pt x="19" y="19"/>
                  <a:pt x="19" y="18"/>
                  <a:pt x="19" y="17"/>
                </a:cubicBezTo>
                <a:cubicBezTo>
                  <a:pt x="19" y="17"/>
                  <a:pt x="20" y="17"/>
                  <a:pt x="20" y="16"/>
                </a:cubicBezTo>
                <a:cubicBezTo>
                  <a:pt x="19" y="15"/>
                  <a:pt x="18" y="13"/>
                  <a:pt x="18" y="13"/>
                </a:cubicBezTo>
                <a:cubicBezTo>
                  <a:pt x="17" y="12"/>
                  <a:pt x="18" y="12"/>
                  <a:pt x="18" y="11"/>
                </a:cubicBezTo>
                <a:cubicBezTo>
                  <a:pt x="19" y="11"/>
                  <a:pt x="20" y="10"/>
                  <a:pt x="20" y="10"/>
                </a:cubicBezTo>
                <a:cubicBezTo>
                  <a:pt x="20" y="9"/>
                  <a:pt x="18" y="8"/>
                  <a:pt x="18" y="8"/>
                </a:cubicBezTo>
                <a:cubicBezTo>
                  <a:pt x="18" y="8"/>
                  <a:pt x="17" y="8"/>
                  <a:pt x="17" y="7"/>
                </a:cubicBezTo>
                <a:cubicBezTo>
                  <a:pt x="16" y="7"/>
                  <a:pt x="16" y="6"/>
                  <a:pt x="16" y="6"/>
                </a:cubicBezTo>
                <a:cubicBezTo>
                  <a:pt x="17" y="6"/>
                  <a:pt x="17" y="5"/>
                  <a:pt x="17" y="5"/>
                </a:cubicBezTo>
                <a:cubicBezTo>
                  <a:pt x="17" y="4"/>
                  <a:pt x="17" y="5"/>
                  <a:pt x="18" y="4"/>
                </a:cubicBezTo>
                <a:cubicBezTo>
                  <a:pt x="18" y="4"/>
                  <a:pt x="18" y="4"/>
                  <a:pt x="18" y="3"/>
                </a:cubicBezTo>
                <a:cubicBezTo>
                  <a:pt x="18" y="3"/>
                  <a:pt x="18" y="2"/>
                  <a:pt x="18" y="2"/>
                </a:cubicBezTo>
                <a:cubicBezTo>
                  <a:pt x="18" y="2"/>
                  <a:pt x="16" y="1"/>
                  <a:pt x="16" y="1"/>
                </a:cubicBezTo>
                <a:cubicBezTo>
                  <a:pt x="15" y="0"/>
                  <a:pt x="14" y="0"/>
                  <a:pt x="14" y="1"/>
                </a:cubicBezTo>
                <a:cubicBezTo>
                  <a:pt x="14" y="1"/>
                  <a:pt x="12" y="0"/>
                  <a:pt x="12" y="1"/>
                </a:cubicBezTo>
                <a:cubicBezTo>
                  <a:pt x="12" y="2"/>
                  <a:pt x="10" y="2"/>
                  <a:pt x="10" y="3"/>
                </a:cubicBezTo>
                <a:cubicBezTo>
                  <a:pt x="10" y="3"/>
                  <a:pt x="11" y="5"/>
                  <a:pt x="10" y="4"/>
                </a:cubicBezTo>
                <a:cubicBezTo>
                  <a:pt x="9" y="4"/>
                  <a:pt x="10" y="5"/>
                  <a:pt x="9" y="6"/>
                </a:cubicBezTo>
                <a:cubicBezTo>
                  <a:pt x="8" y="7"/>
                  <a:pt x="8" y="5"/>
                  <a:pt x="8" y="5"/>
                </a:cubicBezTo>
                <a:cubicBezTo>
                  <a:pt x="7" y="6"/>
                  <a:pt x="6" y="5"/>
                  <a:pt x="6" y="5"/>
                </a:cubicBezTo>
                <a:cubicBezTo>
                  <a:pt x="6" y="6"/>
                  <a:pt x="5" y="5"/>
                  <a:pt x="4" y="5"/>
                </a:cubicBezTo>
                <a:cubicBezTo>
                  <a:pt x="3" y="5"/>
                  <a:pt x="2" y="4"/>
                  <a:pt x="1" y="3"/>
                </a:cubicBezTo>
                <a:cubicBezTo>
                  <a:pt x="1" y="3"/>
                  <a:pt x="0" y="4"/>
                  <a:pt x="0" y="5"/>
                </a:cubicBezTo>
                <a:cubicBezTo>
                  <a:pt x="1" y="5"/>
                  <a:pt x="1" y="6"/>
                  <a:pt x="2" y="6"/>
                </a:cubicBezTo>
                <a:cubicBezTo>
                  <a:pt x="3" y="7"/>
                  <a:pt x="5" y="7"/>
                  <a:pt x="5" y="8"/>
                </a:cubicBezTo>
                <a:cubicBezTo>
                  <a:pt x="5" y="9"/>
                  <a:pt x="5" y="10"/>
                  <a:pt x="5" y="10"/>
                </a:cubicBezTo>
                <a:cubicBezTo>
                  <a:pt x="6" y="11"/>
                  <a:pt x="5" y="12"/>
                  <a:pt x="6" y="12"/>
                </a:cubicBezTo>
                <a:cubicBezTo>
                  <a:pt x="7" y="13"/>
                  <a:pt x="6" y="14"/>
                  <a:pt x="6" y="14"/>
                </a:cubicBezTo>
                <a:cubicBezTo>
                  <a:pt x="5" y="14"/>
                  <a:pt x="6" y="15"/>
                  <a:pt x="6" y="15"/>
                </a:cubicBezTo>
                <a:cubicBezTo>
                  <a:pt x="6" y="15"/>
                  <a:pt x="7" y="16"/>
                  <a:pt x="7" y="16"/>
                </a:cubicBezTo>
                <a:cubicBezTo>
                  <a:pt x="7" y="17"/>
                  <a:pt x="8" y="17"/>
                  <a:pt x="8" y="17"/>
                </a:cubicBezTo>
                <a:cubicBezTo>
                  <a:pt x="9" y="18"/>
                  <a:pt x="9" y="18"/>
                  <a:pt x="9" y="19"/>
                </a:cubicBezTo>
                <a:cubicBezTo>
                  <a:pt x="9" y="19"/>
                  <a:pt x="9" y="20"/>
                  <a:pt x="9" y="20"/>
                </a:cubicBezTo>
                <a:cubicBezTo>
                  <a:pt x="8" y="19"/>
                  <a:pt x="8" y="20"/>
                  <a:pt x="8" y="21"/>
                </a:cubicBezTo>
                <a:cubicBezTo>
                  <a:pt x="7" y="22"/>
                  <a:pt x="6" y="23"/>
                  <a:pt x="5" y="23"/>
                </a:cubicBezTo>
                <a:cubicBezTo>
                  <a:pt x="5" y="23"/>
                  <a:pt x="5" y="24"/>
                  <a:pt x="4" y="24"/>
                </a:cubicBezTo>
                <a:cubicBezTo>
                  <a:pt x="3" y="24"/>
                  <a:pt x="3" y="24"/>
                  <a:pt x="3" y="25"/>
                </a:cubicBezTo>
                <a:cubicBezTo>
                  <a:pt x="3" y="26"/>
                  <a:pt x="2" y="26"/>
                  <a:pt x="1" y="26"/>
                </a:cubicBezTo>
                <a:cubicBezTo>
                  <a:pt x="1" y="26"/>
                  <a:pt x="1" y="27"/>
                  <a:pt x="0" y="27"/>
                </a:cubicBezTo>
                <a:cubicBezTo>
                  <a:pt x="0" y="27"/>
                  <a:pt x="0" y="28"/>
                  <a:pt x="0" y="28"/>
                </a:cubicBezTo>
                <a:cubicBezTo>
                  <a:pt x="1" y="29"/>
                  <a:pt x="0" y="30"/>
                  <a:pt x="1" y="30"/>
                </a:cubicBezTo>
                <a:cubicBezTo>
                  <a:pt x="1" y="30"/>
                  <a:pt x="1" y="31"/>
                  <a:pt x="1" y="32"/>
                </a:cubicBezTo>
                <a:cubicBezTo>
                  <a:pt x="1" y="34"/>
                  <a:pt x="0" y="35"/>
                  <a:pt x="0" y="35"/>
                </a:cubicBezTo>
                <a:cubicBezTo>
                  <a:pt x="1" y="35"/>
                  <a:pt x="2" y="36"/>
                  <a:pt x="2" y="36"/>
                </a:cubicBezTo>
                <a:cubicBezTo>
                  <a:pt x="3" y="36"/>
                  <a:pt x="3" y="36"/>
                  <a:pt x="4" y="36"/>
                </a:cubicBezTo>
                <a:cubicBezTo>
                  <a:pt x="4" y="36"/>
                  <a:pt x="4" y="37"/>
                  <a:pt x="6" y="37"/>
                </a:cubicBezTo>
                <a:cubicBezTo>
                  <a:pt x="8" y="37"/>
                  <a:pt x="12" y="35"/>
                  <a:pt x="13" y="35"/>
                </a:cubicBezTo>
                <a:cubicBezTo>
                  <a:pt x="14" y="35"/>
                  <a:pt x="15" y="35"/>
                  <a:pt x="15" y="35"/>
                </a:cubicBezTo>
                <a:cubicBezTo>
                  <a:pt x="15" y="35"/>
                  <a:pt x="16" y="34"/>
                  <a:pt x="16" y="34"/>
                </a:cubicBezTo>
                <a:cubicBezTo>
                  <a:pt x="17" y="33"/>
                  <a:pt x="19" y="32"/>
                  <a:pt x="20" y="3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3"/>
          <p:cNvSpPr>
            <a:spLocks/>
          </p:cNvSpPr>
          <p:nvPr/>
        </p:nvSpPr>
        <p:spPr bwMode="auto">
          <a:xfrm>
            <a:off x="2562601" y="2921465"/>
            <a:ext cx="225215" cy="178742"/>
          </a:xfrm>
          <a:custGeom>
            <a:avLst/>
            <a:gdLst>
              <a:gd name="T0" fmla="*/ 28 w 47"/>
              <a:gd name="T1" fmla="*/ 8 h 37"/>
              <a:gd name="T2" fmla="*/ 24 w 47"/>
              <a:gd name="T3" fmla="*/ 7 h 37"/>
              <a:gd name="T4" fmla="*/ 22 w 47"/>
              <a:gd name="T5" fmla="*/ 6 h 37"/>
              <a:gd name="T6" fmla="*/ 16 w 47"/>
              <a:gd name="T7" fmla="*/ 2 h 37"/>
              <a:gd name="T8" fmla="*/ 12 w 47"/>
              <a:gd name="T9" fmla="*/ 0 h 37"/>
              <a:gd name="T10" fmla="*/ 10 w 47"/>
              <a:gd name="T11" fmla="*/ 0 h 37"/>
              <a:gd name="T12" fmla="*/ 8 w 47"/>
              <a:gd name="T13" fmla="*/ 1 h 37"/>
              <a:gd name="T14" fmla="*/ 6 w 47"/>
              <a:gd name="T15" fmla="*/ 2 h 37"/>
              <a:gd name="T16" fmla="*/ 7 w 47"/>
              <a:gd name="T17" fmla="*/ 4 h 37"/>
              <a:gd name="T18" fmla="*/ 6 w 47"/>
              <a:gd name="T19" fmla="*/ 5 h 37"/>
              <a:gd name="T20" fmla="*/ 5 w 47"/>
              <a:gd name="T21" fmla="*/ 6 h 37"/>
              <a:gd name="T22" fmla="*/ 3 w 47"/>
              <a:gd name="T23" fmla="*/ 7 h 37"/>
              <a:gd name="T24" fmla="*/ 1 w 47"/>
              <a:gd name="T25" fmla="*/ 6 h 37"/>
              <a:gd name="T26" fmla="*/ 1 w 47"/>
              <a:gd name="T27" fmla="*/ 7 h 37"/>
              <a:gd name="T28" fmla="*/ 1 w 47"/>
              <a:gd name="T29" fmla="*/ 7 h 37"/>
              <a:gd name="T30" fmla="*/ 1 w 47"/>
              <a:gd name="T31" fmla="*/ 10 h 37"/>
              <a:gd name="T32" fmla="*/ 3 w 47"/>
              <a:gd name="T33" fmla="*/ 12 h 37"/>
              <a:gd name="T34" fmla="*/ 6 w 47"/>
              <a:gd name="T35" fmla="*/ 17 h 37"/>
              <a:gd name="T36" fmla="*/ 8 w 47"/>
              <a:gd name="T37" fmla="*/ 19 h 37"/>
              <a:gd name="T38" fmla="*/ 10 w 47"/>
              <a:gd name="T39" fmla="*/ 22 h 37"/>
              <a:gd name="T40" fmla="*/ 10 w 47"/>
              <a:gd name="T41" fmla="*/ 24 h 37"/>
              <a:gd name="T42" fmla="*/ 12 w 47"/>
              <a:gd name="T43" fmla="*/ 28 h 37"/>
              <a:gd name="T44" fmla="*/ 14 w 47"/>
              <a:gd name="T45" fmla="*/ 31 h 37"/>
              <a:gd name="T46" fmla="*/ 17 w 47"/>
              <a:gd name="T47" fmla="*/ 34 h 37"/>
              <a:gd name="T48" fmla="*/ 17 w 47"/>
              <a:gd name="T49" fmla="*/ 36 h 37"/>
              <a:gd name="T50" fmla="*/ 18 w 47"/>
              <a:gd name="T51" fmla="*/ 37 h 37"/>
              <a:gd name="T52" fmla="*/ 19 w 47"/>
              <a:gd name="T53" fmla="*/ 37 h 37"/>
              <a:gd name="T54" fmla="*/ 19 w 47"/>
              <a:gd name="T55" fmla="*/ 35 h 37"/>
              <a:gd name="T56" fmla="*/ 20 w 47"/>
              <a:gd name="T57" fmla="*/ 35 h 37"/>
              <a:gd name="T58" fmla="*/ 22 w 47"/>
              <a:gd name="T59" fmla="*/ 35 h 37"/>
              <a:gd name="T60" fmla="*/ 24 w 47"/>
              <a:gd name="T61" fmla="*/ 35 h 37"/>
              <a:gd name="T62" fmla="*/ 27 w 47"/>
              <a:gd name="T63" fmla="*/ 36 h 37"/>
              <a:gd name="T64" fmla="*/ 29 w 47"/>
              <a:gd name="T65" fmla="*/ 35 h 37"/>
              <a:gd name="T66" fmla="*/ 32 w 47"/>
              <a:gd name="T67" fmla="*/ 32 h 37"/>
              <a:gd name="T68" fmla="*/ 37 w 47"/>
              <a:gd name="T69" fmla="*/ 32 h 37"/>
              <a:gd name="T70" fmla="*/ 46 w 47"/>
              <a:gd name="T71" fmla="*/ 29 h 37"/>
              <a:gd name="T72" fmla="*/ 47 w 47"/>
              <a:gd name="T73" fmla="*/ 24 h 37"/>
              <a:gd name="T74" fmla="*/ 46 w 47"/>
              <a:gd name="T75" fmla="*/ 23 h 37"/>
              <a:gd name="T76" fmla="*/ 40 w 47"/>
              <a:gd name="T77" fmla="*/ 22 h 37"/>
              <a:gd name="T78" fmla="*/ 39 w 47"/>
              <a:gd name="T79" fmla="*/ 20 h 37"/>
              <a:gd name="T80" fmla="*/ 38 w 47"/>
              <a:gd name="T81" fmla="*/ 18 h 37"/>
              <a:gd name="T82" fmla="*/ 36 w 47"/>
              <a:gd name="T83" fmla="*/ 17 h 37"/>
              <a:gd name="T84" fmla="*/ 35 w 47"/>
              <a:gd name="T85" fmla="*/ 15 h 37"/>
              <a:gd name="T86" fmla="*/ 34 w 47"/>
              <a:gd name="T87" fmla="*/ 12 h 37"/>
              <a:gd name="T88" fmla="*/ 32 w 47"/>
              <a:gd name="T89" fmla="*/ 10 h 37"/>
              <a:gd name="T90" fmla="*/ 31 w 47"/>
              <a:gd name="T91" fmla="*/ 9 h 37"/>
              <a:gd name="T92" fmla="*/ 29 w 47"/>
              <a:gd name="T93" fmla="*/ 9 h 37"/>
              <a:gd name="T94" fmla="*/ 28 w 47"/>
              <a:gd name="T9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37">
                <a:moveTo>
                  <a:pt x="28" y="8"/>
                </a:moveTo>
                <a:cubicBezTo>
                  <a:pt x="28" y="8"/>
                  <a:pt x="25" y="7"/>
                  <a:pt x="24" y="7"/>
                </a:cubicBezTo>
                <a:cubicBezTo>
                  <a:pt x="24" y="7"/>
                  <a:pt x="23" y="7"/>
                  <a:pt x="22" y="6"/>
                </a:cubicBezTo>
                <a:cubicBezTo>
                  <a:pt x="21" y="6"/>
                  <a:pt x="17" y="3"/>
                  <a:pt x="16" y="2"/>
                </a:cubicBezTo>
                <a:cubicBezTo>
                  <a:pt x="16" y="2"/>
                  <a:pt x="13" y="0"/>
                  <a:pt x="12" y="0"/>
                </a:cubicBezTo>
                <a:cubicBezTo>
                  <a:pt x="11" y="0"/>
                  <a:pt x="11" y="0"/>
                  <a:pt x="10" y="0"/>
                </a:cubicBezTo>
                <a:cubicBezTo>
                  <a:pt x="9" y="0"/>
                  <a:pt x="10" y="0"/>
                  <a:pt x="8" y="1"/>
                </a:cubicBezTo>
                <a:cubicBezTo>
                  <a:pt x="6" y="1"/>
                  <a:pt x="5" y="2"/>
                  <a:pt x="6" y="2"/>
                </a:cubicBezTo>
                <a:cubicBezTo>
                  <a:pt x="6" y="2"/>
                  <a:pt x="8" y="4"/>
                  <a:pt x="7" y="4"/>
                </a:cubicBezTo>
                <a:cubicBezTo>
                  <a:pt x="7" y="4"/>
                  <a:pt x="7" y="5"/>
                  <a:pt x="6" y="5"/>
                </a:cubicBezTo>
                <a:cubicBezTo>
                  <a:pt x="5" y="5"/>
                  <a:pt x="5" y="5"/>
                  <a:pt x="5" y="6"/>
                </a:cubicBezTo>
                <a:cubicBezTo>
                  <a:pt x="5" y="6"/>
                  <a:pt x="4" y="7"/>
                  <a:pt x="3" y="7"/>
                </a:cubicBezTo>
                <a:cubicBezTo>
                  <a:pt x="3" y="7"/>
                  <a:pt x="2" y="6"/>
                  <a:pt x="1" y="6"/>
                </a:cubicBezTo>
                <a:cubicBezTo>
                  <a:pt x="1" y="7"/>
                  <a:pt x="1" y="7"/>
                  <a:pt x="1" y="7"/>
                </a:cubicBezTo>
                <a:cubicBezTo>
                  <a:pt x="1" y="7"/>
                  <a:pt x="1" y="7"/>
                  <a:pt x="1" y="7"/>
                </a:cubicBezTo>
                <a:cubicBezTo>
                  <a:pt x="1" y="8"/>
                  <a:pt x="0" y="9"/>
                  <a:pt x="1" y="10"/>
                </a:cubicBezTo>
                <a:cubicBezTo>
                  <a:pt x="1" y="10"/>
                  <a:pt x="2" y="11"/>
                  <a:pt x="3" y="12"/>
                </a:cubicBezTo>
                <a:cubicBezTo>
                  <a:pt x="4" y="13"/>
                  <a:pt x="6" y="16"/>
                  <a:pt x="6" y="17"/>
                </a:cubicBezTo>
                <a:cubicBezTo>
                  <a:pt x="6" y="18"/>
                  <a:pt x="6" y="18"/>
                  <a:pt x="8" y="19"/>
                </a:cubicBezTo>
                <a:cubicBezTo>
                  <a:pt x="9" y="20"/>
                  <a:pt x="9" y="21"/>
                  <a:pt x="10" y="22"/>
                </a:cubicBezTo>
                <a:cubicBezTo>
                  <a:pt x="10" y="22"/>
                  <a:pt x="10" y="23"/>
                  <a:pt x="10" y="24"/>
                </a:cubicBezTo>
                <a:cubicBezTo>
                  <a:pt x="10" y="25"/>
                  <a:pt x="11" y="27"/>
                  <a:pt x="12" y="28"/>
                </a:cubicBezTo>
                <a:cubicBezTo>
                  <a:pt x="13" y="29"/>
                  <a:pt x="14" y="29"/>
                  <a:pt x="14" y="31"/>
                </a:cubicBezTo>
                <a:cubicBezTo>
                  <a:pt x="15" y="32"/>
                  <a:pt x="16" y="33"/>
                  <a:pt x="17" y="34"/>
                </a:cubicBezTo>
                <a:cubicBezTo>
                  <a:pt x="17" y="35"/>
                  <a:pt x="17" y="35"/>
                  <a:pt x="17" y="36"/>
                </a:cubicBezTo>
                <a:cubicBezTo>
                  <a:pt x="17" y="36"/>
                  <a:pt x="18" y="37"/>
                  <a:pt x="18" y="37"/>
                </a:cubicBezTo>
                <a:cubicBezTo>
                  <a:pt x="19" y="37"/>
                  <a:pt x="19" y="37"/>
                  <a:pt x="19" y="37"/>
                </a:cubicBezTo>
                <a:cubicBezTo>
                  <a:pt x="19" y="36"/>
                  <a:pt x="19" y="36"/>
                  <a:pt x="19" y="35"/>
                </a:cubicBezTo>
                <a:cubicBezTo>
                  <a:pt x="19" y="35"/>
                  <a:pt x="20" y="35"/>
                  <a:pt x="20" y="35"/>
                </a:cubicBezTo>
                <a:cubicBezTo>
                  <a:pt x="20" y="34"/>
                  <a:pt x="21" y="35"/>
                  <a:pt x="22" y="35"/>
                </a:cubicBezTo>
                <a:cubicBezTo>
                  <a:pt x="22" y="35"/>
                  <a:pt x="24" y="35"/>
                  <a:pt x="24" y="35"/>
                </a:cubicBezTo>
                <a:cubicBezTo>
                  <a:pt x="24" y="35"/>
                  <a:pt x="27" y="35"/>
                  <a:pt x="27" y="36"/>
                </a:cubicBezTo>
                <a:cubicBezTo>
                  <a:pt x="28" y="36"/>
                  <a:pt x="28" y="36"/>
                  <a:pt x="29" y="35"/>
                </a:cubicBezTo>
                <a:cubicBezTo>
                  <a:pt x="29" y="34"/>
                  <a:pt x="32" y="32"/>
                  <a:pt x="32" y="32"/>
                </a:cubicBezTo>
                <a:cubicBezTo>
                  <a:pt x="33" y="32"/>
                  <a:pt x="35" y="32"/>
                  <a:pt x="37" y="32"/>
                </a:cubicBezTo>
                <a:cubicBezTo>
                  <a:pt x="38" y="32"/>
                  <a:pt x="45" y="29"/>
                  <a:pt x="46" y="29"/>
                </a:cubicBezTo>
                <a:cubicBezTo>
                  <a:pt x="46" y="29"/>
                  <a:pt x="47" y="25"/>
                  <a:pt x="47" y="24"/>
                </a:cubicBezTo>
                <a:cubicBezTo>
                  <a:pt x="47" y="24"/>
                  <a:pt x="46" y="23"/>
                  <a:pt x="46" y="23"/>
                </a:cubicBezTo>
                <a:cubicBezTo>
                  <a:pt x="45" y="23"/>
                  <a:pt x="41" y="22"/>
                  <a:pt x="40" y="22"/>
                </a:cubicBezTo>
                <a:cubicBezTo>
                  <a:pt x="40" y="22"/>
                  <a:pt x="39" y="21"/>
                  <a:pt x="39" y="20"/>
                </a:cubicBezTo>
                <a:cubicBezTo>
                  <a:pt x="38" y="19"/>
                  <a:pt x="38" y="19"/>
                  <a:pt x="38" y="18"/>
                </a:cubicBezTo>
                <a:cubicBezTo>
                  <a:pt x="37" y="18"/>
                  <a:pt x="36" y="18"/>
                  <a:pt x="36" y="17"/>
                </a:cubicBezTo>
                <a:cubicBezTo>
                  <a:pt x="35" y="17"/>
                  <a:pt x="34" y="15"/>
                  <a:pt x="35" y="15"/>
                </a:cubicBezTo>
                <a:cubicBezTo>
                  <a:pt x="35" y="14"/>
                  <a:pt x="34" y="13"/>
                  <a:pt x="34" y="12"/>
                </a:cubicBezTo>
                <a:cubicBezTo>
                  <a:pt x="33" y="12"/>
                  <a:pt x="32" y="10"/>
                  <a:pt x="32" y="10"/>
                </a:cubicBezTo>
                <a:cubicBezTo>
                  <a:pt x="31" y="9"/>
                  <a:pt x="31" y="9"/>
                  <a:pt x="31" y="9"/>
                </a:cubicBezTo>
                <a:cubicBezTo>
                  <a:pt x="29" y="9"/>
                  <a:pt x="29" y="9"/>
                  <a:pt x="29" y="9"/>
                </a:cubicBezTo>
                <a:lnTo>
                  <a:pt x="2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24"/>
          <p:cNvSpPr>
            <a:spLocks/>
          </p:cNvSpPr>
          <p:nvPr/>
        </p:nvSpPr>
        <p:spPr bwMode="auto">
          <a:xfrm>
            <a:off x="2752068" y="3003686"/>
            <a:ext cx="85796" cy="96521"/>
          </a:xfrm>
          <a:custGeom>
            <a:avLst/>
            <a:gdLst>
              <a:gd name="T0" fmla="*/ 9 w 18"/>
              <a:gd name="T1" fmla="*/ 0 h 20"/>
              <a:gd name="T2" fmla="*/ 9 w 18"/>
              <a:gd name="T3" fmla="*/ 2 h 20"/>
              <a:gd name="T4" fmla="*/ 7 w 18"/>
              <a:gd name="T5" fmla="*/ 4 h 20"/>
              <a:gd name="T6" fmla="*/ 6 w 18"/>
              <a:gd name="T7" fmla="*/ 6 h 20"/>
              <a:gd name="T8" fmla="*/ 7 w 18"/>
              <a:gd name="T9" fmla="*/ 6 h 20"/>
              <a:gd name="T10" fmla="*/ 8 w 18"/>
              <a:gd name="T11" fmla="*/ 7 h 20"/>
              <a:gd name="T12" fmla="*/ 7 w 18"/>
              <a:gd name="T13" fmla="*/ 12 h 20"/>
              <a:gd name="T14" fmla="*/ 0 w 18"/>
              <a:gd name="T15" fmla="*/ 14 h 20"/>
              <a:gd name="T16" fmla="*/ 2 w 18"/>
              <a:gd name="T17" fmla="*/ 20 h 20"/>
              <a:gd name="T18" fmla="*/ 3 w 18"/>
              <a:gd name="T19" fmla="*/ 19 h 20"/>
              <a:gd name="T20" fmla="*/ 7 w 18"/>
              <a:gd name="T21" fmla="*/ 19 h 20"/>
              <a:gd name="T22" fmla="*/ 7 w 18"/>
              <a:gd name="T23" fmla="*/ 17 h 20"/>
              <a:gd name="T24" fmla="*/ 10 w 18"/>
              <a:gd name="T25" fmla="*/ 17 h 20"/>
              <a:gd name="T26" fmla="*/ 11 w 18"/>
              <a:gd name="T27" fmla="*/ 15 h 20"/>
              <a:gd name="T28" fmla="*/ 13 w 18"/>
              <a:gd name="T29" fmla="*/ 14 h 20"/>
              <a:gd name="T30" fmla="*/ 13 w 18"/>
              <a:gd name="T31" fmla="*/ 11 h 20"/>
              <a:gd name="T32" fmla="*/ 15 w 18"/>
              <a:gd name="T33" fmla="*/ 10 h 20"/>
              <a:gd name="T34" fmla="*/ 17 w 18"/>
              <a:gd name="T35" fmla="*/ 7 h 20"/>
              <a:gd name="T36" fmla="*/ 17 w 18"/>
              <a:gd name="T37" fmla="*/ 6 h 20"/>
              <a:gd name="T38" fmla="*/ 15 w 18"/>
              <a:gd name="T39" fmla="*/ 4 h 20"/>
              <a:gd name="T40" fmla="*/ 11 w 18"/>
              <a:gd name="T41" fmla="*/ 2 h 20"/>
              <a:gd name="T42" fmla="*/ 10 w 18"/>
              <a:gd name="T43" fmla="*/ 0 h 20"/>
              <a:gd name="T44" fmla="*/ 9 w 18"/>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0">
                <a:moveTo>
                  <a:pt x="9" y="0"/>
                </a:moveTo>
                <a:cubicBezTo>
                  <a:pt x="9" y="2"/>
                  <a:pt x="9" y="2"/>
                  <a:pt x="9" y="2"/>
                </a:cubicBezTo>
                <a:cubicBezTo>
                  <a:pt x="7" y="4"/>
                  <a:pt x="7" y="4"/>
                  <a:pt x="7" y="4"/>
                </a:cubicBezTo>
                <a:cubicBezTo>
                  <a:pt x="6" y="6"/>
                  <a:pt x="6" y="6"/>
                  <a:pt x="6" y="6"/>
                </a:cubicBezTo>
                <a:cubicBezTo>
                  <a:pt x="7" y="6"/>
                  <a:pt x="7" y="6"/>
                  <a:pt x="7" y="6"/>
                </a:cubicBezTo>
                <a:cubicBezTo>
                  <a:pt x="7" y="6"/>
                  <a:pt x="8" y="7"/>
                  <a:pt x="8" y="7"/>
                </a:cubicBezTo>
                <a:cubicBezTo>
                  <a:pt x="8" y="8"/>
                  <a:pt x="7" y="12"/>
                  <a:pt x="7" y="12"/>
                </a:cubicBezTo>
                <a:cubicBezTo>
                  <a:pt x="6" y="12"/>
                  <a:pt x="2" y="13"/>
                  <a:pt x="0" y="14"/>
                </a:cubicBezTo>
                <a:cubicBezTo>
                  <a:pt x="0" y="15"/>
                  <a:pt x="1" y="18"/>
                  <a:pt x="2" y="20"/>
                </a:cubicBezTo>
                <a:cubicBezTo>
                  <a:pt x="3" y="20"/>
                  <a:pt x="3" y="20"/>
                  <a:pt x="3" y="19"/>
                </a:cubicBezTo>
                <a:cubicBezTo>
                  <a:pt x="4" y="19"/>
                  <a:pt x="6" y="19"/>
                  <a:pt x="7" y="19"/>
                </a:cubicBezTo>
                <a:cubicBezTo>
                  <a:pt x="8" y="19"/>
                  <a:pt x="7" y="18"/>
                  <a:pt x="7" y="17"/>
                </a:cubicBezTo>
                <a:cubicBezTo>
                  <a:pt x="8" y="16"/>
                  <a:pt x="9" y="17"/>
                  <a:pt x="10" y="17"/>
                </a:cubicBezTo>
                <a:cubicBezTo>
                  <a:pt x="10" y="17"/>
                  <a:pt x="11" y="15"/>
                  <a:pt x="11" y="15"/>
                </a:cubicBezTo>
                <a:cubicBezTo>
                  <a:pt x="12" y="14"/>
                  <a:pt x="13" y="15"/>
                  <a:pt x="13" y="14"/>
                </a:cubicBezTo>
                <a:cubicBezTo>
                  <a:pt x="13" y="13"/>
                  <a:pt x="13" y="11"/>
                  <a:pt x="13" y="11"/>
                </a:cubicBezTo>
                <a:cubicBezTo>
                  <a:pt x="14" y="11"/>
                  <a:pt x="15" y="10"/>
                  <a:pt x="15" y="10"/>
                </a:cubicBezTo>
                <a:cubicBezTo>
                  <a:pt x="15" y="9"/>
                  <a:pt x="17" y="8"/>
                  <a:pt x="17" y="7"/>
                </a:cubicBezTo>
                <a:cubicBezTo>
                  <a:pt x="18" y="6"/>
                  <a:pt x="18" y="6"/>
                  <a:pt x="17" y="6"/>
                </a:cubicBezTo>
                <a:cubicBezTo>
                  <a:pt x="16" y="6"/>
                  <a:pt x="15" y="4"/>
                  <a:pt x="15" y="4"/>
                </a:cubicBezTo>
                <a:cubicBezTo>
                  <a:pt x="15" y="3"/>
                  <a:pt x="13" y="4"/>
                  <a:pt x="11" y="2"/>
                </a:cubicBezTo>
                <a:cubicBezTo>
                  <a:pt x="11" y="2"/>
                  <a:pt x="10" y="1"/>
                  <a:pt x="10" y="0"/>
                </a:cubicBezTo>
                <a:cubicBezTo>
                  <a:pt x="9" y="0"/>
                  <a:pt x="9" y="0"/>
                  <a:pt x="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25"/>
          <p:cNvSpPr>
            <a:spLocks/>
          </p:cNvSpPr>
          <p:nvPr/>
        </p:nvSpPr>
        <p:spPr bwMode="auto">
          <a:xfrm>
            <a:off x="2737768" y="2996536"/>
            <a:ext cx="14299" cy="14299"/>
          </a:xfrm>
          <a:custGeom>
            <a:avLst/>
            <a:gdLst>
              <a:gd name="T0" fmla="*/ 2 w 3"/>
              <a:gd name="T1" fmla="*/ 3 h 3"/>
              <a:gd name="T2" fmla="*/ 2 w 3"/>
              <a:gd name="T3" fmla="*/ 3 h 3"/>
              <a:gd name="T4" fmla="*/ 2 w 3"/>
              <a:gd name="T5" fmla="*/ 0 h 3"/>
              <a:gd name="T6" fmla="*/ 0 w 3"/>
              <a:gd name="T7" fmla="*/ 2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3"/>
                  <a:pt x="2" y="3"/>
                  <a:pt x="2" y="3"/>
                </a:cubicBezTo>
                <a:cubicBezTo>
                  <a:pt x="2" y="2"/>
                  <a:pt x="3" y="0"/>
                  <a:pt x="2" y="0"/>
                </a:cubicBezTo>
                <a:cubicBezTo>
                  <a:pt x="1" y="0"/>
                  <a:pt x="0" y="1"/>
                  <a:pt x="0" y="2"/>
                </a:cubicBezTo>
                <a:cubicBezTo>
                  <a:pt x="0" y="2"/>
                  <a:pt x="0" y="2"/>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26"/>
          <p:cNvSpPr>
            <a:spLocks/>
          </p:cNvSpPr>
          <p:nvPr/>
        </p:nvSpPr>
        <p:spPr bwMode="auto">
          <a:xfrm>
            <a:off x="2752068" y="2989387"/>
            <a:ext cx="46473" cy="46473"/>
          </a:xfrm>
          <a:custGeom>
            <a:avLst/>
            <a:gdLst>
              <a:gd name="T0" fmla="*/ 1 w 10"/>
              <a:gd name="T1" fmla="*/ 8 h 9"/>
              <a:gd name="T2" fmla="*/ 6 w 10"/>
              <a:gd name="T3" fmla="*/ 9 h 9"/>
              <a:gd name="T4" fmla="*/ 7 w 10"/>
              <a:gd name="T5" fmla="*/ 7 h 9"/>
              <a:gd name="T6" fmla="*/ 9 w 10"/>
              <a:gd name="T7" fmla="*/ 5 h 9"/>
              <a:gd name="T8" fmla="*/ 9 w 10"/>
              <a:gd name="T9" fmla="*/ 3 h 9"/>
              <a:gd name="T10" fmla="*/ 9 w 10"/>
              <a:gd name="T11" fmla="*/ 3 h 9"/>
              <a:gd name="T12" fmla="*/ 10 w 10"/>
              <a:gd name="T13" fmla="*/ 3 h 9"/>
              <a:gd name="T14" fmla="*/ 10 w 10"/>
              <a:gd name="T15" fmla="*/ 0 h 9"/>
              <a:gd name="T16" fmla="*/ 7 w 10"/>
              <a:gd name="T17" fmla="*/ 3 h 9"/>
              <a:gd name="T18" fmla="*/ 3 w 10"/>
              <a:gd name="T19" fmla="*/ 5 h 9"/>
              <a:gd name="T20" fmla="*/ 0 w 10"/>
              <a:gd name="T21" fmla="*/ 6 h 9"/>
              <a:gd name="T22" fmla="*/ 0 w 10"/>
              <a:gd name="T23" fmla="*/ 6 h 9"/>
              <a:gd name="T24" fmla="*/ 1 w 10"/>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1" y="8"/>
                </a:moveTo>
                <a:cubicBezTo>
                  <a:pt x="2" y="8"/>
                  <a:pt x="5" y="9"/>
                  <a:pt x="6" y="9"/>
                </a:cubicBezTo>
                <a:cubicBezTo>
                  <a:pt x="7" y="7"/>
                  <a:pt x="7" y="7"/>
                  <a:pt x="7" y="7"/>
                </a:cubicBezTo>
                <a:cubicBezTo>
                  <a:pt x="9" y="5"/>
                  <a:pt x="9" y="5"/>
                  <a:pt x="9" y="5"/>
                </a:cubicBezTo>
                <a:cubicBezTo>
                  <a:pt x="9" y="3"/>
                  <a:pt x="9" y="3"/>
                  <a:pt x="9" y="3"/>
                </a:cubicBezTo>
                <a:cubicBezTo>
                  <a:pt x="9" y="3"/>
                  <a:pt x="9" y="3"/>
                  <a:pt x="9" y="3"/>
                </a:cubicBezTo>
                <a:cubicBezTo>
                  <a:pt x="10" y="3"/>
                  <a:pt x="10" y="3"/>
                  <a:pt x="10" y="3"/>
                </a:cubicBezTo>
                <a:cubicBezTo>
                  <a:pt x="10" y="2"/>
                  <a:pt x="10" y="0"/>
                  <a:pt x="10" y="0"/>
                </a:cubicBezTo>
                <a:cubicBezTo>
                  <a:pt x="9" y="0"/>
                  <a:pt x="8" y="2"/>
                  <a:pt x="7" y="3"/>
                </a:cubicBezTo>
                <a:cubicBezTo>
                  <a:pt x="6" y="4"/>
                  <a:pt x="4" y="5"/>
                  <a:pt x="3" y="5"/>
                </a:cubicBezTo>
                <a:cubicBezTo>
                  <a:pt x="1" y="5"/>
                  <a:pt x="1" y="6"/>
                  <a:pt x="0" y="6"/>
                </a:cubicBezTo>
                <a:cubicBezTo>
                  <a:pt x="0" y="6"/>
                  <a:pt x="0" y="6"/>
                  <a:pt x="0" y="6"/>
                </a:cubicBezTo>
                <a:cubicBezTo>
                  <a:pt x="0" y="7"/>
                  <a:pt x="1" y="8"/>
                  <a:pt x="1"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27"/>
          <p:cNvSpPr>
            <a:spLocks noEditPoints="1"/>
          </p:cNvSpPr>
          <p:nvPr/>
        </p:nvSpPr>
        <p:spPr bwMode="auto">
          <a:xfrm>
            <a:off x="3252546" y="3207453"/>
            <a:ext cx="207341" cy="67922"/>
          </a:xfrm>
          <a:custGeom>
            <a:avLst/>
            <a:gdLst>
              <a:gd name="T0" fmla="*/ 8 w 43"/>
              <a:gd name="T1" fmla="*/ 5 h 14"/>
              <a:gd name="T2" fmla="*/ 6 w 43"/>
              <a:gd name="T3" fmla="*/ 3 h 14"/>
              <a:gd name="T4" fmla="*/ 5 w 43"/>
              <a:gd name="T5" fmla="*/ 2 h 14"/>
              <a:gd name="T6" fmla="*/ 5 w 43"/>
              <a:gd name="T7" fmla="*/ 1 h 14"/>
              <a:gd name="T8" fmla="*/ 4 w 43"/>
              <a:gd name="T9" fmla="*/ 2 h 14"/>
              <a:gd name="T10" fmla="*/ 3 w 43"/>
              <a:gd name="T11" fmla="*/ 2 h 14"/>
              <a:gd name="T12" fmla="*/ 1 w 43"/>
              <a:gd name="T13" fmla="*/ 1 h 14"/>
              <a:gd name="T14" fmla="*/ 0 w 43"/>
              <a:gd name="T15" fmla="*/ 1 h 14"/>
              <a:gd name="T16" fmla="*/ 1 w 43"/>
              <a:gd name="T17" fmla="*/ 4 h 14"/>
              <a:gd name="T18" fmla="*/ 3 w 43"/>
              <a:gd name="T19" fmla="*/ 8 h 14"/>
              <a:gd name="T20" fmla="*/ 5 w 43"/>
              <a:gd name="T21" fmla="*/ 10 h 14"/>
              <a:gd name="T22" fmla="*/ 9 w 43"/>
              <a:gd name="T23" fmla="*/ 13 h 14"/>
              <a:gd name="T24" fmla="*/ 8 w 43"/>
              <a:gd name="T25" fmla="*/ 9 h 14"/>
              <a:gd name="T26" fmla="*/ 8 w 43"/>
              <a:gd name="T27" fmla="*/ 5 h 14"/>
              <a:gd name="T28" fmla="*/ 41 w 43"/>
              <a:gd name="T29" fmla="*/ 3 h 14"/>
              <a:gd name="T30" fmla="*/ 39 w 43"/>
              <a:gd name="T31" fmla="*/ 2 h 14"/>
              <a:gd name="T32" fmla="*/ 37 w 43"/>
              <a:gd name="T33" fmla="*/ 0 h 14"/>
              <a:gd name="T34" fmla="*/ 36 w 43"/>
              <a:gd name="T35" fmla="*/ 3 h 14"/>
              <a:gd name="T36" fmla="*/ 34 w 43"/>
              <a:gd name="T37" fmla="*/ 4 h 14"/>
              <a:gd name="T38" fmla="*/ 34 w 43"/>
              <a:gd name="T39" fmla="*/ 5 h 14"/>
              <a:gd name="T40" fmla="*/ 34 w 43"/>
              <a:gd name="T41" fmla="*/ 6 h 14"/>
              <a:gd name="T42" fmla="*/ 33 w 43"/>
              <a:gd name="T43" fmla="*/ 7 h 14"/>
              <a:gd name="T44" fmla="*/ 31 w 43"/>
              <a:gd name="T45" fmla="*/ 5 h 14"/>
              <a:gd name="T46" fmla="*/ 31 w 43"/>
              <a:gd name="T47" fmla="*/ 5 h 14"/>
              <a:gd name="T48" fmla="*/ 29 w 43"/>
              <a:gd name="T49" fmla="*/ 8 h 14"/>
              <a:gd name="T50" fmla="*/ 26 w 43"/>
              <a:gd name="T51" fmla="*/ 9 h 14"/>
              <a:gd name="T52" fmla="*/ 25 w 43"/>
              <a:gd name="T53" fmla="*/ 12 h 14"/>
              <a:gd name="T54" fmla="*/ 21 w 43"/>
              <a:gd name="T55" fmla="*/ 11 h 14"/>
              <a:gd name="T56" fmla="*/ 22 w 43"/>
              <a:gd name="T57" fmla="*/ 12 h 14"/>
              <a:gd name="T58" fmla="*/ 24 w 43"/>
              <a:gd name="T59" fmla="*/ 13 h 14"/>
              <a:gd name="T60" fmla="*/ 27 w 43"/>
              <a:gd name="T61" fmla="*/ 13 h 14"/>
              <a:gd name="T62" fmla="*/ 29 w 43"/>
              <a:gd name="T63" fmla="*/ 12 h 14"/>
              <a:gd name="T64" fmla="*/ 31 w 43"/>
              <a:gd name="T65" fmla="*/ 13 h 14"/>
              <a:gd name="T66" fmla="*/ 33 w 43"/>
              <a:gd name="T67" fmla="*/ 11 h 14"/>
              <a:gd name="T68" fmla="*/ 34 w 43"/>
              <a:gd name="T69" fmla="*/ 9 h 14"/>
              <a:gd name="T70" fmla="*/ 35 w 43"/>
              <a:gd name="T71" fmla="*/ 7 h 14"/>
              <a:gd name="T72" fmla="*/ 38 w 43"/>
              <a:gd name="T73" fmla="*/ 6 h 14"/>
              <a:gd name="T74" fmla="*/ 39 w 43"/>
              <a:gd name="T75" fmla="*/ 6 h 14"/>
              <a:gd name="T76" fmla="*/ 41 w 43"/>
              <a:gd name="T77" fmla="*/ 5 h 14"/>
              <a:gd name="T78" fmla="*/ 43 w 43"/>
              <a:gd name="T79" fmla="*/ 4 h 14"/>
              <a:gd name="T80" fmla="*/ 41 w 43"/>
              <a:gd name="T8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14">
                <a:moveTo>
                  <a:pt x="8" y="5"/>
                </a:moveTo>
                <a:cubicBezTo>
                  <a:pt x="8" y="4"/>
                  <a:pt x="7" y="4"/>
                  <a:pt x="6" y="3"/>
                </a:cubicBezTo>
                <a:cubicBezTo>
                  <a:pt x="6" y="2"/>
                  <a:pt x="5" y="2"/>
                  <a:pt x="5" y="2"/>
                </a:cubicBezTo>
                <a:cubicBezTo>
                  <a:pt x="5" y="2"/>
                  <a:pt x="5" y="2"/>
                  <a:pt x="5" y="1"/>
                </a:cubicBezTo>
                <a:cubicBezTo>
                  <a:pt x="4" y="2"/>
                  <a:pt x="4" y="2"/>
                  <a:pt x="4" y="2"/>
                </a:cubicBezTo>
                <a:cubicBezTo>
                  <a:pt x="4" y="2"/>
                  <a:pt x="3" y="3"/>
                  <a:pt x="3" y="2"/>
                </a:cubicBezTo>
                <a:cubicBezTo>
                  <a:pt x="3" y="2"/>
                  <a:pt x="2" y="1"/>
                  <a:pt x="1" y="1"/>
                </a:cubicBezTo>
                <a:cubicBezTo>
                  <a:pt x="1" y="1"/>
                  <a:pt x="1" y="1"/>
                  <a:pt x="0" y="1"/>
                </a:cubicBezTo>
                <a:cubicBezTo>
                  <a:pt x="1" y="2"/>
                  <a:pt x="1" y="3"/>
                  <a:pt x="1" y="4"/>
                </a:cubicBezTo>
                <a:cubicBezTo>
                  <a:pt x="1" y="5"/>
                  <a:pt x="3" y="7"/>
                  <a:pt x="3" y="8"/>
                </a:cubicBezTo>
                <a:cubicBezTo>
                  <a:pt x="3" y="9"/>
                  <a:pt x="4" y="9"/>
                  <a:pt x="5" y="10"/>
                </a:cubicBezTo>
                <a:cubicBezTo>
                  <a:pt x="6" y="11"/>
                  <a:pt x="9" y="13"/>
                  <a:pt x="9" y="13"/>
                </a:cubicBezTo>
                <a:cubicBezTo>
                  <a:pt x="10" y="12"/>
                  <a:pt x="9" y="10"/>
                  <a:pt x="8" y="9"/>
                </a:cubicBezTo>
                <a:cubicBezTo>
                  <a:pt x="7" y="9"/>
                  <a:pt x="8" y="7"/>
                  <a:pt x="8" y="5"/>
                </a:cubicBezTo>
                <a:moveTo>
                  <a:pt x="41" y="3"/>
                </a:moveTo>
                <a:cubicBezTo>
                  <a:pt x="41" y="3"/>
                  <a:pt x="39" y="3"/>
                  <a:pt x="39" y="2"/>
                </a:cubicBezTo>
                <a:cubicBezTo>
                  <a:pt x="39" y="2"/>
                  <a:pt x="38" y="0"/>
                  <a:pt x="37" y="0"/>
                </a:cubicBezTo>
                <a:cubicBezTo>
                  <a:pt x="37" y="0"/>
                  <a:pt x="36" y="2"/>
                  <a:pt x="36" y="3"/>
                </a:cubicBezTo>
                <a:cubicBezTo>
                  <a:pt x="36" y="3"/>
                  <a:pt x="34" y="3"/>
                  <a:pt x="34" y="4"/>
                </a:cubicBezTo>
                <a:cubicBezTo>
                  <a:pt x="34" y="4"/>
                  <a:pt x="34" y="5"/>
                  <a:pt x="34" y="5"/>
                </a:cubicBezTo>
                <a:cubicBezTo>
                  <a:pt x="34" y="6"/>
                  <a:pt x="34" y="6"/>
                  <a:pt x="34" y="6"/>
                </a:cubicBezTo>
                <a:cubicBezTo>
                  <a:pt x="33" y="6"/>
                  <a:pt x="33" y="7"/>
                  <a:pt x="33" y="7"/>
                </a:cubicBezTo>
                <a:cubicBezTo>
                  <a:pt x="32" y="7"/>
                  <a:pt x="32" y="6"/>
                  <a:pt x="31" y="5"/>
                </a:cubicBezTo>
                <a:cubicBezTo>
                  <a:pt x="31" y="5"/>
                  <a:pt x="31" y="5"/>
                  <a:pt x="31" y="5"/>
                </a:cubicBezTo>
                <a:cubicBezTo>
                  <a:pt x="31" y="5"/>
                  <a:pt x="30" y="7"/>
                  <a:pt x="29" y="8"/>
                </a:cubicBezTo>
                <a:cubicBezTo>
                  <a:pt x="29" y="9"/>
                  <a:pt x="28" y="9"/>
                  <a:pt x="26" y="9"/>
                </a:cubicBezTo>
                <a:cubicBezTo>
                  <a:pt x="24" y="9"/>
                  <a:pt x="25" y="11"/>
                  <a:pt x="25" y="12"/>
                </a:cubicBezTo>
                <a:cubicBezTo>
                  <a:pt x="24" y="13"/>
                  <a:pt x="22" y="11"/>
                  <a:pt x="21" y="11"/>
                </a:cubicBezTo>
                <a:cubicBezTo>
                  <a:pt x="22" y="12"/>
                  <a:pt x="22" y="12"/>
                  <a:pt x="22" y="12"/>
                </a:cubicBezTo>
                <a:cubicBezTo>
                  <a:pt x="23" y="12"/>
                  <a:pt x="23" y="14"/>
                  <a:pt x="24" y="13"/>
                </a:cubicBezTo>
                <a:cubicBezTo>
                  <a:pt x="24" y="13"/>
                  <a:pt x="26" y="13"/>
                  <a:pt x="27" y="13"/>
                </a:cubicBezTo>
                <a:cubicBezTo>
                  <a:pt x="28" y="13"/>
                  <a:pt x="28" y="12"/>
                  <a:pt x="29" y="12"/>
                </a:cubicBezTo>
                <a:cubicBezTo>
                  <a:pt x="30" y="12"/>
                  <a:pt x="30" y="13"/>
                  <a:pt x="31" y="13"/>
                </a:cubicBezTo>
                <a:cubicBezTo>
                  <a:pt x="32" y="12"/>
                  <a:pt x="33" y="12"/>
                  <a:pt x="33" y="11"/>
                </a:cubicBezTo>
                <a:cubicBezTo>
                  <a:pt x="33" y="10"/>
                  <a:pt x="34" y="10"/>
                  <a:pt x="34" y="9"/>
                </a:cubicBezTo>
                <a:cubicBezTo>
                  <a:pt x="34" y="8"/>
                  <a:pt x="35" y="9"/>
                  <a:pt x="35" y="7"/>
                </a:cubicBezTo>
                <a:cubicBezTo>
                  <a:pt x="35" y="5"/>
                  <a:pt x="37" y="6"/>
                  <a:pt x="38" y="6"/>
                </a:cubicBezTo>
                <a:cubicBezTo>
                  <a:pt x="39" y="6"/>
                  <a:pt x="39" y="6"/>
                  <a:pt x="39" y="6"/>
                </a:cubicBezTo>
                <a:cubicBezTo>
                  <a:pt x="40" y="6"/>
                  <a:pt x="41" y="5"/>
                  <a:pt x="41" y="5"/>
                </a:cubicBezTo>
                <a:cubicBezTo>
                  <a:pt x="40" y="4"/>
                  <a:pt x="43" y="5"/>
                  <a:pt x="43" y="4"/>
                </a:cubicBezTo>
                <a:cubicBezTo>
                  <a:pt x="43" y="3"/>
                  <a:pt x="42" y="2"/>
                  <a:pt x="4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28"/>
          <p:cNvSpPr>
            <a:spLocks/>
          </p:cNvSpPr>
          <p:nvPr/>
        </p:nvSpPr>
        <p:spPr bwMode="auto">
          <a:xfrm>
            <a:off x="3402690" y="3232476"/>
            <a:ext cx="14299" cy="10725"/>
          </a:xfrm>
          <a:custGeom>
            <a:avLst/>
            <a:gdLst>
              <a:gd name="T0" fmla="*/ 2 w 3"/>
              <a:gd name="T1" fmla="*/ 2 h 2"/>
              <a:gd name="T2" fmla="*/ 3 w 3"/>
              <a:gd name="T3" fmla="*/ 1 h 2"/>
              <a:gd name="T4" fmla="*/ 3 w 3"/>
              <a:gd name="T5" fmla="*/ 0 h 2"/>
              <a:gd name="T6" fmla="*/ 2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2"/>
                  <a:pt x="2" y="1"/>
                  <a:pt x="3" y="1"/>
                </a:cubicBezTo>
                <a:cubicBezTo>
                  <a:pt x="3" y="1"/>
                  <a:pt x="3" y="1"/>
                  <a:pt x="3" y="0"/>
                </a:cubicBezTo>
                <a:cubicBezTo>
                  <a:pt x="2" y="0"/>
                  <a:pt x="2" y="0"/>
                  <a:pt x="2" y="0"/>
                </a:cubicBezTo>
                <a:cubicBezTo>
                  <a:pt x="2" y="1"/>
                  <a:pt x="1" y="0"/>
                  <a:pt x="0" y="0"/>
                </a:cubicBezTo>
                <a:cubicBezTo>
                  <a:pt x="1" y="1"/>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29"/>
          <p:cNvSpPr>
            <a:spLocks/>
          </p:cNvSpPr>
          <p:nvPr/>
        </p:nvSpPr>
        <p:spPr bwMode="auto">
          <a:xfrm>
            <a:off x="2609074" y="2857117"/>
            <a:ext cx="103671" cy="100096"/>
          </a:xfrm>
          <a:custGeom>
            <a:avLst/>
            <a:gdLst>
              <a:gd name="T0" fmla="*/ 18 w 21"/>
              <a:gd name="T1" fmla="*/ 20 h 21"/>
              <a:gd name="T2" fmla="*/ 19 w 21"/>
              <a:gd name="T3" fmla="*/ 19 h 21"/>
              <a:gd name="T4" fmla="*/ 20 w 21"/>
              <a:gd name="T5" fmla="*/ 20 h 21"/>
              <a:gd name="T6" fmla="*/ 21 w 21"/>
              <a:gd name="T7" fmla="*/ 19 h 21"/>
              <a:gd name="T8" fmla="*/ 20 w 21"/>
              <a:gd name="T9" fmla="*/ 17 h 21"/>
              <a:gd name="T10" fmla="*/ 19 w 21"/>
              <a:gd name="T11" fmla="*/ 16 h 21"/>
              <a:gd name="T12" fmla="*/ 19 w 21"/>
              <a:gd name="T13" fmla="*/ 14 h 21"/>
              <a:gd name="T14" fmla="*/ 18 w 21"/>
              <a:gd name="T15" fmla="*/ 13 h 21"/>
              <a:gd name="T16" fmla="*/ 16 w 21"/>
              <a:gd name="T17" fmla="*/ 11 h 21"/>
              <a:gd name="T18" fmla="*/ 15 w 21"/>
              <a:gd name="T19" fmla="*/ 10 h 21"/>
              <a:gd name="T20" fmla="*/ 15 w 21"/>
              <a:gd name="T21" fmla="*/ 8 h 21"/>
              <a:gd name="T22" fmla="*/ 16 w 21"/>
              <a:gd name="T23" fmla="*/ 6 h 21"/>
              <a:gd name="T24" fmla="*/ 16 w 21"/>
              <a:gd name="T25" fmla="*/ 5 h 21"/>
              <a:gd name="T26" fmla="*/ 15 w 21"/>
              <a:gd name="T27" fmla="*/ 4 h 21"/>
              <a:gd name="T28" fmla="*/ 14 w 21"/>
              <a:gd name="T29" fmla="*/ 3 h 21"/>
              <a:gd name="T30" fmla="*/ 13 w 21"/>
              <a:gd name="T31" fmla="*/ 1 h 21"/>
              <a:gd name="T32" fmla="*/ 11 w 21"/>
              <a:gd name="T33" fmla="*/ 1 h 21"/>
              <a:gd name="T34" fmla="*/ 9 w 21"/>
              <a:gd name="T35" fmla="*/ 0 h 21"/>
              <a:gd name="T36" fmla="*/ 8 w 21"/>
              <a:gd name="T37" fmla="*/ 1 h 21"/>
              <a:gd name="T38" fmla="*/ 8 w 21"/>
              <a:gd name="T39" fmla="*/ 1 h 21"/>
              <a:gd name="T40" fmla="*/ 6 w 21"/>
              <a:gd name="T41" fmla="*/ 2 h 21"/>
              <a:gd name="T42" fmla="*/ 5 w 21"/>
              <a:gd name="T43" fmla="*/ 3 h 21"/>
              <a:gd name="T44" fmla="*/ 5 w 21"/>
              <a:gd name="T45" fmla="*/ 5 h 21"/>
              <a:gd name="T46" fmla="*/ 5 w 21"/>
              <a:gd name="T47" fmla="*/ 7 h 21"/>
              <a:gd name="T48" fmla="*/ 4 w 21"/>
              <a:gd name="T49" fmla="*/ 8 h 21"/>
              <a:gd name="T50" fmla="*/ 0 w 21"/>
              <a:gd name="T51" fmla="*/ 11 h 21"/>
              <a:gd name="T52" fmla="*/ 0 w 21"/>
              <a:gd name="T53" fmla="*/ 12 h 21"/>
              <a:gd name="T54" fmla="*/ 0 w 21"/>
              <a:gd name="T55" fmla="*/ 14 h 21"/>
              <a:gd name="T56" fmla="*/ 2 w 21"/>
              <a:gd name="T57" fmla="*/ 14 h 21"/>
              <a:gd name="T58" fmla="*/ 6 w 21"/>
              <a:gd name="T59" fmla="*/ 16 h 21"/>
              <a:gd name="T60" fmla="*/ 12 w 21"/>
              <a:gd name="T61" fmla="*/ 20 h 21"/>
              <a:gd name="T62" fmla="*/ 14 w 21"/>
              <a:gd name="T63" fmla="*/ 21 h 21"/>
              <a:gd name="T64" fmla="*/ 17 w 21"/>
              <a:gd name="T65" fmla="*/ 21 h 21"/>
              <a:gd name="T66" fmla="*/ 18 w 21"/>
              <a:gd name="T6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8" y="20"/>
                </a:moveTo>
                <a:cubicBezTo>
                  <a:pt x="18" y="19"/>
                  <a:pt x="18" y="19"/>
                  <a:pt x="19" y="19"/>
                </a:cubicBezTo>
                <a:cubicBezTo>
                  <a:pt x="19" y="19"/>
                  <a:pt x="20" y="19"/>
                  <a:pt x="20" y="20"/>
                </a:cubicBezTo>
                <a:cubicBezTo>
                  <a:pt x="21" y="19"/>
                  <a:pt x="21" y="19"/>
                  <a:pt x="21" y="19"/>
                </a:cubicBezTo>
                <a:cubicBezTo>
                  <a:pt x="21" y="18"/>
                  <a:pt x="20" y="18"/>
                  <a:pt x="20" y="17"/>
                </a:cubicBezTo>
                <a:cubicBezTo>
                  <a:pt x="20" y="17"/>
                  <a:pt x="19" y="16"/>
                  <a:pt x="19" y="16"/>
                </a:cubicBezTo>
                <a:cubicBezTo>
                  <a:pt x="19" y="15"/>
                  <a:pt x="20" y="15"/>
                  <a:pt x="19" y="14"/>
                </a:cubicBezTo>
                <a:cubicBezTo>
                  <a:pt x="19" y="14"/>
                  <a:pt x="19" y="13"/>
                  <a:pt x="18" y="13"/>
                </a:cubicBezTo>
                <a:cubicBezTo>
                  <a:pt x="18" y="13"/>
                  <a:pt x="16" y="12"/>
                  <a:pt x="16" y="11"/>
                </a:cubicBezTo>
                <a:cubicBezTo>
                  <a:pt x="16" y="11"/>
                  <a:pt x="15" y="10"/>
                  <a:pt x="15" y="10"/>
                </a:cubicBezTo>
                <a:cubicBezTo>
                  <a:pt x="15" y="10"/>
                  <a:pt x="14" y="8"/>
                  <a:pt x="15" y="8"/>
                </a:cubicBezTo>
                <a:cubicBezTo>
                  <a:pt x="15" y="8"/>
                  <a:pt x="15" y="6"/>
                  <a:pt x="16" y="6"/>
                </a:cubicBezTo>
                <a:cubicBezTo>
                  <a:pt x="16" y="6"/>
                  <a:pt x="16" y="6"/>
                  <a:pt x="16" y="5"/>
                </a:cubicBezTo>
                <a:cubicBezTo>
                  <a:pt x="16" y="5"/>
                  <a:pt x="15" y="4"/>
                  <a:pt x="15" y="4"/>
                </a:cubicBezTo>
                <a:cubicBezTo>
                  <a:pt x="14" y="4"/>
                  <a:pt x="14" y="4"/>
                  <a:pt x="14" y="3"/>
                </a:cubicBezTo>
                <a:cubicBezTo>
                  <a:pt x="14" y="2"/>
                  <a:pt x="13" y="1"/>
                  <a:pt x="13" y="1"/>
                </a:cubicBezTo>
                <a:cubicBezTo>
                  <a:pt x="13" y="2"/>
                  <a:pt x="11" y="1"/>
                  <a:pt x="11" y="1"/>
                </a:cubicBezTo>
                <a:cubicBezTo>
                  <a:pt x="10" y="1"/>
                  <a:pt x="10" y="0"/>
                  <a:pt x="9" y="0"/>
                </a:cubicBezTo>
                <a:cubicBezTo>
                  <a:pt x="8" y="1"/>
                  <a:pt x="8" y="1"/>
                  <a:pt x="8" y="1"/>
                </a:cubicBezTo>
                <a:cubicBezTo>
                  <a:pt x="8" y="1"/>
                  <a:pt x="8" y="1"/>
                  <a:pt x="8" y="1"/>
                </a:cubicBezTo>
                <a:cubicBezTo>
                  <a:pt x="6" y="2"/>
                  <a:pt x="6" y="2"/>
                  <a:pt x="6" y="2"/>
                </a:cubicBezTo>
                <a:cubicBezTo>
                  <a:pt x="6" y="2"/>
                  <a:pt x="5" y="3"/>
                  <a:pt x="5" y="3"/>
                </a:cubicBezTo>
                <a:cubicBezTo>
                  <a:pt x="5" y="4"/>
                  <a:pt x="6" y="5"/>
                  <a:pt x="5" y="5"/>
                </a:cubicBezTo>
                <a:cubicBezTo>
                  <a:pt x="5" y="5"/>
                  <a:pt x="5" y="6"/>
                  <a:pt x="5" y="7"/>
                </a:cubicBezTo>
                <a:cubicBezTo>
                  <a:pt x="5" y="7"/>
                  <a:pt x="4" y="8"/>
                  <a:pt x="4" y="8"/>
                </a:cubicBezTo>
                <a:cubicBezTo>
                  <a:pt x="4" y="8"/>
                  <a:pt x="2" y="9"/>
                  <a:pt x="0" y="11"/>
                </a:cubicBezTo>
                <a:cubicBezTo>
                  <a:pt x="0" y="11"/>
                  <a:pt x="0" y="11"/>
                  <a:pt x="0" y="12"/>
                </a:cubicBezTo>
                <a:cubicBezTo>
                  <a:pt x="0" y="12"/>
                  <a:pt x="0" y="13"/>
                  <a:pt x="0" y="14"/>
                </a:cubicBezTo>
                <a:cubicBezTo>
                  <a:pt x="1" y="14"/>
                  <a:pt x="1" y="14"/>
                  <a:pt x="2" y="14"/>
                </a:cubicBezTo>
                <a:cubicBezTo>
                  <a:pt x="3" y="14"/>
                  <a:pt x="6" y="16"/>
                  <a:pt x="6" y="16"/>
                </a:cubicBezTo>
                <a:cubicBezTo>
                  <a:pt x="7" y="17"/>
                  <a:pt x="11" y="20"/>
                  <a:pt x="12" y="20"/>
                </a:cubicBezTo>
                <a:cubicBezTo>
                  <a:pt x="13" y="21"/>
                  <a:pt x="14" y="21"/>
                  <a:pt x="14" y="21"/>
                </a:cubicBezTo>
                <a:cubicBezTo>
                  <a:pt x="15" y="21"/>
                  <a:pt x="16" y="21"/>
                  <a:pt x="17" y="21"/>
                </a:cubicBezTo>
                <a:cubicBezTo>
                  <a:pt x="17" y="21"/>
                  <a:pt x="18" y="20"/>
                  <a:pt x="18"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0"/>
          <p:cNvSpPr>
            <a:spLocks/>
          </p:cNvSpPr>
          <p:nvPr/>
        </p:nvSpPr>
        <p:spPr bwMode="auto">
          <a:xfrm>
            <a:off x="2691295" y="2946489"/>
            <a:ext cx="21449" cy="21449"/>
          </a:xfrm>
          <a:custGeom>
            <a:avLst/>
            <a:gdLst>
              <a:gd name="T0" fmla="*/ 1 w 4"/>
              <a:gd name="T1" fmla="*/ 3 h 4"/>
              <a:gd name="T2" fmla="*/ 2 w 4"/>
              <a:gd name="T3" fmla="*/ 4 h 4"/>
              <a:gd name="T4" fmla="*/ 4 w 4"/>
              <a:gd name="T5" fmla="*/ 4 h 4"/>
              <a:gd name="T6" fmla="*/ 3 w 4"/>
              <a:gd name="T7" fmla="*/ 1 h 4"/>
              <a:gd name="T8" fmla="*/ 3 w 4"/>
              <a:gd name="T9" fmla="*/ 1 h 4"/>
              <a:gd name="T10" fmla="*/ 2 w 4"/>
              <a:gd name="T11" fmla="*/ 0 h 4"/>
              <a:gd name="T12" fmla="*/ 1 w 4"/>
              <a:gd name="T13" fmla="*/ 1 h 4"/>
              <a:gd name="T14" fmla="*/ 0 w 4"/>
              <a:gd name="T15" fmla="*/ 2 h 4"/>
              <a:gd name="T16" fmla="*/ 1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3"/>
                </a:moveTo>
                <a:cubicBezTo>
                  <a:pt x="2" y="4"/>
                  <a:pt x="2" y="4"/>
                  <a:pt x="2" y="4"/>
                </a:cubicBezTo>
                <a:cubicBezTo>
                  <a:pt x="4" y="4"/>
                  <a:pt x="4" y="4"/>
                  <a:pt x="4" y="4"/>
                </a:cubicBezTo>
                <a:cubicBezTo>
                  <a:pt x="4" y="3"/>
                  <a:pt x="3" y="1"/>
                  <a:pt x="3" y="1"/>
                </a:cubicBezTo>
                <a:cubicBezTo>
                  <a:pt x="3" y="1"/>
                  <a:pt x="3" y="1"/>
                  <a:pt x="3" y="1"/>
                </a:cubicBezTo>
                <a:cubicBezTo>
                  <a:pt x="3" y="0"/>
                  <a:pt x="2" y="0"/>
                  <a:pt x="2" y="0"/>
                </a:cubicBezTo>
                <a:cubicBezTo>
                  <a:pt x="1" y="0"/>
                  <a:pt x="1" y="0"/>
                  <a:pt x="1" y="1"/>
                </a:cubicBezTo>
                <a:cubicBezTo>
                  <a:pt x="1" y="1"/>
                  <a:pt x="0" y="2"/>
                  <a:pt x="0" y="2"/>
                </a:cubicBezTo>
                <a:cubicBezTo>
                  <a:pt x="1" y="3"/>
                  <a:pt x="1"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31"/>
          <p:cNvSpPr>
            <a:spLocks noEditPoints="1"/>
          </p:cNvSpPr>
          <p:nvPr/>
        </p:nvSpPr>
        <p:spPr bwMode="auto">
          <a:xfrm>
            <a:off x="2147918" y="2678375"/>
            <a:ext cx="153718" cy="128695"/>
          </a:xfrm>
          <a:custGeom>
            <a:avLst/>
            <a:gdLst>
              <a:gd name="T0" fmla="*/ 28 w 32"/>
              <a:gd name="T1" fmla="*/ 6 h 27"/>
              <a:gd name="T2" fmla="*/ 27 w 32"/>
              <a:gd name="T3" fmla="*/ 6 h 27"/>
              <a:gd name="T4" fmla="*/ 26 w 32"/>
              <a:gd name="T5" fmla="*/ 5 h 27"/>
              <a:gd name="T6" fmla="*/ 24 w 32"/>
              <a:gd name="T7" fmla="*/ 5 h 27"/>
              <a:gd name="T8" fmla="*/ 22 w 32"/>
              <a:gd name="T9" fmla="*/ 4 h 27"/>
              <a:gd name="T10" fmla="*/ 22 w 32"/>
              <a:gd name="T11" fmla="*/ 3 h 27"/>
              <a:gd name="T12" fmla="*/ 21 w 32"/>
              <a:gd name="T13" fmla="*/ 3 h 27"/>
              <a:gd name="T14" fmla="*/ 20 w 32"/>
              <a:gd name="T15" fmla="*/ 3 h 27"/>
              <a:gd name="T16" fmla="*/ 19 w 32"/>
              <a:gd name="T17" fmla="*/ 2 h 27"/>
              <a:gd name="T18" fmla="*/ 18 w 32"/>
              <a:gd name="T19" fmla="*/ 1 h 27"/>
              <a:gd name="T20" fmla="*/ 17 w 32"/>
              <a:gd name="T21" fmla="*/ 0 h 27"/>
              <a:gd name="T22" fmla="*/ 17 w 32"/>
              <a:gd name="T23" fmla="*/ 0 h 27"/>
              <a:gd name="T24" fmla="*/ 16 w 32"/>
              <a:gd name="T25" fmla="*/ 0 h 27"/>
              <a:gd name="T26" fmla="*/ 15 w 32"/>
              <a:gd name="T27" fmla="*/ 2 h 27"/>
              <a:gd name="T28" fmla="*/ 12 w 32"/>
              <a:gd name="T29" fmla="*/ 3 h 27"/>
              <a:gd name="T30" fmla="*/ 11 w 32"/>
              <a:gd name="T31" fmla="*/ 5 h 27"/>
              <a:gd name="T32" fmla="*/ 8 w 32"/>
              <a:gd name="T33" fmla="*/ 4 h 27"/>
              <a:gd name="T34" fmla="*/ 7 w 32"/>
              <a:gd name="T35" fmla="*/ 5 h 27"/>
              <a:gd name="T36" fmla="*/ 7 w 32"/>
              <a:gd name="T37" fmla="*/ 7 h 27"/>
              <a:gd name="T38" fmla="*/ 5 w 32"/>
              <a:gd name="T39" fmla="*/ 7 h 27"/>
              <a:gd name="T40" fmla="*/ 4 w 32"/>
              <a:gd name="T41" fmla="*/ 7 h 27"/>
              <a:gd name="T42" fmla="*/ 2 w 32"/>
              <a:gd name="T43" fmla="*/ 7 h 27"/>
              <a:gd name="T44" fmla="*/ 1 w 32"/>
              <a:gd name="T45" fmla="*/ 8 h 27"/>
              <a:gd name="T46" fmla="*/ 1 w 32"/>
              <a:gd name="T47" fmla="*/ 9 h 27"/>
              <a:gd name="T48" fmla="*/ 4 w 32"/>
              <a:gd name="T49" fmla="*/ 10 h 27"/>
              <a:gd name="T50" fmla="*/ 6 w 32"/>
              <a:gd name="T51" fmla="*/ 11 h 27"/>
              <a:gd name="T52" fmla="*/ 6 w 32"/>
              <a:gd name="T53" fmla="*/ 12 h 27"/>
              <a:gd name="T54" fmla="*/ 8 w 32"/>
              <a:gd name="T55" fmla="*/ 14 h 27"/>
              <a:gd name="T56" fmla="*/ 9 w 32"/>
              <a:gd name="T57" fmla="*/ 15 h 27"/>
              <a:gd name="T58" fmla="*/ 8 w 32"/>
              <a:gd name="T59" fmla="*/ 18 h 27"/>
              <a:gd name="T60" fmla="*/ 7 w 32"/>
              <a:gd name="T61" fmla="*/ 22 h 27"/>
              <a:gd name="T62" fmla="*/ 7 w 32"/>
              <a:gd name="T63" fmla="*/ 22 h 27"/>
              <a:gd name="T64" fmla="*/ 8 w 32"/>
              <a:gd name="T65" fmla="*/ 23 h 27"/>
              <a:gd name="T66" fmla="*/ 11 w 32"/>
              <a:gd name="T67" fmla="*/ 24 h 27"/>
              <a:gd name="T68" fmla="*/ 12 w 32"/>
              <a:gd name="T69" fmla="*/ 23 h 27"/>
              <a:gd name="T70" fmla="*/ 13 w 32"/>
              <a:gd name="T71" fmla="*/ 24 h 27"/>
              <a:gd name="T72" fmla="*/ 16 w 32"/>
              <a:gd name="T73" fmla="*/ 24 h 27"/>
              <a:gd name="T74" fmla="*/ 18 w 32"/>
              <a:gd name="T75" fmla="*/ 24 h 27"/>
              <a:gd name="T76" fmla="*/ 18 w 32"/>
              <a:gd name="T77" fmla="*/ 24 h 27"/>
              <a:gd name="T78" fmla="*/ 20 w 32"/>
              <a:gd name="T79" fmla="*/ 22 h 27"/>
              <a:gd name="T80" fmla="*/ 24 w 32"/>
              <a:gd name="T81" fmla="*/ 22 h 27"/>
              <a:gd name="T82" fmla="*/ 27 w 32"/>
              <a:gd name="T83" fmla="*/ 22 h 27"/>
              <a:gd name="T84" fmla="*/ 28 w 32"/>
              <a:gd name="T85" fmla="*/ 21 h 27"/>
              <a:gd name="T86" fmla="*/ 28 w 32"/>
              <a:gd name="T87" fmla="*/ 20 h 27"/>
              <a:gd name="T88" fmla="*/ 27 w 32"/>
              <a:gd name="T89" fmla="*/ 20 h 27"/>
              <a:gd name="T90" fmla="*/ 27 w 32"/>
              <a:gd name="T91" fmla="*/ 19 h 27"/>
              <a:gd name="T92" fmla="*/ 26 w 32"/>
              <a:gd name="T93" fmla="*/ 17 h 27"/>
              <a:gd name="T94" fmla="*/ 26 w 32"/>
              <a:gd name="T95" fmla="*/ 17 h 27"/>
              <a:gd name="T96" fmla="*/ 27 w 32"/>
              <a:gd name="T97" fmla="*/ 16 h 27"/>
              <a:gd name="T98" fmla="*/ 27 w 32"/>
              <a:gd name="T99" fmla="*/ 15 h 27"/>
              <a:gd name="T100" fmla="*/ 26 w 32"/>
              <a:gd name="T101" fmla="*/ 14 h 27"/>
              <a:gd name="T102" fmla="*/ 25 w 32"/>
              <a:gd name="T103" fmla="*/ 14 h 27"/>
              <a:gd name="T104" fmla="*/ 25 w 32"/>
              <a:gd name="T105" fmla="*/ 13 h 27"/>
              <a:gd name="T106" fmla="*/ 26 w 32"/>
              <a:gd name="T107" fmla="*/ 11 h 27"/>
              <a:gd name="T108" fmla="*/ 28 w 32"/>
              <a:gd name="T109" fmla="*/ 10 h 27"/>
              <a:gd name="T110" fmla="*/ 28 w 32"/>
              <a:gd name="T111" fmla="*/ 9 h 27"/>
              <a:gd name="T112" fmla="*/ 29 w 32"/>
              <a:gd name="T113" fmla="*/ 7 h 27"/>
              <a:gd name="T114" fmla="*/ 28 w 32"/>
              <a:gd name="T115" fmla="*/ 6 h 27"/>
              <a:gd name="T116" fmla="*/ 32 w 32"/>
              <a:gd name="T117" fmla="*/ 23 h 27"/>
              <a:gd name="T118" fmla="*/ 31 w 32"/>
              <a:gd name="T119" fmla="*/ 24 h 27"/>
              <a:gd name="T120" fmla="*/ 32 w 32"/>
              <a:gd name="T121" fmla="*/ 27 h 27"/>
              <a:gd name="T122" fmla="*/ 32 w 32"/>
              <a:gd name="T1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7">
                <a:moveTo>
                  <a:pt x="28" y="6"/>
                </a:moveTo>
                <a:cubicBezTo>
                  <a:pt x="28" y="6"/>
                  <a:pt x="28" y="6"/>
                  <a:pt x="27" y="6"/>
                </a:cubicBezTo>
                <a:cubicBezTo>
                  <a:pt x="27" y="6"/>
                  <a:pt x="26" y="5"/>
                  <a:pt x="26" y="5"/>
                </a:cubicBezTo>
                <a:cubicBezTo>
                  <a:pt x="26" y="5"/>
                  <a:pt x="24" y="5"/>
                  <a:pt x="24" y="5"/>
                </a:cubicBezTo>
                <a:cubicBezTo>
                  <a:pt x="23" y="5"/>
                  <a:pt x="23" y="4"/>
                  <a:pt x="22" y="4"/>
                </a:cubicBezTo>
                <a:cubicBezTo>
                  <a:pt x="22" y="4"/>
                  <a:pt x="22" y="3"/>
                  <a:pt x="22" y="3"/>
                </a:cubicBezTo>
                <a:cubicBezTo>
                  <a:pt x="22" y="2"/>
                  <a:pt x="21" y="3"/>
                  <a:pt x="21" y="3"/>
                </a:cubicBezTo>
                <a:cubicBezTo>
                  <a:pt x="20" y="4"/>
                  <a:pt x="20" y="3"/>
                  <a:pt x="20" y="3"/>
                </a:cubicBezTo>
                <a:cubicBezTo>
                  <a:pt x="20" y="2"/>
                  <a:pt x="19" y="2"/>
                  <a:pt x="19" y="2"/>
                </a:cubicBezTo>
                <a:cubicBezTo>
                  <a:pt x="18" y="2"/>
                  <a:pt x="18" y="1"/>
                  <a:pt x="18" y="1"/>
                </a:cubicBezTo>
                <a:cubicBezTo>
                  <a:pt x="17" y="1"/>
                  <a:pt x="17" y="1"/>
                  <a:pt x="17" y="0"/>
                </a:cubicBezTo>
                <a:cubicBezTo>
                  <a:pt x="17" y="0"/>
                  <a:pt x="17" y="0"/>
                  <a:pt x="17" y="0"/>
                </a:cubicBezTo>
                <a:cubicBezTo>
                  <a:pt x="16" y="0"/>
                  <a:pt x="16" y="0"/>
                  <a:pt x="16" y="0"/>
                </a:cubicBezTo>
                <a:cubicBezTo>
                  <a:pt x="15" y="0"/>
                  <a:pt x="15" y="1"/>
                  <a:pt x="15" y="2"/>
                </a:cubicBezTo>
                <a:cubicBezTo>
                  <a:pt x="15" y="3"/>
                  <a:pt x="14" y="3"/>
                  <a:pt x="12" y="3"/>
                </a:cubicBezTo>
                <a:cubicBezTo>
                  <a:pt x="11" y="4"/>
                  <a:pt x="12" y="5"/>
                  <a:pt x="11" y="5"/>
                </a:cubicBezTo>
                <a:cubicBezTo>
                  <a:pt x="11" y="5"/>
                  <a:pt x="9" y="5"/>
                  <a:pt x="8" y="4"/>
                </a:cubicBezTo>
                <a:cubicBezTo>
                  <a:pt x="8" y="3"/>
                  <a:pt x="6" y="4"/>
                  <a:pt x="7" y="5"/>
                </a:cubicBezTo>
                <a:cubicBezTo>
                  <a:pt x="8" y="6"/>
                  <a:pt x="8" y="7"/>
                  <a:pt x="7" y="7"/>
                </a:cubicBezTo>
                <a:cubicBezTo>
                  <a:pt x="7" y="8"/>
                  <a:pt x="6" y="7"/>
                  <a:pt x="5" y="7"/>
                </a:cubicBezTo>
                <a:cubicBezTo>
                  <a:pt x="5" y="8"/>
                  <a:pt x="5" y="7"/>
                  <a:pt x="4" y="7"/>
                </a:cubicBezTo>
                <a:cubicBezTo>
                  <a:pt x="3" y="6"/>
                  <a:pt x="3" y="7"/>
                  <a:pt x="2" y="7"/>
                </a:cubicBezTo>
                <a:cubicBezTo>
                  <a:pt x="1" y="7"/>
                  <a:pt x="0" y="7"/>
                  <a:pt x="1" y="8"/>
                </a:cubicBezTo>
                <a:cubicBezTo>
                  <a:pt x="1" y="8"/>
                  <a:pt x="0" y="9"/>
                  <a:pt x="1" y="9"/>
                </a:cubicBezTo>
                <a:cubicBezTo>
                  <a:pt x="1" y="10"/>
                  <a:pt x="3" y="10"/>
                  <a:pt x="4" y="10"/>
                </a:cubicBezTo>
                <a:cubicBezTo>
                  <a:pt x="5" y="11"/>
                  <a:pt x="5" y="10"/>
                  <a:pt x="6" y="11"/>
                </a:cubicBezTo>
                <a:cubicBezTo>
                  <a:pt x="6" y="11"/>
                  <a:pt x="6" y="11"/>
                  <a:pt x="6" y="12"/>
                </a:cubicBezTo>
                <a:cubicBezTo>
                  <a:pt x="6" y="12"/>
                  <a:pt x="7" y="13"/>
                  <a:pt x="8" y="14"/>
                </a:cubicBezTo>
                <a:cubicBezTo>
                  <a:pt x="9" y="14"/>
                  <a:pt x="8" y="15"/>
                  <a:pt x="9" y="15"/>
                </a:cubicBezTo>
                <a:cubicBezTo>
                  <a:pt x="9" y="16"/>
                  <a:pt x="8" y="17"/>
                  <a:pt x="8" y="18"/>
                </a:cubicBezTo>
                <a:cubicBezTo>
                  <a:pt x="9" y="19"/>
                  <a:pt x="8" y="22"/>
                  <a:pt x="7" y="22"/>
                </a:cubicBezTo>
                <a:cubicBezTo>
                  <a:pt x="7" y="22"/>
                  <a:pt x="7" y="22"/>
                  <a:pt x="7" y="22"/>
                </a:cubicBezTo>
                <a:cubicBezTo>
                  <a:pt x="8" y="22"/>
                  <a:pt x="8" y="22"/>
                  <a:pt x="8" y="23"/>
                </a:cubicBezTo>
                <a:cubicBezTo>
                  <a:pt x="9" y="23"/>
                  <a:pt x="10" y="23"/>
                  <a:pt x="11" y="24"/>
                </a:cubicBezTo>
                <a:cubicBezTo>
                  <a:pt x="11" y="24"/>
                  <a:pt x="12" y="24"/>
                  <a:pt x="12" y="23"/>
                </a:cubicBezTo>
                <a:cubicBezTo>
                  <a:pt x="12" y="23"/>
                  <a:pt x="13" y="23"/>
                  <a:pt x="13" y="24"/>
                </a:cubicBezTo>
                <a:cubicBezTo>
                  <a:pt x="14" y="24"/>
                  <a:pt x="15" y="24"/>
                  <a:pt x="16" y="24"/>
                </a:cubicBezTo>
                <a:cubicBezTo>
                  <a:pt x="17" y="24"/>
                  <a:pt x="17" y="24"/>
                  <a:pt x="18" y="24"/>
                </a:cubicBezTo>
                <a:cubicBezTo>
                  <a:pt x="18" y="24"/>
                  <a:pt x="18" y="24"/>
                  <a:pt x="18" y="24"/>
                </a:cubicBezTo>
                <a:cubicBezTo>
                  <a:pt x="18" y="23"/>
                  <a:pt x="19" y="22"/>
                  <a:pt x="20" y="22"/>
                </a:cubicBezTo>
                <a:cubicBezTo>
                  <a:pt x="21" y="21"/>
                  <a:pt x="23" y="22"/>
                  <a:pt x="24" y="22"/>
                </a:cubicBezTo>
                <a:cubicBezTo>
                  <a:pt x="25" y="23"/>
                  <a:pt x="25" y="23"/>
                  <a:pt x="27" y="22"/>
                </a:cubicBezTo>
                <a:cubicBezTo>
                  <a:pt x="27" y="21"/>
                  <a:pt x="28" y="21"/>
                  <a:pt x="28" y="21"/>
                </a:cubicBezTo>
                <a:cubicBezTo>
                  <a:pt x="28" y="20"/>
                  <a:pt x="28" y="20"/>
                  <a:pt x="28" y="20"/>
                </a:cubicBezTo>
                <a:cubicBezTo>
                  <a:pt x="28" y="20"/>
                  <a:pt x="28" y="20"/>
                  <a:pt x="27" y="20"/>
                </a:cubicBezTo>
                <a:cubicBezTo>
                  <a:pt x="27" y="20"/>
                  <a:pt x="26" y="19"/>
                  <a:pt x="27" y="19"/>
                </a:cubicBezTo>
                <a:cubicBezTo>
                  <a:pt x="27" y="18"/>
                  <a:pt x="26" y="18"/>
                  <a:pt x="26" y="17"/>
                </a:cubicBezTo>
                <a:cubicBezTo>
                  <a:pt x="26" y="17"/>
                  <a:pt x="26" y="17"/>
                  <a:pt x="26" y="17"/>
                </a:cubicBezTo>
                <a:cubicBezTo>
                  <a:pt x="27" y="17"/>
                  <a:pt x="27" y="16"/>
                  <a:pt x="27" y="16"/>
                </a:cubicBezTo>
                <a:cubicBezTo>
                  <a:pt x="27" y="16"/>
                  <a:pt x="26" y="16"/>
                  <a:pt x="27" y="15"/>
                </a:cubicBezTo>
                <a:cubicBezTo>
                  <a:pt x="27" y="14"/>
                  <a:pt x="26" y="14"/>
                  <a:pt x="26" y="14"/>
                </a:cubicBezTo>
                <a:cubicBezTo>
                  <a:pt x="26" y="13"/>
                  <a:pt x="26" y="13"/>
                  <a:pt x="25" y="14"/>
                </a:cubicBezTo>
                <a:cubicBezTo>
                  <a:pt x="25" y="14"/>
                  <a:pt x="25" y="14"/>
                  <a:pt x="25" y="13"/>
                </a:cubicBezTo>
                <a:cubicBezTo>
                  <a:pt x="25" y="12"/>
                  <a:pt x="26" y="12"/>
                  <a:pt x="26" y="11"/>
                </a:cubicBezTo>
                <a:cubicBezTo>
                  <a:pt x="27" y="11"/>
                  <a:pt x="27" y="10"/>
                  <a:pt x="28" y="10"/>
                </a:cubicBezTo>
                <a:cubicBezTo>
                  <a:pt x="28" y="10"/>
                  <a:pt x="28" y="9"/>
                  <a:pt x="28" y="9"/>
                </a:cubicBezTo>
                <a:cubicBezTo>
                  <a:pt x="28" y="8"/>
                  <a:pt x="28" y="7"/>
                  <a:pt x="29" y="7"/>
                </a:cubicBezTo>
                <a:cubicBezTo>
                  <a:pt x="30" y="6"/>
                  <a:pt x="29" y="6"/>
                  <a:pt x="28" y="6"/>
                </a:cubicBezTo>
                <a:moveTo>
                  <a:pt x="32" y="23"/>
                </a:moveTo>
                <a:cubicBezTo>
                  <a:pt x="32" y="23"/>
                  <a:pt x="32" y="23"/>
                  <a:pt x="31" y="24"/>
                </a:cubicBezTo>
                <a:cubicBezTo>
                  <a:pt x="30" y="24"/>
                  <a:pt x="31" y="27"/>
                  <a:pt x="32" y="27"/>
                </a:cubicBezTo>
                <a:cubicBezTo>
                  <a:pt x="32" y="27"/>
                  <a:pt x="32" y="23"/>
                  <a:pt x="32" y="2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2"/>
          <p:cNvSpPr>
            <a:spLocks/>
          </p:cNvSpPr>
          <p:nvPr/>
        </p:nvSpPr>
        <p:spPr bwMode="auto">
          <a:xfrm>
            <a:off x="1232757" y="3125231"/>
            <a:ext cx="21449" cy="14299"/>
          </a:xfrm>
          <a:custGeom>
            <a:avLst/>
            <a:gdLst>
              <a:gd name="T0" fmla="*/ 5 w 5"/>
              <a:gd name="T1" fmla="*/ 1 h 3"/>
              <a:gd name="T2" fmla="*/ 3 w 5"/>
              <a:gd name="T3" fmla="*/ 0 h 3"/>
              <a:gd name="T4" fmla="*/ 2 w 5"/>
              <a:gd name="T5" fmla="*/ 0 h 3"/>
              <a:gd name="T6" fmla="*/ 2 w 5"/>
              <a:gd name="T7" fmla="*/ 0 h 3"/>
              <a:gd name="T8" fmla="*/ 0 w 5"/>
              <a:gd name="T9" fmla="*/ 1 h 3"/>
              <a:gd name="T10" fmla="*/ 4 w 5"/>
              <a:gd name="T11" fmla="*/ 3 h 3"/>
              <a:gd name="T12" fmla="*/ 5 w 5"/>
              <a:gd name="T13" fmla="*/ 2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0"/>
                  <a:pt x="4" y="1"/>
                  <a:pt x="3" y="0"/>
                </a:cubicBezTo>
                <a:cubicBezTo>
                  <a:pt x="3" y="0"/>
                  <a:pt x="2" y="0"/>
                  <a:pt x="2" y="0"/>
                </a:cubicBezTo>
                <a:cubicBezTo>
                  <a:pt x="2" y="0"/>
                  <a:pt x="2" y="0"/>
                  <a:pt x="2" y="0"/>
                </a:cubicBezTo>
                <a:cubicBezTo>
                  <a:pt x="2" y="0"/>
                  <a:pt x="1" y="0"/>
                  <a:pt x="0" y="1"/>
                </a:cubicBezTo>
                <a:cubicBezTo>
                  <a:pt x="1" y="2"/>
                  <a:pt x="4" y="3"/>
                  <a:pt x="4" y="3"/>
                </a:cubicBezTo>
                <a:cubicBezTo>
                  <a:pt x="5" y="3"/>
                  <a:pt x="5" y="2"/>
                  <a:pt x="5" y="2"/>
                </a:cubicBezTo>
                <a:cubicBezTo>
                  <a:pt x="5" y="2"/>
                  <a:pt x="5" y="1"/>
                  <a:pt x="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3"/>
          <p:cNvSpPr>
            <a:spLocks/>
          </p:cNvSpPr>
          <p:nvPr/>
        </p:nvSpPr>
        <p:spPr bwMode="auto">
          <a:xfrm>
            <a:off x="1239907" y="3107357"/>
            <a:ext cx="64347" cy="32174"/>
          </a:xfrm>
          <a:custGeom>
            <a:avLst/>
            <a:gdLst>
              <a:gd name="T0" fmla="*/ 6 w 13"/>
              <a:gd name="T1" fmla="*/ 6 h 7"/>
              <a:gd name="T2" fmla="*/ 6 w 13"/>
              <a:gd name="T3" fmla="*/ 5 h 7"/>
              <a:gd name="T4" fmla="*/ 9 w 13"/>
              <a:gd name="T5" fmla="*/ 4 h 7"/>
              <a:gd name="T6" fmla="*/ 11 w 13"/>
              <a:gd name="T7" fmla="*/ 3 h 7"/>
              <a:gd name="T8" fmla="*/ 13 w 13"/>
              <a:gd name="T9" fmla="*/ 2 h 7"/>
              <a:gd name="T10" fmla="*/ 11 w 13"/>
              <a:gd name="T11" fmla="*/ 1 h 7"/>
              <a:gd name="T12" fmla="*/ 6 w 13"/>
              <a:gd name="T13" fmla="*/ 1 h 7"/>
              <a:gd name="T14" fmla="*/ 2 w 13"/>
              <a:gd name="T15" fmla="*/ 1 h 7"/>
              <a:gd name="T16" fmla="*/ 2 w 13"/>
              <a:gd name="T17" fmla="*/ 1 h 7"/>
              <a:gd name="T18" fmla="*/ 1 w 13"/>
              <a:gd name="T19" fmla="*/ 2 h 7"/>
              <a:gd name="T20" fmla="*/ 0 w 13"/>
              <a:gd name="T21" fmla="*/ 4 h 7"/>
              <a:gd name="T22" fmla="*/ 1 w 13"/>
              <a:gd name="T23" fmla="*/ 4 h 7"/>
              <a:gd name="T24" fmla="*/ 3 w 13"/>
              <a:gd name="T25" fmla="*/ 5 h 7"/>
              <a:gd name="T26" fmla="*/ 3 w 13"/>
              <a:gd name="T27" fmla="*/ 6 h 7"/>
              <a:gd name="T28" fmla="*/ 4 w 13"/>
              <a:gd name="T29" fmla="*/ 6 h 7"/>
              <a:gd name="T30" fmla="*/ 4 w 13"/>
              <a:gd name="T31" fmla="*/ 7 h 7"/>
              <a:gd name="T32" fmla="*/ 5 w 13"/>
              <a:gd name="T33" fmla="*/ 7 h 7"/>
              <a:gd name="T34" fmla="*/ 6 w 13"/>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6" y="6"/>
                </a:moveTo>
                <a:cubicBezTo>
                  <a:pt x="6" y="6"/>
                  <a:pt x="5" y="5"/>
                  <a:pt x="6" y="5"/>
                </a:cubicBezTo>
                <a:cubicBezTo>
                  <a:pt x="8" y="5"/>
                  <a:pt x="8" y="5"/>
                  <a:pt x="9" y="4"/>
                </a:cubicBezTo>
                <a:cubicBezTo>
                  <a:pt x="9" y="3"/>
                  <a:pt x="10" y="3"/>
                  <a:pt x="11" y="3"/>
                </a:cubicBezTo>
                <a:cubicBezTo>
                  <a:pt x="11" y="3"/>
                  <a:pt x="12" y="2"/>
                  <a:pt x="13" y="2"/>
                </a:cubicBezTo>
                <a:cubicBezTo>
                  <a:pt x="13" y="1"/>
                  <a:pt x="12" y="2"/>
                  <a:pt x="11" y="1"/>
                </a:cubicBezTo>
                <a:cubicBezTo>
                  <a:pt x="10" y="0"/>
                  <a:pt x="7" y="0"/>
                  <a:pt x="6" y="1"/>
                </a:cubicBezTo>
                <a:cubicBezTo>
                  <a:pt x="5" y="1"/>
                  <a:pt x="3" y="0"/>
                  <a:pt x="2" y="1"/>
                </a:cubicBezTo>
                <a:cubicBezTo>
                  <a:pt x="2" y="1"/>
                  <a:pt x="2" y="1"/>
                  <a:pt x="2" y="1"/>
                </a:cubicBezTo>
                <a:cubicBezTo>
                  <a:pt x="2" y="1"/>
                  <a:pt x="1" y="2"/>
                  <a:pt x="1" y="2"/>
                </a:cubicBezTo>
                <a:cubicBezTo>
                  <a:pt x="0" y="3"/>
                  <a:pt x="0" y="4"/>
                  <a:pt x="0" y="4"/>
                </a:cubicBezTo>
                <a:cubicBezTo>
                  <a:pt x="0" y="4"/>
                  <a:pt x="1" y="4"/>
                  <a:pt x="1" y="4"/>
                </a:cubicBezTo>
                <a:cubicBezTo>
                  <a:pt x="2" y="5"/>
                  <a:pt x="3" y="4"/>
                  <a:pt x="3" y="5"/>
                </a:cubicBezTo>
                <a:cubicBezTo>
                  <a:pt x="3" y="5"/>
                  <a:pt x="3" y="6"/>
                  <a:pt x="3" y="6"/>
                </a:cubicBezTo>
                <a:cubicBezTo>
                  <a:pt x="3" y="6"/>
                  <a:pt x="4" y="6"/>
                  <a:pt x="4" y="6"/>
                </a:cubicBezTo>
                <a:cubicBezTo>
                  <a:pt x="4" y="7"/>
                  <a:pt x="4" y="7"/>
                  <a:pt x="4" y="7"/>
                </a:cubicBezTo>
                <a:cubicBezTo>
                  <a:pt x="5" y="7"/>
                  <a:pt x="5" y="7"/>
                  <a:pt x="5" y="7"/>
                </a:cubicBezTo>
                <a:cubicBezTo>
                  <a:pt x="5" y="7"/>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34"/>
          <p:cNvSpPr>
            <a:spLocks/>
          </p:cNvSpPr>
          <p:nvPr/>
        </p:nvSpPr>
        <p:spPr bwMode="auto">
          <a:xfrm>
            <a:off x="943195" y="2917890"/>
            <a:ext cx="325311" cy="196617"/>
          </a:xfrm>
          <a:custGeom>
            <a:avLst/>
            <a:gdLst>
              <a:gd name="T0" fmla="*/ 59 w 68"/>
              <a:gd name="T1" fmla="*/ 39 h 41"/>
              <a:gd name="T2" fmla="*/ 58 w 68"/>
              <a:gd name="T3" fmla="*/ 35 h 41"/>
              <a:gd name="T4" fmla="*/ 64 w 68"/>
              <a:gd name="T5" fmla="*/ 34 h 41"/>
              <a:gd name="T6" fmla="*/ 66 w 68"/>
              <a:gd name="T7" fmla="*/ 31 h 41"/>
              <a:gd name="T8" fmla="*/ 68 w 68"/>
              <a:gd name="T9" fmla="*/ 27 h 41"/>
              <a:gd name="T10" fmla="*/ 62 w 68"/>
              <a:gd name="T11" fmla="*/ 27 h 41"/>
              <a:gd name="T12" fmla="*/ 59 w 68"/>
              <a:gd name="T13" fmla="*/ 31 h 41"/>
              <a:gd name="T14" fmla="*/ 56 w 68"/>
              <a:gd name="T15" fmla="*/ 33 h 41"/>
              <a:gd name="T16" fmla="*/ 48 w 68"/>
              <a:gd name="T17" fmla="*/ 33 h 41"/>
              <a:gd name="T18" fmla="*/ 44 w 68"/>
              <a:gd name="T19" fmla="*/ 28 h 41"/>
              <a:gd name="T20" fmla="*/ 44 w 68"/>
              <a:gd name="T21" fmla="*/ 17 h 41"/>
              <a:gd name="T22" fmla="*/ 43 w 68"/>
              <a:gd name="T23" fmla="*/ 16 h 41"/>
              <a:gd name="T24" fmla="*/ 40 w 68"/>
              <a:gd name="T25" fmla="*/ 13 h 41"/>
              <a:gd name="T26" fmla="*/ 37 w 68"/>
              <a:gd name="T27" fmla="*/ 9 h 41"/>
              <a:gd name="T28" fmla="*/ 31 w 68"/>
              <a:gd name="T29" fmla="*/ 9 h 41"/>
              <a:gd name="T30" fmla="*/ 28 w 68"/>
              <a:gd name="T31" fmla="*/ 6 h 41"/>
              <a:gd name="T32" fmla="*/ 24 w 68"/>
              <a:gd name="T33" fmla="*/ 2 h 41"/>
              <a:gd name="T34" fmla="*/ 20 w 68"/>
              <a:gd name="T35" fmla="*/ 3 h 41"/>
              <a:gd name="T36" fmla="*/ 8 w 68"/>
              <a:gd name="T37" fmla="*/ 1 h 41"/>
              <a:gd name="T38" fmla="*/ 0 w 68"/>
              <a:gd name="T39" fmla="*/ 0 h 41"/>
              <a:gd name="T40" fmla="*/ 3 w 68"/>
              <a:gd name="T41" fmla="*/ 6 h 41"/>
              <a:gd name="T42" fmla="*/ 7 w 68"/>
              <a:gd name="T43" fmla="*/ 12 h 41"/>
              <a:gd name="T44" fmla="*/ 8 w 68"/>
              <a:gd name="T45" fmla="*/ 14 h 41"/>
              <a:gd name="T46" fmla="*/ 11 w 68"/>
              <a:gd name="T47" fmla="*/ 18 h 41"/>
              <a:gd name="T48" fmla="*/ 16 w 68"/>
              <a:gd name="T49" fmla="*/ 23 h 41"/>
              <a:gd name="T50" fmla="*/ 17 w 68"/>
              <a:gd name="T51" fmla="*/ 21 h 41"/>
              <a:gd name="T52" fmla="*/ 14 w 68"/>
              <a:gd name="T53" fmla="*/ 18 h 41"/>
              <a:gd name="T54" fmla="*/ 10 w 68"/>
              <a:gd name="T55" fmla="*/ 11 h 41"/>
              <a:gd name="T56" fmla="*/ 9 w 68"/>
              <a:gd name="T57" fmla="*/ 8 h 41"/>
              <a:gd name="T58" fmla="*/ 6 w 68"/>
              <a:gd name="T59" fmla="*/ 5 h 41"/>
              <a:gd name="T60" fmla="*/ 6 w 68"/>
              <a:gd name="T61" fmla="*/ 2 h 41"/>
              <a:gd name="T62" fmla="*/ 8 w 68"/>
              <a:gd name="T63" fmla="*/ 3 h 41"/>
              <a:gd name="T64" fmla="*/ 10 w 68"/>
              <a:gd name="T65" fmla="*/ 6 h 41"/>
              <a:gd name="T66" fmla="*/ 11 w 68"/>
              <a:gd name="T67" fmla="*/ 9 h 41"/>
              <a:gd name="T68" fmla="*/ 15 w 68"/>
              <a:gd name="T69" fmla="*/ 11 h 41"/>
              <a:gd name="T70" fmla="*/ 17 w 68"/>
              <a:gd name="T71" fmla="*/ 14 h 41"/>
              <a:gd name="T72" fmla="*/ 19 w 68"/>
              <a:gd name="T73" fmla="*/ 17 h 41"/>
              <a:gd name="T74" fmla="*/ 26 w 68"/>
              <a:gd name="T75" fmla="*/ 24 h 41"/>
              <a:gd name="T76" fmla="*/ 27 w 68"/>
              <a:gd name="T77" fmla="*/ 28 h 41"/>
              <a:gd name="T78" fmla="*/ 28 w 68"/>
              <a:gd name="T79" fmla="*/ 32 h 41"/>
              <a:gd name="T80" fmla="*/ 34 w 68"/>
              <a:gd name="T81" fmla="*/ 35 h 41"/>
              <a:gd name="T82" fmla="*/ 44 w 68"/>
              <a:gd name="T83" fmla="*/ 39 h 41"/>
              <a:gd name="T84" fmla="*/ 52 w 68"/>
              <a:gd name="T85" fmla="*/ 40 h 41"/>
              <a:gd name="T86" fmla="*/ 56 w 68"/>
              <a:gd name="T8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1">
                <a:moveTo>
                  <a:pt x="56" y="39"/>
                </a:moveTo>
                <a:cubicBezTo>
                  <a:pt x="57" y="39"/>
                  <a:pt x="59" y="39"/>
                  <a:pt x="59" y="39"/>
                </a:cubicBezTo>
                <a:cubicBezTo>
                  <a:pt x="60" y="38"/>
                  <a:pt x="58" y="37"/>
                  <a:pt x="58" y="37"/>
                </a:cubicBezTo>
                <a:cubicBezTo>
                  <a:pt x="58" y="36"/>
                  <a:pt x="58" y="35"/>
                  <a:pt x="58" y="35"/>
                </a:cubicBezTo>
                <a:cubicBezTo>
                  <a:pt x="59" y="35"/>
                  <a:pt x="62" y="35"/>
                  <a:pt x="62" y="35"/>
                </a:cubicBezTo>
                <a:cubicBezTo>
                  <a:pt x="63" y="35"/>
                  <a:pt x="63" y="34"/>
                  <a:pt x="64" y="34"/>
                </a:cubicBezTo>
                <a:cubicBezTo>
                  <a:pt x="64" y="34"/>
                  <a:pt x="65" y="34"/>
                  <a:pt x="65" y="34"/>
                </a:cubicBezTo>
                <a:cubicBezTo>
                  <a:pt x="66" y="34"/>
                  <a:pt x="66" y="32"/>
                  <a:pt x="66" y="31"/>
                </a:cubicBezTo>
                <a:cubicBezTo>
                  <a:pt x="66" y="30"/>
                  <a:pt x="66" y="29"/>
                  <a:pt x="66" y="29"/>
                </a:cubicBezTo>
                <a:cubicBezTo>
                  <a:pt x="67" y="28"/>
                  <a:pt x="68" y="28"/>
                  <a:pt x="68" y="27"/>
                </a:cubicBezTo>
                <a:cubicBezTo>
                  <a:pt x="67" y="26"/>
                  <a:pt x="66" y="27"/>
                  <a:pt x="66" y="26"/>
                </a:cubicBezTo>
                <a:cubicBezTo>
                  <a:pt x="65" y="26"/>
                  <a:pt x="64" y="26"/>
                  <a:pt x="62" y="27"/>
                </a:cubicBezTo>
                <a:cubicBezTo>
                  <a:pt x="60" y="27"/>
                  <a:pt x="59" y="28"/>
                  <a:pt x="59" y="29"/>
                </a:cubicBezTo>
                <a:cubicBezTo>
                  <a:pt x="59" y="31"/>
                  <a:pt x="59" y="30"/>
                  <a:pt x="59" y="31"/>
                </a:cubicBezTo>
                <a:cubicBezTo>
                  <a:pt x="59" y="32"/>
                  <a:pt x="57" y="32"/>
                  <a:pt x="57" y="33"/>
                </a:cubicBezTo>
                <a:cubicBezTo>
                  <a:pt x="57" y="34"/>
                  <a:pt x="56" y="33"/>
                  <a:pt x="56" y="33"/>
                </a:cubicBezTo>
                <a:cubicBezTo>
                  <a:pt x="55" y="33"/>
                  <a:pt x="51" y="34"/>
                  <a:pt x="50" y="34"/>
                </a:cubicBezTo>
                <a:cubicBezTo>
                  <a:pt x="50" y="34"/>
                  <a:pt x="49" y="33"/>
                  <a:pt x="48" y="33"/>
                </a:cubicBezTo>
                <a:cubicBezTo>
                  <a:pt x="47" y="33"/>
                  <a:pt x="47" y="32"/>
                  <a:pt x="47" y="31"/>
                </a:cubicBezTo>
                <a:cubicBezTo>
                  <a:pt x="46" y="30"/>
                  <a:pt x="45" y="29"/>
                  <a:pt x="44" y="28"/>
                </a:cubicBezTo>
                <a:cubicBezTo>
                  <a:pt x="44" y="27"/>
                  <a:pt x="43" y="25"/>
                  <a:pt x="43" y="23"/>
                </a:cubicBezTo>
                <a:cubicBezTo>
                  <a:pt x="43" y="22"/>
                  <a:pt x="43" y="20"/>
                  <a:pt x="44" y="17"/>
                </a:cubicBezTo>
                <a:cubicBezTo>
                  <a:pt x="44" y="17"/>
                  <a:pt x="44" y="17"/>
                  <a:pt x="44" y="16"/>
                </a:cubicBezTo>
                <a:cubicBezTo>
                  <a:pt x="44" y="16"/>
                  <a:pt x="44" y="16"/>
                  <a:pt x="43" y="16"/>
                </a:cubicBezTo>
                <a:cubicBezTo>
                  <a:pt x="43" y="16"/>
                  <a:pt x="41" y="15"/>
                  <a:pt x="40" y="15"/>
                </a:cubicBezTo>
                <a:cubicBezTo>
                  <a:pt x="40" y="15"/>
                  <a:pt x="40" y="14"/>
                  <a:pt x="40" y="13"/>
                </a:cubicBezTo>
                <a:cubicBezTo>
                  <a:pt x="39" y="13"/>
                  <a:pt x="40" y="12"/>
                  <a:pt x="39" y="12"/>
                </a:cubicBezTo>
                <a:cubicBezTo>
                  <a:pt x="39" y="11"/>
                  <a:pt x="37" y="10"/>
                  <a:pt x="37" y="9"/>
                </a:cubicBezTo>
                <a:cubicBezTo>
                  <a:pt x="37" y="7"/>
                  <a:pt x="34" y="7"/>
                  <a:pt x="33" y="7"/>
                </a:cubicBezTo>
                <a:cubicBezTo>
                  <a:pt x="32" y="6"/>
                  <a:pt x="32" y="8"/>
                  <a:pt x="31" y="9"/>
                </a:cubicBezTo>
                <a:cubicBezTo>
                  <a:pt x="31" y="9"/>
                  <a:pt x="29" y="8"/>
                  <a:pt x="29" y="7"/>
                </a:cubicBezTo>
                <a:cubicBezTo>
                  <a:pt x="28" y="7"/>
                  <a:pt x="28" y="6"/>
                  <a:pt x="28" y="6"/>
                </a:cubicBezTo>
                <a:cubicBezTo>
                  <a:pt x="28" y="5"/>
                  <a:pt x="27" y="4"/>
                  <a:pt x="27" y="4"/>
                </a:cubicBezTo>
                <a:cubicBezTo>
                  <a:pt x="26" y="4"/>
                  <a:pt x="24" y="2"/>
                  <a:pt x="24" y="2"/>
                </a:cubicBezTo>
                <a:cubicBezTo>
                  <a:pt x="21" y="2"/>
                  <a:pt x="21" y="2"/>
                  <a:pt x="21" y="2"/>
                </a:cubicBezTo>
                <a:cubicBezTo>
                  <a:pt x="20" y="3"/>
                  <a:pt x="20" y="3"/>
                  <a:pt x="20" y="3"/>
                </a:cubicBezTo>
                <a:cubicBezTo>
                  <a:pt x="14" y="3"/>
                  <a:pt x="14" y="3"/>
                  <a:pt x="14" y="3"/>
                </a:cubicBezTo>
                <a:cubicBezTo>
                  <a:pt x="14" y="3"/>
                  <a:pt x="9" y="1"/>
                  <a:pt x="8" y="1"/>
                </a:cubicBezTo>
                <a:cubicBezTo>
                  <a:pt x="7" y="1"/>
                  <a:pt x="5" y="0"/>
                  <a:pt x="5" y="0"/>
                </a:cubicBezTo>
                <a:cubicBezTo>
                  <a:pt x="0" y="0"/>
                  <a:pt x="0" y="0"/>
                  <a:pt x="0" y="0"/>
                </a:cubicBezTo>
                <a:cubicBezTo>
                  <a:pt x="1" y="1"/>
                  <a:pt x="1" y="1"/>
                  <a:pt x="2" y="2"/>
                </a:cubicBezTo>
                <a:cubicBezTo>
                  <a:pt x="3" y="3"/>
                  <a:pt x="3" y="6"/>
                  <a:pt x="3" y="6"/>
                </a:cubicBezTo>
                <a:cubicBezTo>
                  <a:pt x="4" y="7"/>
                  <a:pt x="5" y="8"/>
                  <a:pt x="6" y="9"/>
                </a:cubicBezTo>
                <a:cubicBezTo>
                  <a:pt x="7" y="9"/>
                  <a:pt x="7" y="11"/>
                  <a:pt x="7" y="12"/>
                </a:cubicBezTo>
                <a:cubicBezTo>
                  <a:pt x="7" y="12"/>
                  <a:pt x="6" y="11"/>
                  <a:pt x="5" y="12"/>
                </a:cubicBezTo>
                <a:cubicBezTo>
                  <a:pt x="5" y="12"/>
                  <a:pt x="7" y="14"/>
                  <a:pt x="8" y="14"/>
                </a:cubicBezTo>
                <a:cubicBezTo>
                  <a:pt x="9" y="14"/>
                  <a:pt x="9" y="14"/>
                  <a:pt x="11" y="15"/>
                </a:cubicBezTo>
                <a:cubicBezTo>
                  <a:pt x="12" y="16"/>
                  <a:pt x="12" y="18"/>
                  <a:pt x="11" y="18"/>
                </a:cubicBezTo>
                <a:cubicBezTo>
                  <a:pt x="11" y="18"/>
                  <a:pt x="12" y="19"/>
                  <a:pt x="14" y="20"/>
                </a:cubicBezTo>
                <a:cubicBezTo>
                  <a:pt x="15" y="21"/>
                  <a:pt x="16" y="23"/>
                  <a:pt x="16" y="23"/>
                </a:cubicBezTo>
                <a:cubicBezTo>
                  <a:pt x="16" y="24"/>
                  <a:pt x="17" y="23"/>
                  <a:pt x="17" y="22"/>
                </a:cubicBezTo>
                <a:cubicBezTo>
                  <a:pt x="17" y="22"/>
                  <a:pt x="17" y="21"/>
                  <a:pt x="17" y="21"/>
                </a:cubicBezTo>
                <a:cubicBezTo>
                  <a:pt x="17" y="20"/>
                  <a:pt x="15" y="20"/>
                  <a:pt x="15" y="20"/>
                </a:cubicBezTo>
                <a:cubicBezTo>
                  <a:pt x="14" y="20"/>
                  <a:pt x="15" y="18"/>
                  <a:pt x="14" y="18"/>
                </a:cubicBezTo>
                <a:cubicBezTo>
                  <a:pt x="14" y="17"/>
                  <a:pt x="13" y="16"/>
                  <a:pt x="13" y="15"/>
                </a:cubicBezTo>
                <a:cubicBezTo>
                  <a:pt x="13" y="14"/>
                  <a:pt x="11" y="13"/>
                  <a:pt x="10" y="11"/>
                </a:cubicBezTo>
                <a:cubicBezTo>
                  <a:pt x="10" y="10"/>
                  <a:pt x="9" y="9"/>
                  <a:pt x="9" y="9"/>
                </a:cubicBezTo>
                <a:cubicBezTo>
                  <a:pt x="8" y="9"/>
                  <a:pt x="9" y="8"/>
                  <a:pt x="9" y="8"/>
                </a:cubicBezTo>
                <a:cubicBezTo>
                  <a:pt x="9" y="7"/>
                  <a:pt x="8" y="7"/>
                  <a:pt x="7" y="7"/>
                </a:cubicBezTo>
                <a:cubicBezTo>
                  <a:pt x="6" y="7"/>
                  <a:pt x="6" y="6"/>
                  <a:pt x="6" y="5"/>
                </a:cubicBezTo>
                <a:cubicBezTo>
                  <a:pt x="6" y="5"/>
                  <a:pt x="6" y="3"/>
                  <a:pt x="5" y="2"/>
                </a:cubicBezTo>
                <a:cubicBezTo>
                  <a:pt x="5" y="1"/>
                  <a:pt x="6" y="2"/>
                  <a:pt x="6" y="2"/>
                </a:cubicBezTo>
                <a:cubicBezTo>
                  <a:pt x="6" y="2"/>
                  <a:pt x="6" y="2"/>
                  <a:pt x="7" y="2"/>
                </a:cubicBezTo>
                <a:cubicBezTo>
                  <a:pt x="7" y="2"/>
                  <a:pt x="8" y="2"/>
                  <a:pt x="8" y="3"/>
                </a:cubicBezTo>
                <a:cubicBezTo>
                  <a:pt x="8" y="3"/>
                  <a:pt x="9" y="3"/>
                  <a:pt x="9" y="3"/>
                </a:cubicBezTo>
                <a:cubicBezTo>
                  <a:pt x="10" y="3"/>
                  <a:pt x="9" y="4"/>
                  <a:pt x="10" y="6"/>
                </a:cubicBezTo>
                <a:cubicBezTo>
                  <a:pt x="11" y="8"/>
                  <a:pt x="10" y="7"/>
                  <a:pt x="10" y="8"/>
                </a:cubicBezTo>
                <a:cubicBezTo>
                  <a:pt x="10" y="10"/>
                  <a:pt x="11" y="9"/>
                  <a:pt x="11" y="9"/>
                </a:cubicBezTo>
                <a:cubicBezTo>
                  <a:pt x="12" y="9"/>
                  <a:pt x="12" y="9"/>
                  <a:pt x="13" y="10"/>
                </a:cubicBezTo>
                <a:cubicBezTo>
                  <a:pt x="14" y="11"/>
                  <a:pt x="15" y="11"/>
                  <a:pt x="15" y="11"/>
                </a:cubicBezTo>
                <a:cubicBezTo>
                  <a:pt x="15" y="12"/>
                  <a:pt x="15" y="13"/>
                  <a:pt x="16" y="13"/>
                </a:cubicBezTo>
                <a:cubicBezTo>
                  <a:pt x="17" y="13"/>
                  <a:pt x="17" y="14"/>
                  <a:pt x="17" y="14"/>
                </a:cubicBezTo>
                <a:cubicBezTo>
                  <a:pt x="18" y="14"/>
                  <a:pt x="18" y="15"/>
                  <a:pt x="18" y="15"/>
                </a:cubicBezTo>
                <a:cubicBezTo>
                  <a:pt x="17" y="16"/>
                  <a:pt x="18" y="17"/>
                  <a:pt x="19" y="17"/>
                </a:cubicBezTo>
                <a:cubicBezTo>
                  <a:pt x="20" y="18"/>
                  <a:pt x="20" y="18"/>
                  <a:pt x="21" y="19"/>
                </a:cubicBezTo>
                <a:cubicBezTo>
                  <a:pt x="22" y="20"/>
                  <a:pt x="25" y="23"/>
                  <a:pt x="26" y="24"/>
                </a:cubicBezTo>
                <a:cubicBezTo>
                  <a:pt x="26" y="25"/>
                  <a:pt x="26" y="26"/>
                  <a:pt x="27" y="27"/>
                </a:cubicBezTo>
                <a:cubicBezTo>
                  <a:pt x="27" y="27"/>
                  <a:pt x="26" y="28"/>
                  <a:pt x="27" y="28"/>
                </a:cubicBezTo>
                <a:cubicBezTo>
                  <a:pt x="27" y="29"/>
                  <a:pt x="26" y="28"/>
                  <a:pt x="26" y="29"/>
                </a:cubicBezTo>
                <a:cubicBezTo>
                  <a:pt x="26" y="29"/>
                  <a:pt x="27" y="32"/>
                  <a:pt x="28" y="32"/>
                </a:cubicBezTo>
                <a:cubicBezTo>
                  <a:pt x="29" y="32"/>
                  <a:pt x="30" y="33"/>
                  <a:pt x="31" y="34"/>
                </a:cubicBezTo>
                <a:cubicBezTo>
                  <a:pt x="32" y="35"/>
                  <a:pt x="33" y="34"/>
                  <a:pt x="34" y="35"/>
                </a:cubicBezTo>
                <a:cubicBezTo>
                  <a:pt x="36" y="35"/>
                  <a:pt x="37" y="37"/>
                  <a:pt x="39" y="37"/>
                </a:cubicBezTo>
                <a:cubicBezTo>
                  <a:pt x="41" y="38"/>
                  <a:pt x="43" y="38"/>
                  <a:pt x="44" y="39"/>
                </a:cubicBezTo>
                <a:cubicBezTo>
                  <a:pt x="45" y="40"/>
                  <a:pt x="46" y="40"/>
                  <a:pt x="48" y="39"/>
                </a:cubicBezTo>
                <a:cubicBezTo>
                  <a:pt x="50" y="38"/>
                  <a:pt x="51" y="39"/>
                  <a:pt x="52" y="40"/>
                </a:cubicBezTo>
                <a:cubicBezTo>
                  <a:pt x="53" y="40"/>
                  <a:pt x="54" y="41"/>
                  <a:pt x="55" y="41"/>
                </a:cubicBezTo>
                <a:cubicBezTo>
                  <a:pt x="55" y="40"/>
                  <a:pt x="56" y="39"/>
                  <a:pt x="56" y="3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35"/>
          <p:cNvSpPr>
            <a:spLocks/>
          </p:cNvSpPr>
          <p:nvPr/>
        </p:nvSpPr>
        <p:spPr bwMode="auto">
          <a:xfrm>
            <a:off x="1207733" y="3085908"/>
            <a:ext cx="42898" cy="46473"/>
          </a:xfrm>
          <a:custGeom>
            <a:avLst/>
            <a:gdLst>
              <a:gd name="T0" fmla="*/ 8 w 9"/>
              <a:gd name="T1" fmla="*/ 6 h 9"/>
              <a:gd name="T2" fmla="*/ 9 w 9"/>
              <a:gd name="T3" fmla="*/ 5 h 9"/>
              <a:gd name="T4" fmla="*/ 8 w 9"/>
              <a:gd name="T5" fmla="*/ 4 h 9"/>
              <a:gd name="T6" fmla="*/ 7 w 9"/>
              <a:gd name="T7" fmla="*/ 4 h 9"/>
              <a:gd name="T8" fmla="*/ 7 w 9"/>
              <a:gd name="T9" fmla="*/ 0 h 9"/>
              <a:gd name="T10" fmla="*/ 3 w 9"/>
              <a:gd name="T11" fmla="*/ 0 h 9"/>
              <a:gd name="T12" fmla="*/ 3 w 9"/>
              <a:gd name="T13" fmla="*/ 2 h 9"/>
              <a:gd name="T14" fmla="*/ 4 w 9"/>
              <a:gd name="T15" fmla="*/ 4 h 9"/>
              <a:gd name="T16" fmla="*/ 1 w 9"/>
              <a:gd name="T17" fmla="*/ 4 h 9"/>
              <a:gd name="T18" fmla="*/ 0 w 9"/>
              <a:gd name="T19" fmla="*/ 6 h 9"/>
              <a:gd name="T20" fmla="*/ 2 w 9"/>
              <a:gd name="T21" fmla="*/ 9 h 9"/>
              <a:gd name="T22" fmla="*/ 5 w 9"/>
              <a:gd name="T23" fmla="*/ 9 h 9"/>
              <a:gd name="T24" fmla="*/ 5 w 9"/>
              <a:gd name="T25" fmla="*/ 9 h 9"/>
              <a:gd name="T26" fmla="*/ 7 w 9"/>
              <a:gd name="T27" fmla="*/ 8 h 9"/>
              <a:gd name="T28" fmla="*/ 8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8" y="6"/>
                </a:moveTo>
                <a:cubicBezTo>
                  <a:pt x="8" y="6"/>
                  <a:pt x="9" y="5"/>
                  <a:pt x="9" y="5"/>
                </a:cubicBezTo>
                <a:cubicBezTo>
                  <a:pt x="8" y="5"/>
                  <a:pt x="8" y="5"/>
                  <a:pt x="8" y="4"/>
                </a:cubicBezTo>
                <a:cubicBezTo>
                  <a:pt x="7" y="4"/>
                  <a:pt x="7" y="4"/>
                  <a:pt x="7" y="4"/>
                </a:cubicBezTo>
                <a:cubicBezTo>
                  <a:pt x="7" y="0"/>
                  <a:pt x="7" y="0"/>
                  <a:pt x="7" y="0"/>
                </a:cubicBezTo>
                <a:cubicBezTo>
                  <a:pt x="6" y="0"/>
                  <a:pt x="4" y="0"/>
                  <a:pt x="3" y="0"/>
                </a:cubicBezTo>
                <a:cubicBezTo>
                  <a:pt x="3" y="0"/>
                  <a:pt x="3" y="1"/>
                  <a:pt x="3" y="2"/>
                </a:cubicBezTo>
                <a:cubicBezTo>
                  <a:pt x="3" y="2"/>
                  <a:pt x="5" y="3"/>
                  <a:pt x="4" y="4"/>
                </a:cubicBezTo>
                <a:cubicBezTo>
                  <a:pt x="4" y="4"/>
                  <a:pt x="2" y="4"/>
                  <a:pt x="1" y="4"/>
                </a:cubicBezTo>
                <a:cubicBezTo>
                  <a:pt x="1" y="4"/>
                  <a:pt x="0" y="5"/>
                  <a:pt x="0" y="6"/>
                </a:cubicBezTo>
                <a:cubicBezTo>
                  <a:pt x="1" y="7"/>
                  <a:pt x="2" y="8"/>
                  <a:pt x="2" y="9"/>
                </a:cubicBezTo>
                <a:cubicBezTo>
                  <a:pt x="3" y="9"/>
                  <a:pt x="4" y="8"/>
                  <a:pt x="5" y="9"/>
                </a:cubicBezTo>
                <a:cubicBezTo>
                  <a:pt x="5" y="9"/>
                  <a:pt x="5" y="9"/>
                  <a:pt x="5" y="9"/>
                </a:cubicBezTo>
                <a:cubicBezTo>
                  <a:pt x="6" y="8"/>
                  <a:pt x="7" y="8"/>
                  <a:pt x="7" y="8"/>
                </a:cubicBezTo>
                <a:cubicBezTo>
                  <a:pt x="7" y="8"/>
                  <a:pt x="7"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36"/>
          <p:cNvSpPr>
            <a:spLocks/>
          </p:cNvSpPr>
          <p:nvPr/>
        </p:nvSpPr>
        <p:spPr bwMode="auto">
          <a:xfrm>
            <a:off x="1239907" y="3082333"/>
            <a:ext cx="14299" cy="25024"/>
          </a:xfrm>
          <a:custGeom>
            <a:avLst/>
            <a:gdLst>
              <a:gd name="T0" fmla="*/ 0 w 3"/>
              <a:gd name="T1" fmla="*/ 1 h 5"/>
              <a:gd name="T2" fmla="*/ 0 w 3"/>
              <a:gd name="T3" fmla="*/ 1 h 5"/>
              <a:gd name="T4" fmla="*/ 0 w 3"/>
              <a:gd name="T5" fmla="*/ 5 h 5"/>
              <a:gd name="T6" fmla="*/ 1 w 3"/>
              <a:gd name="T7" fmla="*/ 5 h 5"/>
              <a:gd name="T8" fmla="*/ 2 w 3"/>
              <a:gd name="T9" fmla="*/ 4 h 5"/>
              <a:gd name="T10" fmla="*/ 2 w 3"/>
              <a:gd name="T11" fmla="*/ 0 h 5"/>
              <a:gd name="T12" fmla="*/ 3 w 3"/>
              <a:gd name="T13" fmla="*/ 0 h 5"/>
              <a:gd name="T14" fmla="*/ 2 w 3"/>
              <a:gd name="T15" fmla="*/ 0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0" y="1"/>
                  <a:pt x="0" y="1"/>
                  <a:pt x="0" y="1"/>
                </a:cubicBezTo>
                <a:cubicBezTo>
                  <a:pt x="0" y="5"/>
                  <a:pt x="0" y="5"/>
                  <a:pt x="0" y="5"/>
                </a:cubicBezTo>
                <a:cubicBezTo>
                  <a:pt x="1" y="5"/>
                  <a:pt x="1" y="5"/>
                  <a:pt x="1" y="5"/>
                </a:cubicBezTo>
                <a:cubicBezTo>
                  <a:pt x="1" y="5"/>
                  <a:pt x="1" y="4"/>
                  <a:pt x="2" y="4"/>
                </a:cubicBezTo>
                <a:cubicBezTo>
                  <a:pt x="3" y="3"/>
                  <a:pt x="1" y="1"/>
                  <a:pt x="2" y="0"/>
                </a:cubicBezTo>
                <a:cubicBezTo>
                  <a:pt x="3" y="0"/>
                  <a:pt x="3" y="0"/>
                  <a:pt x="3" y="0"/>
                </a:cubicBezTo>
                <a:cubicBezTo>
                  <a:pt x="3" y="0"/>
                  <a:pt x="2" y="0"/>
                  <a:pt x="2" y="0"/>
                </a:cubicBezTo>
                <a:cubicBezTo>
                  <a:pt x="1" y="0"/>
                  <a:pt x="1"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37"/>
          <p:cNvSpPr>
            <a:spLocks/>
          </p:cNvSpPr>
          <p:nvPr/>
        </p:nvSpPr>
        <p:spPr bwMode="auto">
          <a:xfrm>
            <a:off x="1400775" y="3057309"/>
            <a:ext cx="28599" cy="28599"/>
          </a:xfrm>
          <a:custGeom>
            <a:avLst/>
            <a:gdLst>
              <a:gd name="T0" fmla="*/ 3 w 6"/>
              <a:gd name="T1" fmla="*/ 1 h 6"/>
              <a:gd name="T2" fmla="*/ 4 w 6"/>
              <a:gd name="T3" fmla="*/ 4 h 6"/>
              <a:gd name="T4" fmla="*/ 0 w 6"/>
              <a:gd name="T5" fmla="*/ 5 h 6"/>
              <a:gd name="T6" fmla="*/ 3 w 6"/>
              <a:gd name="T7" fmla="*/ 5 h 6"/>
              <a:gd name="T8" fmla="*/ 6 w 6"/>
              <a:gd name="T9" fmla="*/ 6 h 6"/>
              <a:gd name="T10" fmla="*/ 6 w 6"/>
              <a:gd name="T11" fmla="*/ 1 h 6"/>
              <a:gd name="T12" fmla="*/ 3 w 6"/>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1"/>
                </a:moveTo>
                <a:cubicBezTo>
                  <a:pt x="2" y="2"/>
                  <a:pt x="4" y="3"/>
                  <a:pt x="4" y="4"/>
                </a:cubicBezTo>
                <a:cubicBezTo>
                  <a:pt x="4" y="5"/>
                  <a:pt x="0" y="4"/>
                  <a:pt x="0" y="5"/>
                </a:cubicBezTo>
                <a:cubicBezTo>
                  <a:pt x="0" y="5"/>
                  <a:pt x="1" y="6"/>
                  <a:pt x="3" y="5"/>
                </a:cubicBezTo>
                <a:cubicBezTo>
                  <a:pt x="4" y="5"/>
                  <a:pt x="5" y="5"/>
                  <a:pt x="6" y="6"/>
                </a:cubicBezTo>
                <a:cubicBezTo>
                  <a:pt x="6" y="4"/>
                  <a:pt x="6" y="3"/>
                  <a:pt x="6" y="1"/>
                </a:cubicBezTo>
                <a:cubicBezTo>
                  <a:pt x="5" y="1"/>
                  <a:pt x="3"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38"/>
          <p:cNvSpPr>
            <a:spLocks/>
          </p:cNvSpPr>
          <p:nvPr/>
        </p:nvSpPr>
        <p:spPr bwMode="auto">
          <a:xfrm>
            <a:off x="1429374" y="3064459"/>
            <a:ext cx="32174" cy="21449"/>
          </a:xfrm>
          <a:custGeom>
            <a:avLst/>
            <a:gdLst>
              <a:gd name="T0" fmla="*/ 3 w 7"/>
              <a:gd name="T1" fmla="*/ 4 h 5"/>
              <a:gd name="T2" fmla="*/ 7 w 7"/>
              <a:gd name="T3" fmla="*/ 3 h 5"/>
              <a:gd name="T4" fmla="*/ 1 w 7"/>
              <a:gd name="T5" fmla="*/ 1 h 5"/>
              <a:gd name="T6" fmla="*/ 0 w 7"/>
              <a:gd name="T7" fmla="*/ 0 h 5"/>
              <a:gd name="T8" fmla="*/ 0 w 7"/>
              <a:gd name="T9" fmla="*/ 5 h 5"/>
              <a:gd name="T10" fmla="*/ 0 w 7"/>
              <a:gd name="T11" fmla="*/ 5 h 5"/>
              <a:gd name="T12" fmla="*/ 3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3" y="4"/>
                </a:moveTo>
                <a:cubicBezTo>
                  <a:pt x="4" y="3"/>
                  <a:pt x="7" y="4"/>
                  <a:pt x="7" y="3"/>
                </a:cubicBezTo>
                <a:cubicBezTo>
                  <a:pt x="7" y="2"/>
                  <a:pt x="2" y="0"/>
                  <a:pt x="1" y="1"/>
                </a:cubicBezTo>
                <a:cubicBezTo>
                  <a:pt x="1" y="1"/>
                  <a:pt x="1" y="1"/>
                  <a:pt x="0" y="0"/>
                </a:cubicBezTo>
                <a:cubicBezTo>
                  <a:pt x="0" y="2"/>
                  <a:pt x="0" y="3"/>
                  <a:pt x="0" y="5"/>
                </a:cubicBezTo>
                <a:cubicBezTo>
                  <a:pt x="0" y="5"/>
                  <a:pt x="0" y="5"/>
                  <a:pt x="0" y="5"/>
                </a:cubicBezTo>
                <a:cubicBezTo>
                  <a:pt x="1" y="5"/>
                  <a:pt x="1"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39"/>
          <p:cNvSpPr>
            <a:spLocks/>
          </p:cNvSpPr>
          <p:nvPr/>
        </p:nvSpPr>
        <p:spPr bwMode="auto">
          <a:xfrm>
            <a:off x="1261356" y="3114506"/>
            <a:ext cx="42898" cy="50048"/>
          </a:xfrm>
          <a:custGeom>
            <a:avLst/>
            <a:gdLst>
              <a:gd name="T0" fmla="*/ 5 w 9"/>
              <a:gd name="T1" fmla="*/ 10 h 10"/>
              <a:gd name="T2" fmla="*/ 7 w 9"/>
              <a:gd name="T3" fmla="*/ 10 h 10"/>
              <a:gd name="T4" fmla="*/ 8 w 9"/>
              <a:gd name="T5" fmla="*/ 10 h 10"/>
              <a:gd name="T6" fmla="*/ 8 w 9"/>
              <a:gd name="T7" fmla="*/ 10 h 10"/>
              <a:gd name="T8" fmla="*/ 9 w 9"/>
              <a:gd name="T9" fmla="*/ 7 h 10"/>
              <a:gd name="T10" fmla="*/ 9 w 9"/>
              <a:gd name="T11" fmla="*/ 3 h 10"/>
              <a:gd name="T12" fmla="*/ 9 w 9"/>
              <a:gd name="T13" fmla="*/ 1 h 10"/>
              <a:gd name="T14" fmla="*/ 9 w 9"/>
              <a:gd name="T15" fmla="*/ 0 h 10"/>
              <a:gd name="T16" fmla="*/ 7 w 9"/>
              <a:gd name="T17" fmla="*/ 1 h 10"/>
              <a:gd name="T18" fmla="*/ 5 w 9"/>
              <a:gd name="T19" fmla="*/ 2 h 10"/>
              <a:gd name="T20" fmla="*/ 2 w 9"/>
              <a:gd name="T21" fmla="*/ 3 h 10"/>
              <a:gd name="T22" fmla="*/ 2 w 9"/>
              <a:gd name="T23" fmla="*/ 4 h 10"/>
              <a:gd name="T24" fmla="*/ 1 w 9"/>
              <a:gd name="T25" fmla="*/ 5 h 10"/>
              <a:gd name="T26" fmla="*/ 0 w 9"/>
              <a:gd name="T27" fmla="*/ 5 h 10"/>
              <a:gd name="T28" fmla="*/ 0 w 9"/>
              <a:gd name="T29" fmla="*/ 6 h 10"/>
              <a:gd name="T30" fmla="*/ 3 w 9"/>
              <a:gd name="T31" fmla="*/ 9 h 10"/>
              <a:gd name="T32" fmla="*/ 4 w 9"/>
              <a:gd name="T33" fmla="*/ 9 h 10"/>
              <a:gd name="T34" fmla="*/ 5 w 9"/>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10"/>
                </a:moveTo>
                <a:cubicBezTo>
                  <a:pt x="6" y="10"/>
                  <a:pt x="7" y="10"/>
                  <a:pt x="7" y="10"/>
                </a:cubicBezTo>
                <a:cubicBezTo>
                  <a:pt x="7" y="10"/>
                  <a:pt x="8" y="10"/>
                  <a:pt x="8" y="10"/>
                </a:cubicBezTo>
                <a:cubicBezTo>
                  <a:pt x="8" y="10"/>
                  <a:pt x="8" y="10"/>
                  <a:pt x="8" y="10"/>
                </a:cubicBezTo>
                <a:cubicBezTo>
                  <a:pt x="8" y="9"/>
                  <a:pt x="8" y="8"/>
                  <a:pt x="9" y="7"/>
                </a:cubicBezTo>
                <a:cubicBezTo>
                  <a:pt x="9" y="6"/>
                  <a:pt x="8" y="3"/>
                  <a:pt x="9" y="3"/>
                </a:cubicBezTo>
                <a:cubicBezTo>
                  <a:pt x="9" y="2"/>
                  <a:pt x="9" y="2"/>
                  <a:pt x="9" y="1"/>
                </a:cubicBezTo>
                <a:cubicBezTo>
                  <a:pt x="9" y="1"/>
                  <a:pt x="9" y="0"/>
                  <a:pt x="9" y="0"/>
                </a:cubicBezTo>
                <a:cubicBezTo>
                  <a:pt x="8" y="0"/>
                  <a:pt x="7" y="1"/>
                  <a:pt x="7" y="1"/>
                </a:cubicBezTo>
                <a:cubicBezTo>
                  <a:pt x="6" y="1"/>
                  <a:pt x="5" y="1"/>
                  <a:pt x="5" y="2"/>
                </a:cubicBezTo>
                <a:cubicBezTo>
                  <a:pt x="4" y="3"/>
                  <a:pt x="4" y="3"/>
                  <a:pt x="2" y="3"/>
                </a:cubicBezTo>
                <a:cubicBezTo>
                  <a:pt x="1" y="3"/>
                  <a:pt x="2" y="4"/>
                  <a:pt x="2" y="4"/>
                </a:cubicBezTo>
                <a:cubicBezTo>
                  <a:pt x="1" y="4"/>
                  <a:pt x="1" y="5"/>
                  <a:pt x="1" y="5"/>
                </a:cubicBezTo>
                <a:cubicBezTo>
                  <a:pt x="0" y="5"/>
                  <a:pt x="0" y="5"/>
                  <a:pt x="0" y="5"/>
                </a:cubicBezTo>
                <a:cubicBezTo>
                  <a:pt x="0" y="5"/>
                  <a:pt x="0" y="6"/>
                  <a:pt x="0" y="6"/>
                </a:cubicBezTo>
                <a:cubicBezTo>
                  <a:pt x="1" y="6"/>
                  <a:pt x="2" y="8"/>
                  <a:pt x="3" y="9"/>
                </a:cubicBezTo>
                <a:cubicBezTo>
                  <a:pt x="3" y="9"/>
                  <a:pt x="4" y="9"/>
                  <a:pt x="4" y="9"/>
                </a:cubicBezTo>
                <a:cubicBezTo>
                  <a:pt x="4" y="9"/>
                  <a:pt x="5" y="9"/>
                  <a:pt x="5"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40"/>
          <p:cNvSpPr>
            <a:spLocks/>
          </p:cNvSpPr>
          <p:nvPr/>
        </p:nvSpPr>
        <p:spPr bwMode="auto">
          <a:xfrm>
            <a:off x="1404350" y="3221752"/>
            <a:ext cx="425407" cy="439706"/>
          </a:xfrm>
          <a:custGeom>
            <a:avLst/>
            <a:gdLst>
              <a:gd name="T0" fmla="*/ 49 w 88"/>
              <a:gd name="T1" fmla="*/ 84 h 91"/>
              <a:gd name="T2" fmla="*/ 51 w 88"/>
              <a:gd name="T3" fmla="*/ 84 h 91"/>
              <a:gd name="T4" fmla="*/ 56 w 88"/>
              <a:gd name="T5" fmla="*/ 75 h 91"/>
              <a:gd name="T6" fmla="*/ 60 w 88"/>
              <a:gd name="T7" fmla="*/ 68 h 91"/>
              <a:gd name="T8" fmla="*/ 66 w 88"/>
              <a:gd name="T9" fmla="*/ 64 h 91"/>
              <a:gd name="T10" fmla="*/ 73 w 88"/>
              <a:gd name="T11" fmla="*/ 62 h 91"/>
              <a:gd name="T12" fmla="*/ 75 w 88"/>
              <a:gd name="T13" fmla="*/ 57 h 91"/>
              <a:gd name="T14" fmla="*/ 78 w 88"/>
              <a:gd name="T15" fmla="*/ 52 h 91"/>
              <a:gd name="T16" fmla="*/ 78 w 88"/>
              <a:gd name="T17" fmla="*/ 42 h 91"/>
              <a:gd name="T18" fmla="*/ 80 w 88"/>
              <a:gd name="T19" fmla="*/ 41 h 91"/>
              <a:gd name="T20" fmla="*/ 87 w 88"/>
              <a:gd name="T21" fmla="*/ 31 h 91"/>
              <a:gd name="T22" fmla="*/ 79 w 88"/>
              <a:gd name="T23" fmla="*/ 21 h 91"/>
              <a:gd name="T24" fmla="*/ 66 w 88"/>
              <a:gd name="T25" fmla="*/ 19 h 91"/>
              <a:gd name="T26" fmla="*/ 58 w 88"/>
              <a:gd name="T27" fmla="*/ 15 h 91"/>
              <a:gd name="T28" fmla="*/ 57 w 88"/>
              <a:gd name="T29" fmla="*/ 13 h 91"/>
              <a:gd name="T30" fmla="*/ 52 w 88"/>
              <a:gd name="T31" fmla="*/ 12 h 91"/>
              <a:gd name="T32" fmla="*/ 50 w 88"/>
              <a:gd name="T33" fmla="*/ 3 h 91"/>
              <a:gd name="T34" fmla="*/ 43 w 88"/>
              <a:gd name="T35" fmla="*/ 7 h 91"/>
              <a:gd name="T36" fmla="*/ 37 w 88"/>
              <a:gd name="T37" fmla="*/ 8 h 91"/>
              <a:gd name="T38" fmla="*/ 32 w 88"/>
              <a:gd name="T39" fmla="*/ 8 h 91"/>
              <a:gd name="T40" fmla="*/ 31 w 88"/>
              <a:gd name="T41" fmla="*/ 1 h 91"/>
              <a:gd name="T42" fmla="*/ 25 w 88"/>
              <a:gd name="T43" fmla="*/ 4 h 91"/>
              <a:gd name="T44" fmla="*/ 21 w 88"/>
              <a:gd name="T45" fmla="*/ 3 h 91"/>
              <a:gd name="T46" fmla="*/ 23 w 88"/>
              <a:gd name="T47" fmla="*/ 7 h 91"/>
              <a:gd name="T48" fmla="*/ 20 w 88"/>
              <a:gd name="T49" fmla="*/ 9 h 91"/>
              <a:gd name="T50" fmla="*/ 16 w 88"/>
              <a:gd name="T51" fmla="*/ 10 h 91"/>
              <a:gd name="T52" fmla="*/ 9 w 88"/>
              <a:gd name="T53" fmla="*/ 9 h 91"/>
              <a:gd name="T54" fmla="*/ 9 w 88"/>
              <a:gd name="T55" fmla="*/ 12 h 91"/>
              <a:gd name="T56" fmla="*/ 9 w 88"/>
              <a:gd name="T57" fmla="*/ 22 h 91"/>
              <a:gd name="T58" fmla="*/ 2 w 88"/>
              <a:gd name="T59" fmla="*/ 24 h 91"/>
              <a:gd name="T60" fmla="*/ 0 w 88"/>
              <a:gd name="T61" fmla="*/ 29 h 91"/>
              <a:gd name="T62" fmla="*/ 3 w 88"/>
              <a:gd name="T63" fmla="*/ 33 h 91"/>
              <a:gd name="T64" fmla="*/ 7 w 88"/>
              <a:gd name="T65" fmla="*/ 34 h 91"/>
              <a:gd name="T66" fmla="*/ 13 w 88"/>
              <a:gd name="T67" fmla="*/ 36 h 91"/>
              <a:gd name="T68" fmla="*/ 19 w 88"/>
              <a:gd name="T69" fmla="*/ 34 h 91"/>
              <a:gd name="T70" fmla="*/ 24 w 88"/>
              <a:gd name="T71" fmla="*/ 41 h 91"/>
              <a:gd name="T72" fmla="*/ 29 w 88"/>
              <a:gd name="T73" fmla="*/ 43 h 91"/>
              <a:gd name="T74" fmla="*/ 31 w 88"/>
              <a:gd name="T75" fmla="*/ 48 h 91"/>
              <a:gd name="T76" fmla="*/ 36 w 88"/>
              <a:gd name="T77" fmla="*/ 52 h 91"/>
              <a:gd name="T78" fmla="*/ 35 w 88"/>
              <a:gd name="T79" fmla="*/ 58 h 91"/>
              <a:gd name="T80" fmla="*/ 39 w 88"/>
              <a:gd name="T81" fmla="*/ 63 h 91"/>
              <a:gd name="T82" fmla="*/ 43 w 88"/>
              <a:gd name="T83" fmla="*/ 66 h 91"/>
              <a:gd name="T84" fmla="*/ 45 w 88"/>
              <a:gd name="T85" fmla="*/ 74 h 91"/>
              <a:gd name="T86" fmla="*/ 37 w 88"/>
              <a:gd name="T87" fmla="*/ 82 h 91"/>
              <a:gd name="T88" fmla="*/ 40 w 88"/>
              <a:gd name="T89" fmla="*/ 84 h 91"/>
              <a:gd name="T90" fmla="*/ 45 w 88"/>
              <a:gd name="T91"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91">
                <a:moveTo>
                  <a:pt x="47" y="89"/>
                </a:moveTo>
                <a:cubicBezTo>
                  <a:pt x="48" y="89"/>
                  <a:pt x="48" y="88"/>
                  <a:pt x="48" y="87"/>
                </a:cubicBezTo>
                <a:cubicBezTo>
                  <a:pt x="49" y="86"/>
                  <a:pt x="48" y="85"/>
                  <a:pt x="49" y="84"/>
                </a:cubicBezTo>
                <a:cubicBezTo>
                  <a:pt x="51" y="83"/>
                  <a:pt x="49" y="82"/>
                  <a:pt x="51" y="82"/>
                </a:cubicBezTo>
                <a:cubicBezTo>
                  <a:pt x="52" y="81"/>
                  <a:pt x="52" y="82"/>
                  <a:pt x="51" y="84"/>
                </a:cubicBezTo>
                <a:cubicBezTo>
                  <a:pt x="50" y="85"/>
                  <a:pt x="49" y="86"/>
                  <a:pt x="51" y="84"/>
                </a:cubicBezTo>
                <a:cubicBezTo>
                  <a:pt x="52" y="83"/>
                  <a:pt x="53" y="82"/>
                  <a:pt x="54" y="80"/>
                </a:cubicBezTo>
                <a:cubicBezTo>
                  <a:pt x="54" y="78"/>
                  <a:pt x="55" y="78"/>
                  <a:pt x="56" y="78"/>
                </a:cubicBezTo>
                <a:cubicBezTo>
                  <a:pt x="57" y="78"/>
                  <a:pt x="57" y="76"/>
                  <a:pt x="56" y="75"/>
                </a:cubicBezTo>
                <a:cubicBezTo>
                  <a:pt x="56" y="73"/>
                  <a:pt x="56" y="72"/>
                  <a:pt x="57" y="71"/>
                </a:cubicBezTo>
                <a:cubicBezTo>
                  <a:pt x="57" y="70"/>
                  <a:pt x="57" y="70"/>
                  <a:pt x="57" y="70"/>
                </a:cubicBezTo>
                <a:cubicBezTo>
                  <a:pt x="58" y="70"/>
                  <a:pt x="59" y="69"/>
                  <a:pt x="60" y="68"/>
                </a:cubicBezTo>
                <a:cubicBezTo>
                  <a:pt x="61" y="67"/>
                  <a:pt x="62" y="66"/>
                  <a:pt x="63" y="66"/>
                </a:cubicBezTo>
                <a:cubicBezTo>
                  <a:pt x="64" y="66"/>
                  <a:pt x="63" y="66"/>
                  <a:pt x="64" y="66"/>
                </a:cubicBezTo>
                <a:cubicBezTo>
                  <a:pt x="65" y="65"/>
                  <a:pt x="65" y="65"/>
                  <a:pt x="66" y="64"/>
                </a:cubicBezTo>
                <a:cubicBezTo>
                  <a:pt x="66" y="64"/>
                  <a:pt x="68" y="64"/>
                  <a:pt x="70" y="64"/>
                </a:cubicBezTo>
                <a:cubicBezTo>
                  <a:pt x="71" y="64"/>
                  <a:pt x="71" y="64"/>
                  <a:pt x="71" y="64"/>
                </a:cubicBezTo>
                <a:cubicBezTo>
                  <a:pt x="71" y="63"/>
                  <a:pt x="72" y="62"/>
                  <a:pt x="73" y="62"/>
                </a:cubicBezTo>
                <a:cubicBezTo>
                  <a:pt x="73" y="62"/>
                  <a:pt x="74" y="62"/>
                  <a:pt x="74" y="61"/>
                </a:cubicBezTo>
                <a:cubicBezTo>
                  <a:pt x="74" y="60"/>
                  <a:pt x="74" y="60"/>
                  <a:pt x="75" y="59"/>
                </a:cubicBezTo>
                <a:cubicBezTo>
                  <a:pt x="75" y="59"/>
                  <a:pt x="75" y="58"/>
                  <a:pt x="75" y="57"/>
                </a:cubicBezTo>
                <a:cubicBezTo>
                  <a:pt x="76" y="57"/>
                  <a:pt x="76" y="57"/>
                  <a:pt x="76" y="56"/>
                </a:cubicBezTo>
                <a:cubicBezTo>
                  <a:pt x="76" y="55"/>
                  <a:pt x="77" y="54"/>
                  <a:pt x="77" y="53"/>
                </a:cubicBezTo>
                <a:cubicBezTo>
                  <a:pt x="77" y="53"/>
                  <a:pt x="77" y="53"/>
                  <a:pt x="78" y="52"/>
                </a:cubicBezTo>
                <a:cubicBezTo>
                  <a:pt x="78" y="52"/>
                  <a:pt x="77" y="51"/>
                  <a:pt x="78" y="49"/>
                </a:cubicBezTo>
                <a:cubicBezTo>
                  <a:pt x="79" y="48"/>
                  <a:pt x="78" y="46"/>
                  <a:pt x="78" y="45"/>
                </a:cubicBezTo>
                <a:cubicBezTo>
                  <a:pt x="78" y="44"/>
                  <a:pt x="78" y="42"/>
                  <a:pt x="78" y="42"/>
                </a:cubicBezTo>
                <a:cubicBezTo>
                  <a:pt x="79" y="41"/>
                  <a:pt x="79" y="41"/>
                  <a:pt x="78" y="41"/>
                </a:cubicBezTo>
                <a:cubicBezTo>
                  <a:pt x="78" y="41"/>
                  <a:pt x="78" y="40"/>
                  <a:pt x="79" y="40"/>
                </a:cubicBezTo>
                <a:cubicBezTo>
                  <a:pt x="79" y="40"/>
                  <a:pt x="79" y="41"/>
                  <a:pt x="80" y="41"/>
                </a:cubicBezTo>
                <a:cubicBezTo>
                  <a:pt x="81" y="40"/>
                  <a:pt x="81" y="39"/>
                  <a:pt x="82" y="37"/>
                </a:cubicBezTo>
                <a:cubicBezTo>
                  <a:pt x="82" y="36"/>
                  <a:pt x="83" y="36"/>
                  <a:pt x="84" y="36"/>
                </a:cubicBezTo>
                <a:cubicBezTo>
                  <a:pt x="85" y="35"/>
                  <a:pt x="86" y="34"/>
                  <a:pt x="87" y="31"/>
                </a:cubicBezTo>
                <a:cubicBezTo>
                  <a:pt x="88" y="29"/>
                  <a:pt x="87" y="27"/>
                  <a:pt x="87" y="25"/>
                </a:cubicBezTo>
                <a:cubicBezTo>
                  <a:pt x="86" y="23"/>
                  <a:pt x="86" y="24"/>
                  <a:pt x="85" y="24"/>
                </a:cubicBezTo>
                <a:cubicBezTo>
                  <a:pt x="84" y="24"/>
                  <a:pt x="82" y="23"/>
                  <a:pt x="79" y="21"/>
                </a:cubicBezTo>
                <a:cubicBezTo>
                  <a:pt x="77" y="18"/>
                  <a:pt x="75" y="18"/>
                  <a:pt x="73" y="19"/>
                </a:cubicBezTo>
                <a:cubicBezTo>
                  <a:pt x="71" y="19"/>
                  <a:pt x="70" y="18"/>
                  <a:pt x="69" y="18"/>
                </a:cubicBezTo>
                <a:cubicBezTo>
                  <a:pt x="68" y="17"/>
                  <a:pt x="66" y="19"/>
                  <a:pt x="66" y="19"/>
                </a:cubicBezTo>
                <a:cubicBezTo>
                  <a:pt x="65" y="19"/>
                  <a:pt x="66" y="18"/>
                  <a:pt x="66" y="17"/>
                </a:cubicBezTo>
                <a:cubicBezTo>
                  <a:pt x="66" y="16"/>
                  <a:pt x="63" y="15"/>
                  <a:pt x="61" y="14"/>
                </a:cubicBezTo>
                <a:cubicBezTo>
                  <a:pt x="59" y="13"/>
                  <a:pt x="58" y="13"/>
                  <a:pt x="58" y="15"/>
                </a:cubicBezTo>
                <a:cubicBezTo>
                  <a:pt x="58" y="16"/>
                  <a:pt x="57" y="14"/>
                  <a:pt x="56" y="16"/>
                </a:cubicBezTo>
                <a:cubicBezTo>
                  <a:pt x="55" y="17"/>
                  <a:pt x="54" y="17"/>
                  <a:pt x="55" y="16"/>
                </a:cubicBezTo>
                <a:cubicBezTo>
                  <a:pt x="56" y="16"/>
                  <a:pt x="57" y="14"/>
                  <a:pt x="57" y="13"/>
                </a:cubicBezTo>
                <a:cubicBezTo>
                  <a:pt x="57" y="13"/>
                  <a:pt x="54" y="12"/>
                  <a:pt x="52" y="12"/>
                </a:cubicBezTo>
                <a:cubicBezTo>
                  <a:pt x="51" y="13"/>
                  <a:pt x="52" y="15"/>
                  <a:pt x="51" y="14"/>
                </a:cubicBezTo>
                <a:cubicBezTo>
                  <a:pt x="50" y="13"/>
                  <a:pt x="51" y="12"/>
                  <a:pt x="52" y="12"/>
                </a:cubicBezTo>
                <a:cubicBezTo>
                  <a:pt x="52" y="12"/>
                  <a:pt x="53" y="11"/>
                  <a:pt x="54" y="9"/>
                </a:cubicBezTo>
                <a:cubicBezTo>
                  <a:pt x="54" y="8"/>
                  <a:pt x="53" y="8"/>
                  <a:pt x="52" y="7"/>
                </a:cubicBezTo>
                <a:cubicBezTo>
                  <a:pt x="51" y="6"/>
                  <a:pt x="51" y="3"/>
                  <a:pt x="50" y="3"/>
                </a:cubicBezTo>
                <a:cubicBezTo>
                  <a:pt x="49" y="4"/>
                  <a:pt x="48" y="5"/>
                  <a:pt x="48" y="6"/>
                </a:cubicBezTo>
                <a:cubicBezTo>
                  <a:pt x="47" y="8"/>
                  <a:pt x="47" y="7"/>
                  <a:pt x="46" y="7"/>
                </a:cubicBezTo>
                <a:cubicBezTo>
                  <a:pt x="44" y="8"/>
                  <a:pt x="44" y="7"/>
                  <a:pt x="43" y="7"/>
                </a:cubicBezTo>
                <a:cubicBezTo>
                  <a:pt x="43" y="6"/>
                  <a:pt x="42" y="7"/>
                  <a:pt x="41" y="7"/>
                </a:cubicBezTo>
                <a:cubicBezTo>
                  <a:pt x="40" y="7"/>
                  <a:pt x="41" y="8"/>
                  <a:pt x="40" y="8"/>
                </a:cubicBezTo>
                <a:cubicBezTo>
                  <a:pt x="39" y="8"/>
                  <a:pt x="38" y="7"/>
                  <a:pt x="37" y="8"/>
                </a:cubicBezTo>
                <a:cubicBezTo>
                  <a:pt x="37" y="9"/>
                  <a:pt x="36" y="8"/>
                  <a:pt x="36" y="8"/>
                </a:cubicBezTo>
                <a:cubicBezTo>
                  <a:pt x="36" y="9"/>
                  <a:pt x="35" y="9"/>
                  <a:pt x="35" y="9"/>
                </a:cubicBezTo>
                <a:cubicBezTo>
                  <a:pt x="34" y="9"/>
                  <a:pt x="33" y="10"/>
                  <a:pt x="32" y="8"/>
                </a:cubicBezTo>
                <a:cubicBezTo>
                  <a:pt x="31" y="7"/>
                  <a:pt x="31" y="5"/>
                  <a:pt x="32" y="4"/>
                </a:cubicBezTo>
                <a:cubicBezTo>
                  <a:pt x="32" y="4"/>
                  <a:pt x="32" y="3"/>
                  <a:pt x="32" y="2"/>
                </a:cubicBezTo>
                <a:cubicBezTo>
                  <a:pt x="31" y="2"/>
                  <a:pt x="32" y="1"/>
                  <a:pt x="31" y="1"/>
                </a:cubicBezTo>
                <a:cubicBezTo>
                  <a:pt x="30" y="0"/>
                  <a:pt x="30" y="2"/>
                  <a:pt x="29" y="2"/>
                </a:cubicBezTo>
                <a:cubicBezTo>
                  <a:pt x="29" y="2"/>
                  <a:pt x="27" y="3"/>
                  <a:pt x="27" y="3"/>
                </a:cubicBezTo>
                <a:cubicBezTo>
                  <a:pt x="26" y="3"/>
                  <a:pt x="25" y="3"/>
                  <a:pt x="25" y="4"/>
                </a:cubicBezTo>
                <a:cubicBezTo>
                  <a:pt x="25" y="5"/>
                  <a:pt x="24" y="4"/>
                  <a:pt x="24" y="4"/>
                </a:cubicBezTo>
                <a:cubicBezTo>
                  <a:pt x="24" y="3"/>
                  <a:pt x="23" y="3"/>
                  <a:pt x="22" y="3"/>
                </a:cubicBezTo>
                <a:cubicBezTo>
                  <a:pt x="22" y="3"/>
                  <a:pt x="20" y="3"/>
                  <a:pt x="21" y="3"/>
                </a:cubicBezTo>
                <a:cubicBezTo>
                  <a:pt x="22" y="4"/>
                  <a:pt x="22" y="4"/>
                  <a:pt x="22" y="5"/>
                </a:cubicBezTo>
                <a:cubicBezTo>
                  <a:pt x="22" y="6"/>
                  <a:pt x="22" y="6"/>
                  <a:pt x="22" y="6"/>
                </a:cubicBezTo>
                <a:cubicBezTo>
                  <a:pt x="22" y="7"/>
                  <a:pt x="23" y="7"/>
                  <a:pt x="23" y="7"/>
                </a:cubicBezTo>
                <a:cubicBezTo>
                  <a:pt x="24" y="7"/>
                  <a:pt x="24" y="7"/>
                  <a:pt x="23" y="8"/>
                </a:cubicBezTo>
                <a:cubicBezTo>
                  <a:pt x="22" y="8"/>
                  <a:pt x="22" y="8"/>
                  <a:pt x="22" y="9"/>
                </a:cubicBezTo>
                <a:cubicBezTo>
                  <a:pt x="22" y="9"/>
                  <a:pt x="21" y="9"/>
                  <a:pt x="20" y="9"/>
                </a:cubicBezTo>
                <a:cubicBezTo>
                  <a:pt x="20" y="10"/>
                  <a:pt x="19" y="11"/>
                  <a:pt x="19" y="10"/>
                </a:cubicBezTo>
                <a:cubicBezTo>
                  <a:pt x="18" y="10"/>
                  <a:pt x="18" y="10"/>
                  <a:pt x="18" y="10"/>
                </a:cubicBezTo>
                <a:cubicBezTo>
                  <a:pt x="17" y="11"/>
                  <a:pt x="17" y="10"/>
                  <a:pt x="16" y="10"/>
                </a:cubicBezTo>
                <a:cubicBezTo>
                  <a:pt x="16" y="10"/>
                  <a:pt x="16" y="9"/>
                  <a:pt x="15" y="8"/>
                </a:cubicBezTo>
                <a:cubicBezTo>
                  <a:pt x="14" y="8"/>
                  <a:pt x="13" y="8"/>
                  <a:pt x="13" y="8"/>
                </a:cubicBezTo>
                <a:cubicBezTo>
                  <a:pt x="12" y="8"/>
                  <a:pt x="9" y="8"/>
                  <a:pt x="9" y="9"/>
                </a:cubicBezTo>
                <a:cubicBezTo>
                  <a:pt x="9" y="9"/>
                  <a:pt x="9" y="10"/>
                  <a:pt x="10" y="10"/>
                </a:cubicBezTo>
                <a:cubicBezTo>
                  <a:pt x="10" y="10"/>
                  <a:pt x="11" y="10"/>
                  <a:pt x="10" y="11"/>
                </a:cubicBezTo>
                <a:cubicBezTo>
                  <a:pt x="9" y="11"/>
                  <a:pt x="9" y="11"/>
                  <a:pt x="9" y="12"/>
                </a:cubicBezTo>
                <a:cubicBezTo>
                  <a:pt x="9" y="13"/>
                  <a:pt x="10" y="14"/>
                  <a:pt x="10" y="15"/>
                </a:cubicBezTo>
                <a:cubicBezTo>
                  <a:pt x="10" y="16"/>
                  <a:pt x="10" y="18"/>
                  <a:pt x="10" y="19"/>
                </a:cubicBezTo>
                <a:cubicBezTo>
                  <a:pt x="10" y="19"/>
                  <a:pt x="9" y="21"/>
                  <a:pt x="9" y="22"/>
                </a:cubicBezTo>
                <a:cubicBezTo>
                  <a:pt x="8" y="22"/>
                  <a:pt x="8" y="21"/>
                  <a:pt x="7" y="22"/>
                </a:cubicBezTo>
                <a:cubicBezTo>
                  <a:pt x="6" y="22"/>
                  <a:pt x="5" y="22"/>
                  <a:pt x="4" y="23"/>
                </a:cubicBezTo>
                <a:cubicBezTo>
                  <a:pt x="3" y="23"/>
                  <a:pt x="2" y="23"/>
                  <a:pt x="2" y="24"/>
                </a:cubicBezTo>
                <a:cubicBezTo>
                  <a:pt x="2" y="25"/>
                  <a:pt x="1" y="25"/>
                  <a:pt x="2" y="26"/>
                </a:cubicBezTo>
                <a:cubicBezTo>
                  <a:pt x="2" y="27"/>
                  <a:pt x="1" y="27"/>
                  <a:pt x="1" y="27"/>
                </a:cubicBezTo>
                <a:cubicBezTo>
                  <a:pt x="0" y="28"/>
                  <a:pt x="1" y="28"/>
                  <a:pt x="0" y="29"/>
                </a:cubicBezTo>
                <a:cubicBezTo>
                  <a:pt x="0" y="29"/>
                  <a:pt x="0" y="30"/>
                  <a:pt x="1" y="31"/>
                </a:cubicBezTo>
                <a:cubicBezTo>
                  <a:pt x="1" y="31"/>
                  <a:pt x="2" y="32"/>
                  <a:pt x="2" y="32"/>
                </a:cubicBezTo>
                <a:cubicBezTo>
                  <a:pt x="2" y="33"/>
                  <a:pt x="2" y="33"/>
                  <a:pt x="3" y="33"/>
                </a:cubicBezTo>
                <a:cubicBezTo>
                  <a:pt x="4" y="33"/>
                  <a:pt x="3" y="35"/>
                  <a:pt x="4" y="35"/>
                </a:cubicBezTo>
                <a:cubicBezTo>
                  <a:pt x="5" y="35"/>
                  <a:pt x="6" y="35"/>
                  <a:pt x="6" y="34"/>
                </a:cubicBezTo>
                <a:cubicBezTo>
                  <a:pt x="7" y="34"/>
                  <a:pt x="7" y="33"/>
                  <a:pt x="7" y="34"/>
                </a:cubicBezTo>
                <a:cubicBezTo>
                  <a:pt x="7" y="35"/>
                  <a:pt x="7" y="37"/>
                  <a:pt x="8" y="37"/>
                </a:cubicBezTo>
                <a:cubicBezTo>
                  <a:pt x="9" y="37"/>
                  <a:pt x="10" y="37"/>
                  <a:pt x="11" y="37"/>
                </a:cubicBezTo>
                <a:cubicBezTo>
                  <a:pt x="11" y="37"/>
                  <a:pt x="12" y="37"/>
                  <a:pt x="13" y="36"/>
                </a:cubicBezTo>
                <a:cubicBezTo>
                  <a:pt x="13" y="36"/>
                  <a:pt x="14" y="36"/>
                  <a:pt x="15" y="36"/>
                </a:cubicBezTo>
                <a:cubicBezTo>
                  <a:pt x="15" y="35"/>
                  <a:pt x="16" y="34"/>
                  <a:pt x="17" y="34"/>
                </a:cubicBezTo>
                <a:cubicBezTo>
                  <a:pt x="18" y="34"/>
                  <a:pt x="19" y="34"/>
                  <a:pt x="19" y="34"/>
                </a:cubicBezTo>
                <a:cubicBezTo>
                  <a:pt x="19" y="35"/>
                  <a:pt x="19" y="38"/>
                  <a:pt x="20" y="39"/>
                </a:cubicBezTo>
                <a:cubicBezTo>
                  <a:pt x="21" y="40"/>
                  <a:pt x="22" y="40"/>
                  <a:pt x="23" y="40"/>
                </a:cubicBezTo>
                <a:cubicBezTo>
                  <a:pt x="24" y="40"/>
                  <a:pt x="23" y="41"/>
                  <a:pt x="24" y="41"/>
                </a:cubicBezTo>
                <a:cubicBezTo>
                  <a:pt x="25" y="41"/>
                  <a:pt x="24" y="41"/>
                  <a:pt x="25" y="41"/>
                </a:cubicBezTo>
                <a:cubicBezTo>
                  <a:pt x="26" y="41"/>
                  <a:pt x="27" y="42"/>
                  <a:pt x="27" y="42"/>
                </a:cubicBezTo>
                <a:cubicBezTo>
                  <a:pt x="27" y="43"/>
                  <a:pt x="29" y="42"/>
                  <a:pt x="29" y="43"/>
                </a:cubicBezTo>
                <a:cubicBezTo>
                  <a:pt x="30" y="43"/>
                  <a:pt x="30" y="44"/>
                  <a:pt x="30" y="44"/>
                </a:cubicBezTo>
                <a:cubicBezTo>
                  <a:pt x="30" y="45"/>
                  <a:pt x="31" y="46"/>
                  <a:pt x="31" y="46"/>
                </a:cubicBezTo>
                <a:cubicBezTo>
                  <a:pt x="30" y="46"/>
                  <a:pt x="31" y="47"/>
                  <a:pt x="31" y="48"/>
                </a:cubicBezTo>
                <a:cubicBezTo>
                  <a:pt x="31" y="49"/>
                  <a:pt x="32" y="49"/>
                  <a:pt x="33" y="49"/>
                </a:cubicBezTo>
                <a:cubicBezTo>
                  <a:pt x="35" y="49"/>
                  <a:pt x="35" y="49"/>
                  <a:pt x="35" y="50"/>
                </a:cubicBezTo>
                <a:cubicBezTo>
                  <a:pt x="35" y="51"/>
                  <a:pt x="36" y="51"/>
                  <a:pt x="36" y="52"/>
                </a:cubicBezTo>
                <a:cubicBezTo>
                  <a:pt x="37" y="53"/>
                  <a:pt x="36" y="54"/>
                  <a:pt x="36" y="55"/>
                </a:cubicBezTo>
                <a:cubicBezTo>
                  <a:pt x="36" y="56"/>
                  <a:pt x="36" y="56"/>
                  <a:pt x="35" y="57"/>
                </a:cubicBezTo>
                <a:cubicBezTo>
                  <a:pt x="36" y="57"/>
                  <a:pt x="36" y="58"/>
                  <a:pt x="35" y="58"/>
                </a:cubicBezTo>
                <a:cubicBezTo>
                  <a:pt x="35" y="58"/>
                  <a:pt x="36" y="59"/>
                  <a:pt x="36" y="61"/>
                </a:cubicBezTo>
                <a:cubicBezTo>
                  <a:pt x="36" y="62"/>
                  <a:pt x="35" y="62"/>
                  <a:pt x="37" y="62"/>
                </a:cubicBezTo>
                <a:cubicBezTo>
                  <a:pt x="39" y="62"/>
                  <a:pt x="38" y="63"/>
                  <a:pt x="39" y="63"/>
                </a:cubicBezTo>
                <a:cubicBezTo>
                  <a:pt x="39" y="62"/>
                  <a:pt x="40" y="64"/>
                  <a:pt x="40" y="64"/>
                </a:cubicBezTo>
                <a:cubicBezTo>
                  <a:pt x="41" y="65"/>
                  <a:pt x="41" y="67"/>
                  <a:pt x="42" y="67"/>
                </a:cubicBezTo>
                <a:cubicBezTo>
                  <a:pt x="42" y="67"/>
                  <a:pt x="43" y="66"/>
                  <a:pt x="43" y="66"/>
                </a:cubicBezTo>
                <a:cubicBezTo>
                  <a:pt x="44" y="67"/>
                  <a:pt x="43" y="69"/>
                  <a:pt x="43" y="70"/>
                </a:cubicBezTo>
                <a:cubicBezTo>
                  <a:pt x="44" y="70"/>
                  <a:pt x="44" y="70"/>
                  <a:pt x="45" y="70"/>
                </a:cubicBezTo>
                <a:cubicBezTo>
                  <a:pt x="45" y="71"/>
                  <a:pt x="45" y="73"/>
                  <a:pt x="45" y="74"/>
                </a:cubicBezTo>
                <a:cubicBezTo>
                  <a:pt x="45" y="74"/>
                  <a:pt x="43" y="75"/>
                  <a:pt x="42" y="75"/>
                </a:cubicBezTo>
                <a:cubicBezTo>
                  <a:pt x="41" y="76"/>
                  <a:pt x="39" y="78"/>
                  <a:pt x="39" y="79"/>
                </a:cubicBezTo>
                <a:cubicBezTo>
                  <a:pt x="38" y="80"/>
                  <a:pt x="37" y="81"/>
                  <a:pt x="37" y="82"/>
                </a:cubicBezTo>
                <a:cubicBezTo>
                  <a:pt x="37" y="82"/>
                  <a:pt x="37" y="82"/>
                  <a:pt x="37" y="82"/>
                </a:cubicBezTo>
                <a:cubicBezTo>
                  <a:pt x="38" y="81"/>
                  <a:pt x="38" y="81"/>
                  <a:pt x="39" y="82"/>
                </a:cubicBezTo>
                <a:cubicBezTo>
                  <a:pt x="40" y="83"/>
                  <a:pt x="40" y="84"/>
                  <a:pt x="40" y="84"/>
                </a:cubicBezTo>
                <a:cubicBezTo>
                  <a:pt x="40" y="84"/>
                  <a:pt x="41" y="83"/>
                  <a:pt x="41" y="84"/>
                </a:cubicBezTo>
                <a:cubicBezTo>
                  <a:pt x="42" y="84"/>
                  <a:pt x="43" y="85"/>
                  <a:pt x="44" y="85"/>
                </a:cubicBezTo>
                <a:cubicBezTo>
                  <a:pt x="44" y="86"/>
                  <a:pt x="45" y="86"/>
                  <a:pt x="45" y="87"/>
                </a:cubicBezTo>
                <a:cubicBezTo>
                  <a:pt x="45" y="88"/>
                  <a:pt x="45" y="89"/>
                  <a:pt x="46" y="91"/>
                </a:cubicBezTo>
                <a:cubicBezTo>
                  <a:pt x="46" y="90"/>
                  <a:pt x="46" y="90"/>
                  <a:pt x="47" y="89"/>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41"/>
          <p:cNvSpPr>
            <a:spLocks/>
          </p:cNvSpPr>
          <p:nvPr/>
        </p:nvSpPr>
        <p:spPr bwMode="auto">
          <a:xfrm>
            <a:off x="1568793" y="3611410"/>
            <a:ext cx="57198" cy="64347"/>
          </a:xfrm>
          <a:custGeom>
            <a:avLst/>
            <a:gdLst>
              <a:gd name="T0" fmla="*/ 11 w 12"/>
              <a:gd name="T1" fmla="*/ 6 h 13"/>
              <a:gd name="T2" fmla="*/ 10 w 12"/>
              <a:gd name="T3" fmla="*/ 4 h 13"/>
              <a:gd name="T4" fmla="*/ 7 w 12"/>
              <a:gd name="T5" fmla="*/ 3 h 13"/>
              <a:gd name="T6" fmla="*/ 6 w 12"/>
              <a:gd name="T7" fmla="*/ 3 h 13"/>
              <a:gd name="T8" fmla="*/ 5 w 12"/>
              <a:gd name="T9" fmla="*/ 1 h 13"/>
              <a:gd name="T10" fmla="*/ 3 w 12"/>
              <a:gd name="T11" fmla="*/ 1 h 13"/>
              <a:gd name="T12" fmla="*/ 3 w 12"/>
              <a:gd name="T13" fmla="*/ 1 h 13"/>
              <a:gd name="T14" fmla="*/ 2 w 12"/>
              <a:gd name="T15" fmla="*/ 2 h 13"/>
              <a:gd name="T16" fmla="*/ 1 w 12"/>
              <a:gd name="T17" fmla="*/ 6 h 13"/>
              <a:gd name="T18" fmla="*/ 1 w 12"/>
              <a:gd name="T19" fmla="*/ 9 h 13"/>
              <a:gd name="T20" fmla="*/ 1 w 12"/>
              <a:gd name="T21" fmla="*/ 10 h 13"/>
              <a:gd name="T22" fmla="*/ 1 w 12"/>
              <a:gd name="T23" fmla="*/ 11 h 13"/>
              <a:gd name="T24" fmla="*/ 2 w 12"/>
              <a:gd name="T25" fmla="*/ 11 h 13"/>
              <a:gd name="T26" fmla="*/ 5 w 12"/>
              <a:gd name="T27" fmla="*/ 12 h 13"/>
              <a:gd name="T28" fmla="*/ 6 w 12"/>
              <a:gd name="T29" fmla="*/ 12 h 13"/>
              <a:gd name="T30" fmla="*/ 10 w 12"/>
              <a:gd name="T31" fmla="*/ 12 h 13"/>
              <a:gd name="T32" fmla="*/ 12 w 12"/>
              <a:gd name="T33" fmla="*/ 10 h 13"/>
              <a:gd name="T34" fmla="*/ 11 w 12"/>
              <a:gd name="T3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3">
                <a:moveTo>
                  <a:pt x="11" y="6"/>
                </a:moveTo>
                <a:cubicBezTo>
                  <a:pt x="11" y="5"/>
                  <a:pt x="10" y="5"/>
                  <a:pt x="10" y="4"/>
                </a:cubicBezTo>
                <a:cubicBezTo>
                  <a:pt x="9" y="4"/>
                  <a:pt x="8" y="3"/>
                  <a:pt x="7" y="3"/>
                </a:cubicBezTo>
                <a:cubicBezTo>
                  <a:pt x="7" y="2"/>
                  <a:pt x="6" y="3"/>
                  <a:pt x="6" y="3"/>
                </a:cubicBezTo>
                <a:cubicBezTo>
                  <a:pt x="6" y="3"/>
                  <a:pt x="6" y="2"/>
                  <a:pt x="5" y="1"/>
                </a:cubicBezTo>
                <a:cubicBezTo>
                  <a:pt x="4" y="0"/>
                  <a:pt x="4" y="0"/>
                  <a:pt x="3" y="1"/>
                </a:cubicBezTo>
                <a:cubicBezTo>
                  <a:pt x="3" y="1"/>
                  <a:pt x="3" y="1"/>
                  <a:pt x="3" y="1"/>
                </a:cubicBezTo>
                <a:cubicBezTo>
                  <a:pt x="2" y="1"/>
                  <a:pt x="2" y="2"/>
                  <a:pt x="2" y="2"/>
                </a:cubicBezTo>
                <a:cubicBezTo>
                  <a:pt x="2" y="3"/>
                  <a:pt x="1" y="4"/>
                  <a:pt x="1" y="6"/>
                </a:cubicBezTo>
                <a:cubicBezTo>
                  <a:pt x="1" y="8"/>
                  <a:pt x="1" y="7"/>
                  <a:pt x="1" y="9"/>
                </a:cubicBezTo>
                <a:cubicBezTo>
                  <a:pt x="0" y="10"/>
                  <a:pt x="1" y="10"/>
                  <a:pt x="1" y="10"/>
                </a:cubicBezTo>
                <a:cubicBezTo>
                  <a:pt x="1" y="10"/>
                  <a:pt x="1" y="10"/>
                  <a:pt x="1" y="11"/>
                </a:cubicBezTo>
                <a:cubicBezTo>
                  <a:pt x="1" y="11"/>
                  <a:pt x="1" y="11"/>
                  <a:pt x="2" y="11"/>
                </a:cubicBezTo>
                <a:cubicBezTo>
                  <a:pt x="3" y="11"/>
                  <a:pt x="4" y="12"/>
                  <a:pt x="5" y="12"/>
                </a:cubicBezTo>
                <a:cubicBezTo>
                  <a:pt x="6" y="13"/>
                  <a:pt x="5" y="12"/>
                  <a:pt x="6" y="12"/>
                </a:cubicBezTo>
                <a:cubicBezTo>
                  <a:pt x="7" y="12"/>
                  <a:pt x="9" y="12"/>
                  <a:pt x="10" y="12"/>
                </a:cubicBezTo>
                <a:cubicBezTo>
                  <a:pt x="11" y="11"/>
                  <a:pt x="11" y="10"/>
                  <a:pt x="12" y="10"/>
                </a:cubicBezTo>
                <a:cubicBezTo>
                  <a:pt x="11" y="8"/>
                  <a:pt x="11" y="7"/>
                  <a:pt x="1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42"/>
          <p:cNvSpPr>
            <a:spLocks noEditPoints="1"/>
          </p:cNvSpPr>
          <p:nvPr/>
        </p:nvSpPr>
        <p:spPr bwMode="auto">
          <a:xfrm>
            <a:off x="1404350" y="3514889"/>
            <a:ext cx="218066" cy="432557"/>
          </a:xfrm>
          <a:custGeom>
            <a:avLst/>
            <a:gdLst>
              <a:gd name="T0" fmla="*/ 13 w 45"/>
              <a:gd name="T1" fmla="*/ 84 h 89"/>
              <a:gd name="T2" fmla="*/ 12 w 45"/>
              <a:gd name="T3" fmla="*/ 82 h 89"/>
              <a:gd name="T4" fmla="*/ 11 w 45"/>
              <a:gd name="T5" fmla="*/ 88 h 89"/>
              <a:gd name="T6" fmla="*/ 16 w 45"/>
              <a:gd name="T7" fmla="*/ 88 h 89"/>
              <a:gd name="T8" fmla="*/ 17 w 45"/>
              <a:gd name="T9" fmla="*/ 87 h 89"/>
              <a:gd name="T10" fmla="*/ 43 w 45"/>
              <a:gd name="T11" fmla="*/ 9 h 89"/>
              <a:gd name="T12" fmla="*/ 42 w 45"/>
              <a:gd name="T13" fmla="*/ 13 h 89"/>
              <a:gd name="T14" fmla="*/ 38 w 45"/>
              <a:gd name="T15" fmla="*/ 14 h 89"/>
              <a:gd name="T16" fmla="*/ 34 w 45"/>
              <a:gd name="T17" fmla="*/ 13 h 89"/>
              <a:gd name="T18" fmla="*/ 37 w 45"/>
              <a:gd name="T19" fmla="*/ 9 h 89"/>
              <a:gd name="T20" fmla="*/ 30 w 45"/>
              <a:gd name="T21" fmla="*/ 6 h 89"/>
              <a:gd name="T22" fmla="*/ 25 w 45"/>
              <a:gd name="T23" fmla="*/ 1 h 89"/>
              <a:gd name="T24" fmla="*/ 21 w 45"/>
              <a:gd name="T25" fmla="*/ 2 h 89"/>
              <a:gd name="T26" fmla="*/ 17 w 45"/>
              <a:gd name="T27" fmla="*/ 1 h 89"/>
              <a:gd name="T28" fmla="*/ 15 w 45"/>
              <a:gd name="T29" fmla="*/ 5 h 89"/>
              <a:gd name="T30" fmla="*/ 12 w 45"/>
              <a:gd name="T31" fmla="*/ 9 h 89"/>
              <a:gd name="T32" fmla="*/ 12 w 45"/>
              <a:gd name="T33" fmla="*/ 13 h 89"/>
              <a:gd name="T34" fmla="*/ 10 w 45"/>
              <a:gd name="T35" fmla="*/ 16 h 89"/>
              <a:gd name="T36" fmla="*/ 9 w 45"/>
              <a:gd name="T37" fmla="*/ 19 h 89"/>
              <a:gd name="T38" fmla="*/ 8 w 45"/>
              <a:gd name="T39" fmla="*/ 23 h 89"/>
              <a:gd name="T40" fmla="*/ 8 w 45"/>
              <a:gd name="T41" fmla="*/ 27 h 89"/>
              <a:gd name="T42" fmla="*/ 8 w 45"/>
              <a:gd name="T43" fmla="*/ 31 h 89"/>
              <a:gd name="T44" fmla="*/ 8 w 45"/>
              <a:gd name="T45" fmla="*/ 36 h 89"/>
              <a:gd name="T46" fmla="*/ 6 w 45"/>
              <a:gd name="T47" fmla="*/ 41 h 89"/>
              <a:gd name="T48" fmla="*/ 5 w 45"/>
              <a:gd name="T49" fmla="*/ 43 h 89"/>
              <a:gd name="T50" fmla="*/ 5 w 45"/>
              <a:gd name="T51" fmla="*/ 46 h 89"/>
              <a:gd name="T52" fmla="*/ 4 w 45"/>
              <a:gd name="T53" fmla="*/ 49 h 89"/>
              <a:gd name="T54" fmla="*/ 4 w 45"/>
              <a:gd name="T55" fmla="*/ 54 h 89"/>
              <a:gd name="T56" fmla="*/ 4 w 45"/>
              <a:gd name="T57" fmla="*/ 56 h 89"/>
              <a:gd name="T58" fmla="*/ 5 w 45"/>
              <a:gd name="T59" fmla="*/ 58 h 89"/>
              <a:gd name="T60" fmla="*/ 5 w 45"/>
              <a:gd name="T61" fmla="*/ 60 h 89"/>
              <a:gd name="T62" fmla="*/ 5 w 45"/>
              <a:gd name="T63" fmla="*/ 64 h 89"/>
              <a:gd name="T64" fmla="*/ 3 w 45"/>
              <a:gd name="T65" fmla="*/ 67 h 89"/>
              <a:gd name="T66" fmla="*/ 2 w 45"/>
              <a:gd name="T67" fmla="*/ 70 h 89"/>
              <a:gd name="T68" fmla="*/ 1 w 45"/>
              <a:gd name="T69" fmla="*/ 73 h 89"/>
              <a:gd name="T70" fmla="*/ 3 w 45"/>
              <a:gd name="T71" fmla="*/ 76 h 89"/>
              <a:gd name="T72" fmla="*/ 5 w 45"/>
              <a:gd name="T73" fmla="*/ 79 h 89"/>
              <a:gd name="T74" fmla="*/ 10 w 45"/>
              <a:gd name="T75" fmla="*/ 80 h 89"/>
              <a:gd name="T76" fmla="*/ 11 w 45"/>
              <a:gd name="T77" fmla="*/ 78 h 89"/>
              <a:gd name="T78" fmla="*/ 11 w 45"/>
              <a:gd name="T79" fmla="*/ 74 h 89"/>
              <a:gd name="T80" fmla="*/ 13 w 45"/>
              <a:gd name="T81" fmla="*/ 72 h 89"/>
              <a:gd name="T82" fmla="*/ 18 w 45"/>
              <a:gd name="T83" fmla="*/ 67 h 89"/>
              <a:gd name="T84" fmla="*/ 16 w 45"/>
              <a:gd name="T85" fmla="*/ 64 h 89"/>
              <a:gd name="T86" fmla="*/ 18 w 45"/>
              <a:gd name="T87" fmla="*/ 59 h 89"/>
              <a:gd name="T88" fmla="*/ 19 w 45"/>
              <a:gd name="T89" fmla="*/ 56 h 89"/>
              <a:gd name="T90" fmla="*/ 20 w 45"/>
              <a:gd name="T91" fmla="*/ 53 h 89"/>
              <a:gd name="T92" fmla="*/ 22 w 45"/>
              <a:gd name="T93" fmla="*/ 53 h 89"/>
              <a:gd name="T94" fmla="*/ 21 w 45"/>
              <a:gd name="T95" fmla="*/ 52 h 89"/>
              <a:gd name="T96" fmla="*/ 20 w 45"/>
              <a:gd name="T97" fmla="*/ 49 h 89"/>
              <a:gd name="T98" fmla="*/ 23 w 45"/>
              <a:gd name="T99" fmla="*/ 48 h 89"/>
              <a:gd name="T100" fmla="*/ 26 w 45"/>
              <a:gd name="T101" fmla="*/ 45 h 89"/>
              <a:gd name="T102" fmla="*/ 26 w 45"/>
              <a:gd name="T103" fmla="*/ 43 h 89"/>
              <a:gd name="T104" fmla="*/ 36 w 45"/>
              <a:gd name="T105" fmla="*/ 40 h 89"/>
              <a:gd name="T106" fmla="*/ 37 w 45"/>
              <a:gd name="T107" fmla="*/ 36 h 89"/>
              <a:gd name="T108" fmla="*/ 36 w 45"/>
              <a:gd name="T109" fmla="*/ 33 h 89"/>
              <a:gd name="T110" fmla="*/ 35 w 45"/>
              <a:gd name="T111" fmla="*/ 31 h 89"/>
              <a:gd name="T112" fmla="*/ 35 w 45"/>
              <a:gd name="T113" fmla="*/ 29 h 89"/>
              <a:gd name="T114" fmla="*/ 36 w 45"/>
              <a:gd name="T115" fmla="*/ 22 h 89"/>
              <a:gd name="T116" fmla="*/ 42 w 45"/>
              <a:gd name="T117" fmla="*/ 14 h 89"/>
              <a:gd name="T118" fmla="*/ 45 w 45"/>
              <a:gd name="T11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89">
                <a:moveTo>
                  <a:pt x="17" y="87"/>
                </a:moveTo>
                <a:cubicBezTo>
                  <a:pt x="16" y="87"/>
                  <a:pt x="14" y="85"/>
                  <a:pt x="13" y="84"/>
                </a:cubicBezTo>
                <a:cubicBezTo>
                  <a:pt x="12" y="83"/>
                  <a:pt x="13" y="83"/>
                  <a:pt x="12" y="83"/>
                </a:cubicBezTo>
                <a:cubicBezTo>
                  <a:pt x="11" y="83"/>
                  <a:pt x="12" y="82"/>
                  <a:pt x="12" y="82"/>
                </a:cubicBezTo>
                <a:cubicBezTo>
                  <a:pt x="13" y="82"/>
                  <a:pt x="12" y="81"/>
                  <a:pt x="11" y="81"/>
                </a:cubicBezTo>
                <a:cubicBezTo>
                  <a:pt x="11" y="82"/>
                  <a:pt x="11" y="88"/>
                  <a:pt x="11" y="88"/>
                </a:cubicBezTo>
                <a:cubicBezTo>
                  <a:pt x="12" y="88"/>
                  <a:pt x="14" y="88"/>
                  <a:pt x="15" y="88"/>
                </a:cubicBezTo>
                <a:cubicBezTo>
                  <a:pt x="15" y="88"/>
                  <a:pt x="16" y="89"/>
                  <a:pt x="16" y="88"/>
                </a:cubicBezTo>
                <a:cubicBezTo>
                  <a:pt x="17" y="88"/>
                  <a:pt x="18" y="88"/>
                  <a:pt x="19" y="88"/>
                </a:cubicBezTo>
                <a:cubicBezTo>
                  <a:pt x="20" y="87"/>
                  <a:pt x="19" y="87"/>
                  <a:pt x="17" y="87"/>
                </a:cubicBezTo>
                <a:moveTo>
                  <a:pt x="45" y="9"/>
                </a:moveTo>
                <a:cubicBezTo>
                  <a:pt x="44" y="9"/>
                  <a:pt x="44" y="9"/>
                  <a:pt x="43" y="9"/>
                </a:cubicBezTo>
                <a:cubicBezTo>
                  <a:pt x="43" y="9"/>
                  <a:pt x="43" y="10"/>
                  <a:pt x="43" y="10"/>
                </a:cubicBezTo>
                <a:cubicBezTo>
                  <a:pt x="43" y="11"/>
                  <a:pt x="43" y="13"/>
                  <a:pt x="42" y="13"/>
                </a:cubicBezTo>
                <a:cubicBezTo>
                  <a:pt x="41" y="13"/>
                  <a:pt x="41" y="14"/>
                  <a:pt x="40" y="14"/>
                </a:cubicBezTo>
                <a:cubicBezTo>
                  <a:pt x="40" y="14"/>
                  <a:pt x="39" y="15"/>
                  <a:pt x="38" y="14"/>
                </a:cubicBezTo>
                <a:cubicBezTo>
                  <a:pt x="38" y="14"/>
                  <a:pt x="37" y="14"/>
                  <a:pt x="36" y="14"/>
                </a:cubicBezTo>
                <a:cubicBezTo>
                  <a:pt x="36" y="14"/>
                  <a:pt x="34" y="14"/>
                  <a:pt x="34" y="13"/>
                </a:cubicBezTo>
                <a:cubicBezTo>
                  <a:pt x="34" y="13"/>
                  <a:pt x="35" y="13"/>
                  <a:pt x="35" y="12"/>
                </a:cubicBezTo>
                <a:cubicBezTo>
                  <a:pt x="35" y="11"/>
                  <a:pt x="37" y="9"/>
                  <a:pt x="37" y="9"/>
                </a:cubicBezTo>
                <a:cubicBezTo>
                  <a:pt x="36" y="9"/>
                  <a:pt x="33" y="8"/>
                  <a:pt x="33" y="7"/>
                </a:cubicBezTo>
                <a:cubicBezTo>
                  <a:pt x="32" y="6"/>
                  <a:pt x="31" y="6"/>
                  <a:pt x="30" y="6"/>
                </a:cubicBezTo>
                <a:cubicBezTo>
                  <a:pt x="29" y="6"/>
                  <a:pt x="29" y="5"/>
                  <a:pt x="28" y="4"/>
                </a:cubicBezTo>
                <a:cubicBezTo>
                  <a:pt x="27" y="4"/>
                  <a:pt x="25" y="2"/>
                  <a:pt x="25" y="1"/>
                </a:cubicBezTo>
                <a:cubicBezTo>
                  <a:pt x="24" y="1"/>
                  <a:pt x="23" y="1"/>
                  <a:pt x="22" y="1"/>
                </a:cubicBezTo>
                <a:cubicBezTo>
                  <a:pt x="22" y="1"/>
                  <a:pt x="22" y="3"/>
                  <a:pt x="21" y="2"/>
                </a:cubicBezTo>
                <a:cubicBezTo>
                  <a:pt x="21" y="1"/>
                  <a:pt x="20" y="1"/>
                  <a:pt x="19" y="1"/>
                </a:cubicBezTo>
                <a:cubicBezTo>
                  <a:pt x="18" y="1"/>
                  <a:pt x="18" y="0"/>
                  <a:pt x="17" y="1"/>
                </a:cubicBezTo>
                <a:cubicBezTo>
                  <a:pt x="16" y="2"/>
                  <a:pt x="16" y="2"/>
                  <a:pt x="15" y="3"/>
                </a:cubicBezTo>
                <a:cubicBezTo>
                  <a:pt x="15" y="4"/>
                  <a:pt x="15" y="5"/>
                  <a:pt x="15" y="5"/>
                </a:cubicBezTo>
                <a:cubicBezTo>
                  <a:pt x="14" y="6"/>
                  <a:pt x="12" y="7"/>
                  <a:pt x="12" y="7"/>
                </a:cubicBezTo>
                <a:cubicBezTo>
                  <a:pt x="12" y="8"/>
                  <a:pt x="12" y="9"/>
                  <a:pt x="12" y="9"/>
                </a:cubicBezTo>
                <a:cubicBezTo>
                  <a:pt x="11" y="9"/>
                  <a:pt x="13" y="11"/>
                  <a:pt x="12" y="11"/>
                </a:cubicBezTo>
                <a:cubicBezTo>
                  <a:pt x="11" y="12"/>
                  <a:pt x="13" y="12"/>
                  <a:pt x="12" y="13"/>
                </a:cubicBezTo>
                <a:cubicBezTo>
                  <a:pt x="12" y="13"/>
                  <a:pt x="11" y="13"/>
                  <a:pt x="11" y="14"/>
                </a:cubicBezTo>
                <a:cubicBezTo>
                  <a:pt x="11" y="14"/>
                  <a:pt x="11" y="15"/>
                  <a:pt x="10" y="16"/>
                </a:cubicBezTo>
                <a:cubicBezTo>
                  <a:pt x="10" y="16"/>
                  <a:pt x="9" y="17"/>
                  <a:pt x="9" y="18"/>
                </a:cubicBezTo>
                <a:cubicBezTo>
                  <a:pt x="9" y="18"/>
                  <a:pt x="8" y="18"/>
                  <a:pt x="9" y="19"/>
                </a:cubicBezTo>
                <a:cubicBezTo>
                  <a:pt x="9" y="20"/>
                  <a:pt x="9" y="21"/>
                  <a:pt x="9" y="21"/>
                </a:cubicBezTo>
                <a:cubicBezTo>
                  <a:pt x="8" y="21"/>
                  <a:pt x="8" y="23"/>
                  <a:pt x="8" y="23"/>
                </a:cubicBezTo>
                <a:cubicBezTo>
                  <a:pt x="7" y="23"/>
                  <a:pt x="7" y="24"/>
                  <a:pt x="8" y="25"/>
                </a:cubicBezTo>
                <a:cubicBezTo>
                  <a:pt x="8" y="26"/>
                  <a:pt x="8" y="27"/>
                  <a:pt x="8" y="27"/>
                </a:cubicBezTo>
                <a:cubicBezTo>
                  <a:pt x="8" y="28"/>
                  <a:pt x="9" y="29"/>
                  <a:pt x="9" y="29"/>
                </a:cubicBezTo>
                <a:cubicBezTo>
                  <a:pt x="9" y="30"/>
                  <a:pt x="9" y="31"/>
                  <a:pt x="8" y="31"/>
                </a:cubicBezTo>
                <a:cubicBezTo>
                  <a:pt x="8" y="32"/>
                  <a:pt x="8" y="33"/>
                  <a:pt x="8" y="33"/>
                </a:cubicBezTo>
                <a:cubicBezTo>
                  <a:pt x="7" y="33"/>
                  <a:pt x="8" y="35"/>
                  <a:pt x="8" y="36"/>
                </a:cubicBezTo>
                <a:cubicBezTo>
                  <a:pt x="7" y="36"/>
                  <a:pt x="6" y="36"/>
                  <a:pt x="6" y="38"/>
                </a:cubicBezTo>
                <a:cubicBezTo>
                  <a:pt x="6" y="39"/>
                  <a:pt x="6" y="40"/>
                  <a:pt x="6" y="41"/>
                </a:cubicBezTo>
                <a:cubicBezTo>
                  <a:pt x="6" y="41"/>
                  <a:pt x="7" y="41"/>
                  <a:pt x="7" y="42"/>
                </a:cubicBezTo>
                <a:cubicBezTo>
                  <a:pt x="6" y="43"/>
                  <a:pt x="5" y="42"/>
                  <a:pt x="5" y="43"/>
                </a:cubicBezTo>
                <a:cubicBezTo>
                  <a:pt x="5" y="43"/>
                  <a:pt x="6" y="44"/>
                  <a:pt x="5" y="44"/>
                </a:cubicBezTo>
                <a:cubicBezTo>
                  <a:pt x="5" y="45"/>
                  <a:pt x="5" y="45"/>
                  <a:pt x="5" y="46"/>
                </a:cubicBezTo>
                <a:cubicBezTo>
                  <a:pt x="5" y="47"/>
                  <a:pt x="4" y="47"/>
                  <a:pt x="4" y="47"/>
                </a:cubicBezTo>
                <a:cubicBezTo>
                  <a:pt x="4" y="48"/>
                  <a:pt x="4" y="48"/>
                  <a:pt x="4" y="49"/>
                </a:cubicBezTo>
                <a:cubicBezTo>
                  <a:pt x="4" y="49"/>
                  <a:pt x="5" y="51"/>
                  <a:pt x="4" y="51"/>
                </a:cubicBezTo>
                <a:cubicBezTo>
                  <a:pt x="4" y="51"/>
                  <a:pt x="4" y="53"/>
                  <a:pt x="4" y="54"/>
                </a:cubicBezTo>
                <a:cubicBezTo>
                  <a:pt x="4" y="54"/>
                  <a:pt x="4" y="54"/>
                  <a:pt x="4" y="55"/>
                </a:cubicBezTo>
                <a:cubicBezTo>
                  <a:pt x="4" y="55"/>
                  <a:pt x="5" y="56"/>
                  <a:pt x="4" y="56"/>
                </a:cubicBezTo>
                <a:cubicBezTo>
                  <a:pt x="4" y="57"/>
                  <a:pt x="4" y="58"/>
                  <a:pt x="5" y="57"/>
                </a:cubicBezTo>
                <a:cubicBezTo>
                  <a:pt x="6" y="57"/>
                  <a:pt x="6" y="58"/>
                  <a:pt x="5" y="58"/>
                </a:cubicBezTo>
                <a:cubicBezTo>
                  <a:pt x="5" y="58"/>
                  <a:pt x="4" y="58"/>
                  <a:pt x="5" y="59"/>
                </a:cubicBezTo>
                <a:cubicBezTo>
                  <a:pt x="5" y="59"/>
                  <a:pt x="6" y="60"/>
                  <a:pt x="5" y="60"/>
                </a:cubicBezTo>
                <a:cubicBezTo>
                  <a:pt x="4" y="61"/>
                  <a:pt x="5" y="61"/>
                  <a:pt x="5" y="62"/>
                </a:cubicBezTo>
                <a:cubicBezTo>
                  <a:pt x="4" y="63"/>
                  <a:pt x="5" y="63"/>
                  <a:pt x="5" y="64"/>
                </a:cubicBezTo>
                <a:cubicBezTo>
                  <a:pt x="4" y="64"/>
                  <a:pt x="5" y="65"/>
                  <a:pt x="4" y="65"/>
                </a:cubicBezTo>
                <a:cubicBezTo>
                  <a:pt x="3" y="65"/>
                  <a:pt x="4" y="66"/>
                  <a:pt x="3" y="67"/>
                </a:cubicBezTo>
                <a:cubicBezTo>
                  <a:pt x="2" y="67"/>
                  <a:pt x="4" y="68"/>
                  <a:pt x="3" y="68"/>
                </a:cubicBezTo>
                <a:cubicBezTo>
                  <a:pt x="2" y="69"/>
                  <a:pt x="3" y="70"/>
                  <a:pt x="2" y="70"/>
                </a:cubicBezTo>
                <a:cubicBezTo>
                  <a:pt x="1" y="70"/>
                  <a:pt x="1" y="71"/>
                  <a:pt x="1" y="71"/>
                </a:cubicBezTo>
                <a:cubicBezTo>
                  <a:pt x="1" y="72"/>
                  <a:pt x="0" y="73"/>
                  <a:pt x="1" y="73"/>
                </a:cubicBezTo>
                <a:cubicBezTo>
                  <a:pt x="2" y="74"/>
                  <a:pt x="1" y="75"/>
                  <a:pt x="1" y="75"/>
                </a:cubicBezTo>
                <a:cubicBezTo>
                  <a:pt x="2" y="75"/>
                  <a:pt x="4" y="75"/>
                  <a:pt x="3" y="76"/>
                </a:cubicBezTo>
                <a:cubicBezTo>
                  <a:pt x="3" y="76"/>
                  <a:pt x="3" y="78"/>
                  <a:pt x="4" y="78"/>
                </a:cubicBezTo>
                <a:cubicBezTo>
                  <a:pt x="4" y="78"/>
                  <a:pt x="4" y="79"/>
                  <a:pt x="5" y="79"/>
                </a:cubicBezTo>
                <a:cubicBezTo>
                  <a:pt x="5" y="79"/>
                  <a:pt x="8" y="79"/>
                  <a:pt x="9" y="79"/>
                </a:cubicBezTo>
                <a:cubicBezTo>
                  <a:pt x="9" y="79"/>
                  <a:pt x="9" y="79"/>
                  <a:pt x="10" y="80"/>
                </a:cubicBezTo>
                <a:cubicBezTo>
                  <a:pt x="10" y="79"/>
                  <a:pt x="12" y="80"/>
                  <a:pt x="12" y="80"/>
                </a:cubicBezTo>
                <a:cubicBezTo>
                  <a:pt x="12" y="80"/>
                  <a:pt x="11" y="78"/>
                  <a:pt x="11" y="78"/>
                </a:cubicBezTo>
                <a:cubicBezTo>
                  <a:pt x="11" y="77"/>
                  <a:pt x="10" y="77"/>
                  <a:pt x="10" y="76"/>
                </a:cubicBezTo>
                <a:cubicBezTo>
                  <a:pt x="10" y="76"/>
                  <a:pt x="10" y="75"/>
                  <a:pt x="11" y="74"/>
                </a:cubicBezTo>
                <a:cubicBezTo>
                  <a:pt x="12" y="74"/>
                  <a:pt x="12" y="73"/>
                  <a:pt x="12" y="73"/>
                </a:cubicBezTo>
                <a:cubicBezTo>
                  <a:pt x="12" y="73"/>
                  <a:pt x="13" y="73"/>
                  <a:pt x="13" y="72"/>
                </a:cubicBezTo>
                <a:cubicBezTo>
                  <a:pt x="13" y="71"/>
                  <a:pt x="14" y="70"/>
                  <a:pt x="15" y="69"/>
                </a:cubicBezTo>
                <a:cubicBezTo>
                  <a:pt x="16" y="68"/>
                  <a:pt x="18" y="67"/>
                  <a:pt x="18" y="67"/>
                </a:cubicBezTo>
                <a:cubicBezTo>
                  <a:pt x="17" y="67"/>
                  <a:pt x="18" y="65"/>
                  <a:pt x="18" y="65"/>
                </a:cubicBezTo>
                <a:cubicBezTo>
                  <a:pt x="18" y="64"/>
                  <a:pt x="16" y="65"/>
                  <a:pt x="16" y="64"/>
                </a:cubicBezTo>
                <a:cubicBezTo>
                  <a:pt x="15" y="64"/>
                  <a:pt x="13" y="63"/>
                  <a:pt x="14" y="61"/>
                </a:cubicBezTo>
                <a:cubicBezTo>
                  <a:pt x="15" y="59"/>
                  <a:pt x="17" y="59"/>
                  <a:pt x="18" y="59"/>
                </a:cubicBezTo>
                <a:cubicBezTo>
                  <a:pt x="18" y="59"/>
                  <a:pt x="18" y="58"/>
                  <a:pt x="18" y="58"/>
                </a:cubicBezTo>
                <a:cubicBezTo>
                  <a:pt x="19" y="57"/>
                  <a:pt x="19" y="57"/>
                  <a:pt x="19" y="56"/>
                </a:cubicBezTo>
                <a:cubicBezTo>
                  <a:pt x="19" y="55"/>
                  <a:pt x="19" y="54"/>
                  <a:pt x="20" y="54"/>
                </a:cubicBezTo>
                <a:cubicBezTo>
                  <a:pt x="21" y="54"/>
                  <a:pt x="21" y="53"/>
                  <a:pt x="20" y="53"/>
                </a:cubicBezTo>
                <a:cubicBezTo>
                  <a:pt x="20" y="53"/>
                  <a:pt x="20" y="52"/>
                  <a:pt x="21" y="52"/>
                </a:cubicBezTo>
                <a:cubicBezTo>
                  <a:pt x="21" y="52"/>
                  <a:pt x="21" y="53"/>
                  <a:pt x="22" y="53"/>
                </a:cubicBezTo>
                <a:cubicBezTo>
                  <a:pt x="22" y="53"/>
                  <a:pt x="23" y="52"/>
                  <a:pt x="23" y="51"/>
                </a:cubicBezTo>
                <a:cubicBezTo>
                  <a:pt x="22" y="51"/>
                  <a:pt x="22" y="52"/>
                  <a:pt x="21" y="52"/>
                </a:cubicBezTo>
                <a:cubicBezTo>
                  <a:pt x="21" y="52"/>
                  <a:pt x="20" y="51"/>
                  <a:pt x="20" y="51"/>
                </a:cubicBezTo>
                <a:cubicBezTo>
                  <a:pt x="19" y="51"/>
                  <a:pt x="20" y="50"/>
                  <a:pt x="20" y="49"/>
                </a:cubicBezTo>
                <a:cubicBezTo>
                  <a:pt x="19" y="49"/>
                  <a:pt x="19" y="48"/>
                  <a:pt x="19" y="47"/>
                </a:cubicBezTo>
                <a:cubicBezTo>
                  <a:pt x="20" y="47"/>
                  <a:pt x="22" y="48"/>
                  <a:pt x="23" y="48"/>
                </a:cubicBezTo>
                <a:cubicBezTo>
                  <a:pt x="24" y="48"/>
                  <a:pt x="26" y="48"/>
                  <a:pt x="26" y="47"/>
                </a:cubicBezTo>
                <a:cubicBezTo>
                  <a:pt x="26" y="47"/>
                  <a:pt x="25" y="46"/>
                  <a:pt x="26" y="45"/>
                </a:cubicBezTo>
                <a:cubicBezTo>
                  <a:pt x="27" y="44"/>
                  <a:pt x="26" y="44"/>
                  <a:pt x="26" y="43"/>
                </a:cubicBezTo>
                <a:cubicBezTo>
                  <a:pt x="25" y="43"/>
                  <a:pt x="26" y="42"/>
                  <a:pt x="26" y="43"/>
                </a:cubicBezTo>
                <a:cubicBezTo>
                  <a:pt x="27" y="43"/>
                  <a:pt x="30" y="43"/>
                  <a:pt x="32" y="42"/>
                </a:cubicBezTo>
                <a:cubicBezTo>
                  <a:pt x="35" y="42"/>
                  <a:pt x="36" y="41"/>
                  <a:pt x="36" y="40"/>
                </a:cubicBezTo>
                <a:cubicBezTo>
                  <a:pt x="36" y="39"/>
                  <a:pt x="38" y="38"/>
                  <a:pt x="38" y="37"/>
                </a:cubicBezTo>
                <a:cubicBezTo>
                  <a:pt x="39" y="37"/>
                  <a:pt x="38" y="36"/>
                  <a:pt x="37" y="36"/>
                </a:cubicBezTo>
                <a:cubicBezTo>
                  <a:pt x="36" y="36"/>
                  <a:pt x="36" y="34"/>
                  <a:pt x="37" y="34"/>
                </a:cubicBezTo>
                <a:cubicBezTo>
                  <a:pt x="38" y="33"/>
                  <a:pt x="37" y="33"/>
                  <a:pt x="36" y="33"/>
                </a:cubicBezTo>
                <a:cubicBezTo>
                  <a:pt x="35" y="32"/>
                  <a:pt x="33" y="32"/>
                  <a:pt x="34" y="31"/>
                </a:cubicBezTo>
                <a:cubicBezTo>
                  <a:pt x="35" y="31"/>
                  <a:pt x="35" y="31"/>
                  <a:pt x="35" y="31"/>
                </a:cubicBezTo>
                <a:cubicBezTo>
                  <a:pt x="35" y="30"/>
                  <a:pt x="35" y="30"/>
                  <a:pt x="35" y="30"/>
                </a:cubicBezTo>
                <a:cubicBezTo>
                  <a:pt x="35" y="30"/>
                  <a:pt x="34" y="30"/>
                  <a:pt x="35" y="29"/>
                </a:cubicBezTo>
                <a:cubicBezTo>
                  <a:pt x="35" y="27"/>
                  <a:pt x="35" y="28"/>
                  <a:pt x="35" y="26"/>
                </a:cubicBezTo>
                <a:cubicBezTo>
                  <a:pt x="35" y="24"/>
                  <a:pt x="36" y="23"/>
                  <a:pt x="36" y="22"/>
                </a:cubicBezTo>
                <a:cubicBezTo>
                  <a:pt x="36" y="21"/>
                  <a:pt x="38" y="20"/>
                  <a:pt x="39" y="18"/>
                </a:cubicBezTo>
                <a:cubicBezTo>
                  <a:pt x="39" y="17"/>
                  <a:pt x="41" y="15"/>
                  <a:pt x="42" y="14"/>
                </a:cubicBezTo>
                <a:cubicBezTo>
                  <a:pt x="43" y="14"/>
                  <a:pt x="45" y="13"/>
                  <a:pt x="45" y="13"/>
                </a:cubicBezTo>
                <a:cubicBezTo>
                  <a:pt x="45" y="12"/>
                  <a:pt x="45" y="10"/>
                  <a:pt x="4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43"/>
          <p:cNvSpPr>
            <a:spLocks/>
          </p:cNvSpPr>
          <p:nvPr/>
        </p:nvSpPr>
        <p:spPr bwMode="auto">
          <a:xfrm>
            <a:off x="1386476" y="3468416"/>
            <a:ext cx="89371" cy="482604"/>
          </a:xfrm>
          <a:custGeom>
            <a:avLst/>
            <a:gdLst>
              <a:gd name="T0" fmla="*/ 7 w 19"/>
              <a:gd name="T1" fmla="*/ 86 h 100"/>
              <a:gd name="T2" fmla="*/ 5 w 19"/>
              <a:gd name="T3" fmla="*/ 81 h 100"/>
              <a:gd name="T4" fmla="*/ 7 w 19"/>
              <a:gd name="T5" fmla="*/ 77 h 100"/>
              <a:gd name="T6" fmla="*/ 9 w 19"/>
              <a:gd name="T7" fmla="*/ 72 h 100"/>
              <a:gd name="T8" fmla="*/ 9 w 19"/>
              <a:gd name="T9" fmla="*/ 68 h 100"/>
              <a:gd name="T10" fmla="*/ 8 w 19"/>
              <a:gd name="T11" fmla="*/ 65 h 100"/>
              <a:gd name="T12" fmla="*/ 8 w 19"/>
              <a:gd name="T13" fmla="*/ 59 h 100"/>
              <a:gd name="T14" fmla="*/ 9 w 19"/>
              <a:gd name="T15" fmla="*/ 54 h 100"/>
              <a:gd name="T16" fmla="*/ 10 w 19"/>
              <a:gd name="T17" fmla="*/ 51 h 100"/>
              <a:gd name="T18" fmla="*/ 12 w 19"/>
              <a:gd name="T19" fmla="*/ 43 h 100"/>
              <a:gd name="T20" fmla="*/ 12 w 19"/>
              <a:gd name="T21" fmla="*/ 37 h 100"/>
              <a:gd name="T22" fmla="*/ 13 w 19"/>
              <a:gd name="T23" fmla="*/ 31 h 100"/>
              <a:gd name="T24" fmla="*/ 14 w 19"/>
              <a:gd name="T25" fmla="*/ 26 h 100"/>
              <a:gd name="T26" fmla="*/ 16 w 19"/>
              <a:gd name="T27" fmla="*/ 21 h 100"/>
              <a:gd name="T28" fmla="*/ 19 w 19"/>
              <a:gd name="T29" fmla="*/ 15 h 100"/>
              <a:gd name="T30" fmla="*/ 17 w 19"/>
              <a:gd name="T31" fmla="*/ 11 h 100"/>
              <a:gd name="T32" fmla="*/ 16 w 19"/>
              <a:gd name="T33" fmla="*/ 5 h 100"/>
              <a:gd name="T34" fmla="*/ 14 w 19"/>
              <a:gd name="T35" fmla="*/ 1 h 100"/>
              <a:gd name="T36" fmla="*/ 12 w 19"/>
              <a:gd name="T37" fmla="*/ 5 h 100"/>
              <a:gd name="T38" fmla="*/ 12 w 19"/>
              <a:gd name="T39" fmla="*/ 15 h 100"/>
              <a:gd name="T40" fmla="*/ 10 w 19"/>
              <a:gd name="T41" fmla="*/ 25 h 100"/>
              <a:gd name="T42" fmla="*/ 9 w 19"/>
              <a:gd name="T43" fmla="*/ 32 h 100"/>
              <a:gd name="T44" fmla="*/ 8 w 19"/>
              <a:gd name="T45" fmla="*/ 41 h 100"/>
              <a:gd name="T46" fmla="*/ 5 w 19"/>
              <a:gd name="T47" fmla="*/ 50 h 100"/>
              <a:gd name="T48" fmla="*/ 4 w 19"/>
              <a:gd name="T49" fmla="*/ 56 h 100"/>
              <a:gd name="T50" fmla="*/ 3 w 19"/>
              <a:gd name="T51" fmla="*/ 63 h 100"/>
              <a:gd name="T52" fmla="*/ 6 w 19"/>
              <a:gd name="T53" fmla="*/ 59 h 100"/>
              <a:gd name="T54" fmla="*/ 6 w 19"/>
              <a:gd name="T55" fmla="*/ 63 h 100"/>
              <a:gd name="T56" fmla="*/ 5 w 19"/>
              <a:gd name="T57" fmla="*/ 67 h 100"/>
              <a:gd name="T58" fmla="*/ 4 w 19"/>
              <a:gd name="T59" fmla="*/ 70 h 100"/>
              <a:gd name="T60" fmla="*/ 4 w 19"/>
              <a:gd name="T61" fmla="*/ 70 h 100"/>
              <a:gd name="T62" fmla="*/ 2 w 19"/>
              <a:gd name="T63" fmla="*/ 70 h 100"/>
              <a:gd name="T64" fmla="*/ 0 w 19"/>
              <a:gd name="T65" fmla="*/ 74 h 100"/>
              <a:gd name="T66" fmla="*/ 3 w 19"/>
              <a:gd name="T67" fmla="*/ 74 h 100"/>
              <a:gd name="T68" fmla="*/ 4 w 19"/>
              <a:gd name="T69" fmla="*/ 77 h 100"/>
              <a:gd name="T70" fmla="*/ 2 w 19"/>
              <a:gd name="T71" fmla="*/ 77 h 100"/>
              <a:gd name="T72" fmla="*/ 2 w 19"/>
              <a:gd name="T73" fmla="*/ 79 h 100"/>
              <a:gd name="T74" fmla="*/ 1 w 19"/>
              <a:gd name="T75" fmla="*/ 81 h 100"/>
              <a:gd name="T76" fmla="*/ 2 w 19"/>
              <a:gd name="T77" fmla="*/ 82 h 100"/>
              <a:gd name="T78" fmla="*/ 3 w 19"/>
              <a:gd name="T79" fmla="*/ 84 h 100"/>
              <a:gd name="T80" fmla="*/ 1 w 19"/>
              <a:gd name="T81" fmla="*/ 87 h 100"/>
              <a:gd name="T82" fmla="*/ 4 w 19"/>
              <a:gd name="T83" fmla="*/ 87 h 100"/>
              <a:gd name="T84" fmla="*/ 5 w 19"/>
              <a:gd name="T85" fmla="*/ 88 h 100"/>
              <a:gd name="T86" fmla="*/ 4 w 19"/>
              <a:gd name="T87" fmla="*/ 91 h 100"/>
              <a:gd name="T88" fmla="*/ 8 w 19"/>
              <a:gd name="T89" fmla="*/ 91 h 100"/>
              <a:gd name="T90" fmla="*/ 5 w 19"/>
              <a:gd name="T91" fmla="*/ 93 h 100"/>
              <a:gd name="T92" fmla="*/ 8 w 19"/>
              <a:gd name="T93" fmla="*/ 92 h 100"/>
              <a:gd name="T94" fmla="*/ 5 w 19"/>
              <a:gd name="T95" fmla="*/ 95 h 100"/>
              <a:gd name="T96" fmla="*/ 8 w 19"/>
              <a:gd name="T97" fmla="*/ 95 h 100"/>
              <a:gd name="T98" fmla="*/ 12 w 19"/>
              <a:gd name="T99" fmla="*/ 91 h 100"/>
              <a:gd name="T100" fmla="*/ 13 w 19"/>
              <a:gd name="T101" fmla="*/ 93 h 100"/>
              <a:gd name="T102" fmla="*/ 11 w 19"/>
              <a:gd name="T103" fmla="*/ 94 h 100"/>
              <a:gd name="T104" fmla="*/ 9 w 19"/>
              <a:gd name="T105" fmla="*/ 96 h 100"/>
              <a:gd name="T106" fmla="*/ 11 w 19"/>
              <a:gd name="T107" fmla="*/ 99 h 100"/>
              <a:gd name="T108" fmla="*/ 14 w 19"/>
              <a:gd name="T109" fmla="*/ 98 h 100"/>
              <a:gd name="T110" fmla="*/ 17 w 19"/>
              <a:gd name="T111" fmla="*/ 99 h 100"/>
              <a:gd name="T112" fmla="*/ 15 w 19"/>
              <a:gd name="T113" fmla="*/ 98 h 100"/>
              <a:gd name="T114" fmla="*/ 13 w 19"/>
              <a:gd name="T115" fmla="*/ 90 h 100"/>
              <a:gd name="T116" fmla="*/ 9 w 19"/>
              <a:gd name="T11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100">
                <a:moveTo>
                  <a:pt x="9" y="89"/>
                </a:moveTo>
                <a:cubicBezTo>
                  <a:pt x="8" y="89"/>
                  <a:pt x="8" y="88"/>
                  <a:pt x="8" y="88"/>
                </a:cubicBezTo>
                <a:cubicBezTo>
                  <a:pt x="7" y="88"/>
                  <a:pt x="7" y="86"/>
                  <a:pt x="7" y="86"/>
                </a:cubicBezTo>
                <a:cubicBezTo>
                  <a:pt x="8" y="85"/>
                  <a:pt x="6" y="85"/>
                  <a:pt x="5" y="85"/>
                </a:cubicBezTo>
                <a:cubicBezTo>
                  <a:pt x="5" y="85"/>
                  <a:pt x="6" y="84"/>
                  <a:pt x="5" y="83"/>
                </a:cubicBezTo>
                <a:cubicBezTo>
                  <a:pt x="4" y="83"/>
                  <a:pt x="5" y="82"/>
                  <a:pt x="5" y="81"/>
                </a:cubicBezTo>
                <a:cubicBezTo>
                  <a:pt x="5" y="81"/>
                  <a:pt x="5" y="80"/>
                  <a:pt x="6" y="80"/>
                </a:cubicBezTo>
                <a:cubicBezTo>
                  <a:pt x="7" y="80"/>
                  <a:pt x="6" y="79"/>
                  <a:pt x="7" y="78"/>
                </a:cubicBezTo>
                <a:cubicBezTo>
                  <a:pt x="8" y="78"/>
                  <a:pt x="6" y="77"/>
                  <a:pt x="7" y="77"/>
                </a:cubicBezTo>
                <a:cubicBezTo>
                  <a:pt x="8" y="76"/>
                  <a:pt x="7" y="75"/>
                  <a:pt x="8" y="75"/>
                </a:cubicBezTo>
                <a:cubicBezTo>
                  <a:pt x="9" y="75"/>
                  <a:pt x="8" y="74"/>
                  <a:pt x="9" y="74"/>
                </a:cubicBezTo>
                <a:cubicBezTo>
                  <a:pt x="9" y="73"/>
                  <a:pt x="8" y="73"/>
                  <a:pt x="9" y="72"/>
                </a:cubicBezTo>
                <a:cubicBezTo>
                  <a:pt x="9" y="71"/>
                  <a:pt x="8" y="71"/>
                  <a:pt x="9" y="70"/>
                </a:cubicBezTo>
                <a:cubicBezTo>
                  <a:pt x="10" y="70"/>
                  <a:pt x="9" y="69"/>
                  <a:pt x="9" y="69"/>
                </a:cubicBezTo>
                <a:cubicBezTo>
                  <a:pt x="8" y="68"/>
                  <a:pt x="9" y="68"/>
                  <a:pt x="9" y="68"/>
                </a:cubicBezTo>
                <a:cubicBezTo>
                  <a:pt x="10" y="68"/>
                  <a:pt x="10" y="67"/>
                  <a:pt x="9" y="67"/>
                </a:cubicBezTo>
                <a:cubicBezTo>
                  <a:pt x="8" y="68"/>
                  <a:pt x="8" y="67"/>
                  <a:pt x="8" y="66"/>
                </a:cubicBezTo>
                <a:cubicBezTo>
                  <a:pt x="9" y="66"/>
                  <a:pt x="8" y="65"/>
                  <a:pt x="8" y="65"/>
                </a:cubicBezTo>
                <a:cubicBezTo>
                  <a:pt x="8" y="64"/>
                  <a:pt x="8" y="64"/>
                  <a:pt x="8" y="64"/>
                </a:cubicBezTo>
                <a:cubicBezTo>
                  <a:pt x="8" y="63"/>
                  <a:pt x="8" y="61"/>
                  <a:pt x="8" y="61"/>
                </a:cubicBezTo>
                <a:cubicBezTo>
                  <a:pt x="9" y="61"/>
                  <a:pt x="8" y="59"/>
                  <a:pt x="8" y="59"/>
                </a:cubicBezTo>
                <a:cubicBezTo>
                  <a:pt x="8" y="58"/>
                  <a:pt x="8" y="58"/>
                  <a:pt x="8" y="57"/>
                </a:cubicBezTo>
                <a:cubicBezTo>
                  <a:pt x="8" y="57"/>
                  <a:pt x="9" y="57"/>
                  <a:pt x="9" y="56"/>
                </a:cubicBezTo>
                <a:cubicBezTo>
                  <a:pt x="9" y="55"/>
                  <a:pt x="9" y="55"/>
                  <a:pt x="9" y="54"/>
                </a:cubicBezTo>
                <a:cubicBezTo>
                  <a:pt x="10" y="54"/>
                  <a:pt x="9" y="53"/>
                  <a:pt x="9" y="53"/>
                </a:cubicBezTo>
                <a:cubicBezTo>
                  <a:pt x="9" y="52"/>
                  <a:pt x="10" y="53"/>
                  <a:pt x="11" y="52"/>
                </a:cubicBezTo>
                <a:cubicBezTo>
                  <a:pt x="11" y="51"/>
                  <a:pt x="10" y="51"/>
                  <a:pt x="10" y="51"/>
                </a:cubicBezTo>
                <a:cubicBezTo>
                  <a:pt x="10" y="50"/>
                  <a:pt x="10" y="49"/>
                  <a:pt x="10" y="48"/>
                </a:cubicBezTo>
                <a:cubicBezTo>
                  <a:pt x="10" y="46"/>
                  <a:pt x="11" y="46"/>
                  <a:pt x="12" y="46"/>
                </a:cubicBezTo>
                <a:cubicBezTo>
                  <a:pt x="12" y="45"/>
                  <a:pt x="11" y="43"/>
                  <a:pt x="12" y="43"/>
                </a:cubicBezTo>
                <a:cubicBezTo>
                  <a:pt x="12" y="43"/>
                  <a:pt x="12" y="42"/>
                  <a:pt x="12" y="41"/>
                </a:cubicBezTo>
                <a:cubicBezTo>
                  <a:pt x="13" y="41"/>
                  <a:pt x="13" y="40"/>
                  <a:pt x="13" y="39"/>
                </a:cubicBezTo>
                <a:cubicBezTo>
                  <a:pt x="13" y="39"/>
                  <a:pt x="12" y="38"/>
                  <a:pt x="12" y="37"/>
                </a:cubicBezTo>
                <a:cubicBezTo>
                  <a:pt x="12" y="37"/>
                  <a:pt x="12" y="36"/>
                  <a:pt x="12" y="35"/>
                </a:cubicBezTo>
                <a:cubicBezTo>
                  <a:pt x="11" y="34"/>
                  <a:pt x="11" y="33"/>
                  <a:pt x="12" y="33"/>
                </a:cubicBezTo>
                <a:cubicBezTo>
                  <a:pt x="12" y="33"/>
                  <a:pt x="12" y="31"/>
                  <a:pt x="13" y="31"/>
                </a:cubicBezTo>
                <a:cubicBezTo>
                  <a:pt x="13" y="31"/>
                  <a:pt x="13" y="30"/>
                  <a:pt x="13" y="29"/>
                </a:cubicBezTo>
                <a:cubicBezTo>
                  <a:pt x="12" y="28"/>
                  <a:pt x="13" y="28"/>
                  <a:pt x="13" y="28"/>
                </a:cubicBezTo>
                <a:cubicBezTo>
                  <a:pt x="13" y="27"/>
                  <a:pt x="14" y="26"/>
                  <a:pt x="14" y="26"/>
                </a:cubicBezTo>
                <a:cubicBezTo>
                  <a:pt x="15" y="25"/>
                  <a:pt x="15" y="24"/>
                  <a:pt x="15" y="24"/>
                </a:cubicBezTo>
                <a:cubicBezTo>
                  <a:pt x="15" y="23"/>
                  <a:pt x="16" y="23"/>
                  <a:pt x="16" y="23"/>
                </a:cubicBezTo>
                <a:cubicBezTo>
                  <a:pt x="17" y="22"/>
                  <a:pt x="15" y="22"/>
                  <a:pt x="16" y="21"/>
                </a:cubicBezTo>
                <a:cubicBezTo>
                  <a:pt x="17" y="21"/>
                  <a:pt x="15" y="19"/>
                  <a:pt x="16" y="19"/>
                </a:cubicBezTo>
                <a:cubicBezTo>
                  <a:pt x="16" y="19"/>
                  <a:pt x="16" y="18"/>
                  <a:pt x="16" y="17"/>
                </a:cubicBezTo>
                <a:cubicBezTo>
                  <a:pt x="16" y="17"/>
                  <a:pt x="18" y="16"/>
                  <a:pt x="19" y="15"/>
                </a:cubicBezTo>
                <a:cubicBezTo>
                  <a:pt x="19" y="15"/>
                  <a:pt x="19" y="14"/>
                  <a:pt x="19" y="13"/>
                </a:cubicBezTo>
                <a:cubicBezTo>
                  <a:pt x="18" y="13"/>
                  <a:pt x="18" y="13"/>
                  <a:pt x="18" y="13"/>
                </a:cubicBezTo>
                <a:cubicBezTo>
                  <a:pt x="17" y="13"/>
                  <a:pt x="18" y="11"/>
                  <a:pt x="17" y="11"/>
                </a:cubicBezTo>
                <a:cubicBezTo>
                  <a:pt x="16" y="10"/>
                  <a:pt x="17" y="9"/>
                  <a:pt x="16" y="9"/>
                </a:cubicBezTo>
                <a:cubicBezTo>
                  <a:pt x="16" y="8"/>
                  <a:pt x="15" y="7"/>
                  <a:pt x="15" y="7"/>
                </a:cubicBezTo>
                <a:cubicBezTo>
                  <a:pt x="16" y="6"/>
                  <a:pt x="15" y="6"/>
                  <a:pt x="16" y="5"/>
                </a:cubicBezTo>
                <a:cubicBezTo>
                  <a:pt x="16" y="5"/>
                  <a:pt x="16" y="5"/>
                  <a:pt x="15" y="4"/>
                </a:cubicBezTo>
                <a:cubicBezTo>
                  <a:pt x="14" y="3"/>
                  <a:pt x="15" y="2"/>
                  <a:pt x="15" y="2"/>
                </a:cubicBezTo>
                <a:cubicBezTo>
                  <a:pt x="14" y="1"/>
                  <a:pt x="14" y="0"/>
                  <a:pt x="14" y="1"/>
                </a:cubicBezTo>
                <a:cubicBezTo>
                  <a:pt x="13" y="1"/>
                  <a:pt x="13" y="2"/>
                  <a:pt x="13" y="2"/>
                </a:cubicBezTo>
                <a:cubicBezTo>
                  <a:pt x="12" y="3"/>
                  <a:pt x="12" y="3"/>
                  <a:pt x="12" y="3"/>
                </a:cubicBezTo>
                <a:cubicBezTo>
                  <a:pt x="12" y="3"/>
                  <a:pt x="12" y="4"/>
                  <a:pt x="12" y="5"/>
                </a:cubicBezTo>
                <a:cubicBezTo>
                  <a:pt x="12" y="6"/>
                  <a:pt x="13" y="9"/>
                  <a:pt x="12" y="11"/>
                </a:cubicBezTo>
                <a:cubicBezTo>
                  <a:pt x="12" y="12"/>
                  <a:pt x="12" y="13"/>
                  <a:pt x="11" y="14"/>
                </a:cubicBezTo>
                <a:cubicBezTo>
                  <a:pt x="11" y="15"/>
                  <a:pt x="12" y="15"/>
                  <a:pt x="12" y="15"/>
                </a:cubicBezTo>
                <a:cubicBezTo>
                  <a:pt x="11" y="16"/>
                  <a:pt x="11" y="16"/>
                  <a:pt x="11" y="18"/>
                </a:cubicBezTo>
                <a:cubicBezTo>
                  <a:pt x="11" y="20"/>
                  <a:pt x="11" y="22"/>
                  <a:pt x="10" y="23"/>
                </a:cubicBezTo>
                <a:cubicBezTo>
                  <a:pt x="10" y="24"/>
                  <a:pt x="10" y="24"/>
                  <a:pt x="10" y="25"/>
                </a:cubicBezTo>
                <a:cubicBezTo>
                  <a:pt x="10" y="26"/>
                  <a:pt x="9" y="27"/>
                  <a:pt x="9" y="27"/>
                </a:cubicBezTo>
                <a:cubicBezTo>
                  <a:pt x="8" y="28"/>
                  <a:pt x="10" y="29"/>
                  <a:pt x="10" y="30"/>
                </a:cubicBezTo>
                <a:cubicBezTo>
                  <a:pt x="10" y="31"/>
                  <a:pt x="9" y="31"/>
                  <a:pt x="9" y="32"/>
                </a:cubicBezTo>
                <a:cubicBezTo>
                  <a:pt x="9" y="34"/>
                  <a:pt x="9" y="37"/>
                  <a:pt x="9" y="37"/>
                </a:cubicBezTo>
                <a:cubicBezTo>
                  <a:pt x="9" y="38"/>
                  <a:pt x="8" y="38"/>
                  <a:pt x="8" y="39"/>
                </a:cubicBezTo>
                <a:cubicBezTo>
                  <a:pt x="9" y="40"/>
                  <a:pt x="8" y="40"/>
                  <a:pt x="8" y="41"/>
                </a:cubicBezTo>
                <a:cubicBezTo>
                  <a:pt x="7" y="43"/>
                  <a:pt x="6" y="45"/>
                  <a:pt x="6" y="46"/>
                </a:cubicBezTo>
                <a:cubicBezTo>
                  <a:pt x="5" y="47"/>
                  <a:pt x="5" y="48"/>
                  <a:pt x="5" y="48"/>
                </a:cubicBezTo>
                <a:cubicBezTo>
                  <a:pt x="4" y="48"/>
                  <a:pt x="4" y="49"/>
                  <a:pt x="5" y="50"/>
                </a:cubicBezTo>
                <a:cubicBezTo>
                  <a:pt x="5" y="51"/>
                  <a:pt x="4" y="51"/>
                  <a:pt x="5" y="52"/>
                </a:cubicBezTo>
                <a:cubicBezTo>
                  <a:pt x="5" y="53"/>
                  <a:pt x="5" y="54"/>
                  <a:pt x="5" y="55"/>
                </a:cubicBezTo>
                <a:cubicBezTo>
                  <a:pt x="5" y="56"/>
                  <a:pt x="4" y="56"/>
                  <a:pt x="4" y="56"/>
                </a:cubicBezTo>
                <a:cubicBezTo>
                  <a:pt x="4" y="57"/>
                  <a:pt x="4" y="58"/>
                  <a:pt x="4" y="59"/>
                </a:cubicBezTo>
                <a:cubicBezTo>
                  <a:pt x="4" y="60"/>
                  <a:pt x="4" y="60"/>
                  <a:pt x="4" y="60"/>
                </a:cubicBezTo>
                <a:cubicBezTo>
                  <a:pt x="3" y="60"/>
                  <a:pt x="3" y="61"/>
                  <a:pt x="3" y="63"/>
                </a:cubicBezTo>
                <a:cubicBezTo>
                  <a:pt x="3" y="64"/>
                  <a:pt x="3" y="64"/>
                  <a:pt x="4" y="64"/>
                </a:cubicBezTo>
                <a:cubicBezTo>
                  <a:pt x="5" y="64"/>
                  <a:pt x="4" y="60"/>
                  <a:pt x="5" y="60"/>
                </a:cubicBezTo>
                <a:cubicBezTo>
                  <a:pt x="6" y="60"/>
                  <a:pt x="5" y="60"/>
                  <a:pt x="6" y="59"/>
                </a:cubicBezTo>
                <a:cubicBezTo>
                  <a:pt x="6" y="59"/>
                  <a:pt x="6" y="60"/>
                  <a:pt x="6" y="60"/>
                </a:cubicBezTo>
                <a:cubicBezTo>
                  <a:pt x="7" y="60"/>
                  <a:pt x="7" y="61"/>
                  <a:pt x="6" y="61"/>
                </a:cubicBezTo>
                <a:cubicBezTo>
                  <a:pt x="6" y="62"/>
                  <a:pt x="7" y="63"/>
                  <a:pt x="6" y="63"/>
                </a:cubicBezTo>
                <a:cubicBezTo>
                  <a:pt x="6" y="64"/>
                  <a:pt x="5" y="64"/>
                  <a:pt x="6" y="65"/>
                </a:cubicBezTo>
                <a:cubicBezTo>
                  <a:pt x="6" y="66"/>
                  <a:pt x="5" y="66"/>
                  <a:pt x="5" y="66"/>
                </a:cubicBezTo>
                <a:cubicBezTo>
                  <a:pt x="5" y="67"/>
                  <a:pt x="6" y="67"/>
                  <a:pt x="5" y="67"/>
                </a:cubicBezTo>
                <a:cubicBezTo>
                  <a:pt x="5" y="68"/>
                  <a:pt x="6" y="68"/>
                  <a:pt x="5" y="68"/>
                </a:cubicBezTo>
                <a:cubicBezTo>
                  <a:pt x="5" y="68"/>
                  <a:pt x="5" y="69"/>
                  <a:pt x="5" y="70"/>
                </a:cubicBezTo>
                <a:cubicBezTo>
                  <a:pt x="6" y="70"/>
                  <a:pt x="5" y="70"/>
                  <a:pt x="4" y="70"/>
                </a:cubicBezTo>
                <a:cubicBezTo>
                  <a:pt x="4" y="71"/>
                  <a:pt x="5" y="71"/>
                  <a:pt x="5" y="72"/>
                </a:cubicBezTo>
                <a:cubicBezTo>
                  <a:pt x="4" y="72"/>
                  <a:pt x="3" y="71"/>
                  <a:pt x="3" y="71"/>
                </a:cubicBezTo>
                <a:cubicBezTo>
                  <a:pt x="3" y="71"/>
                  <a:pt x="4" y="70"/>
                  <a:pt x="4" y="70"/>
                </a:cubicBezTo>
                <a:cubicBezTo>
                  <a:pt x="5" y="69"/>
                  <a:pt x="4" y="68"/>
                  <a:pt x="3" y="68"/>
                </a:cubicBezTo>
                <a:cubicBezTo>
                  <a:pt x="2" y="68"/>
                  <a:pt x="4" y="69"/>
                  <a:pt x="4" y="70"/>
                </a:cubicBezTo>
                <a:cubicBezTo>
                  <a:pt x="4" y="71"/>
                  <a:pt x="2" y="70"/>
                  <a:pt x="2" y="70"/>
                </a:cubicBezTo>
                <a:cubicBezTo>
                  <a:pt x="3" y="71"/>
                  <a:pt x="2" y="71"/>
                  <a:pt x="1" y="71"/>
                </a:cubicBezTo>
                <a:cubicBezTo>
                  <a:pt x="1" y="72"/>
                  <a:pt x="2" y="72"/>
                  <a:pt x="1" y="72"/>
                </a:cubicBezTo>
                <a:cubicBezTo>
                  <a:pt x="1" y="73"/>
                  <a:pt x="0" y="73"/>
                  <a:pt x="0" y="74"/>
                </a:cubicBezTo>
                <a:cubicBezTo>
                  <a:pt x="0" y="74"/>
                  <a:pt x="0" y="74"/>
                  <a:pt x="0" y="74"/>
                </a:cubicBezTo>
                <a:cubicBezTo>
                  <a:pt x="0" y="73"/>
                  <a:pt x="1" y="73"/>
                  <a:pt x="2" y="74"/>
                </a:cubicBezTo>
                <a:cubicBezTo>
                  <a:pt x="2" y="74"/>
                  <a:pt x="2" y="74"/>
                  <a:pt x="3" y="74"/>
                </a:cubicBezTo>
                <a:cubicBezTo>
                  <a:pt x="3" y="74"/>
                  <a:pt x="3" y="75"/>
                  <a:pt x="3" y="75"/>
                </a:cubicBezTo>
                <a:cubicBezTo>
                  <a:pt x="3" y="75"/>
                  <a:pt x="2" y="76"/>
                  <a:pt x="2" y="76"/>
                </a:cubicBezTo>
                <a:cubicBezTo>
                  <a:pt x="2" y="77"/>
                  <a:pt x="4" y="76"/>
                  <a:pt x="4" y="77"/>
                </a:cubicBezTo>
                <a:cubicBezTo>
                  <a:pt x="5" y="77"/>
                  <a:pt x="5" y="78"/>
                  <a:pt x="4" y="78"/>
                </a:cubicBezTo>
                <a:cubicBezTo>
                  <a:pt x="4" y="77"/>
                  <a:pt x="3" y="77"/>
                  <a:pt x="3" y="77"/>
                </a:cubicBezTo>
                <a:cubicBezTo>
                  <a:pt x="3" y="78"/>
                  <a:pt x="2" y="78"/>
                  <a:pt x="2" y="77"/>
                </a:cubicBezTo>
                <a:cubicBezTo>
                  <a:pt x="1" y="77"/>
                  <a:pt x="0" y="78"/>
                  <a:pt x="0" y="79"/>
                </a:cubicBezTo>
                <a:cubicBezTo>
                  <a:pt x="1" y="79"/>
                  <a:pt x="1" y="80"/>
                  <a:pt x="1" y="80"/>
                </a:cubicBezTo>
                <a:cubicBezTo>
                  <a:pt x="1" y="79"/>
                  <a:pt x="2" y="79"/>
                  <a:pt x="2" y="79"/>
                </a:cubicBezTo>
                <a:cubicBezTo>
                  <a:pt x="2" y="78"/>
                  <a:pt x="3" y="78"/>
                  <a:pt x="3" y="79"/>
                </a:cubicBezTo>
                <a:cubicBezTo>
                  <a:pt x="3" y="80"/>
                  <a:pt x="2" y="79"/>
                  <a:pt x="2" y="80"/>
                </a:cubicBezTo>
                <a:cubicBezTo>
                  <a:pt x="2" y="80"/>
                  <a:pt x="1" y="81"/>
                  <a:pt x="1" y="81"/>
                </a:cubicBezTo>
                <a:cubicBezTo>
                  <a:pt x="0" y="82"/>
                  <a:pt x="1" y="82"/>
                  <a:pt x="1" y="82"/>
                </a:cubicBezTo>
                <a:cubicBezTo>
                  <a:pt x="2" y="82"/>
                  <a:pt x="1" y="83"/>
                  <a:pt x="2" y="83"/>
                </a:cubicBezTo>
                <a:cubicBezTo>
                  <a:pt x="2" y="83"/>
                  <a:pt x="3" y="82"/>
                  <a:pt x="2" y="82"/>
                </a:cubicBezTo>
                <a:cubicBezTo>
                  <a:pt x="2" y="81"/>
                  <a:pt x="3" y="80"/>
                  <a:pt x="3" y="81"/>
                </a:cubicBezTo>
                <a:cubicBezTo>
                  <a:pt x="4" y="81"/>
                  <a:pt x="3" y="82"/>
                  <a:pt x="3" y="82"/>
                </a:cubicBezTo>
                <a:cubicBezTo>
                  <a:pt x="3" y="83"/>
                  <a:pt x="3" y="84"/>
                  <a:pt x="3" y="84"/>
                </a:cubicBezTo>
                <a:cubicBezTo>
                  <a:pt x="3" y="85"/>
                  <a:pt x="2" y="84"/>
                  <a:pt x="2" y="85"/>
                </a:cubicBezTo>
                <a:cubicBezTo>
                  <a:pt x="2" y="86"/>
                  <a:pt x="1" y="85"/>
                  <a:pt x="1" y="86"/>
                </a:cubicBezTo>
                <a:cubicBezTo>
                  <a:pt x="2" y="86"/>
                  <a:pt x="1" y="86"/>
                  <a:pt x="1" y="87"/>
                </a:cubicBezTo>
                <a:cubicBezTo>
                  <a:pt x="2" y="87"/>
                  <a:pt x="2" y="86"/>
                  <a:pt x="2" y="87"/>
                </a:cubicBezTo>
                <a:cubicBezTo>
                  <a:pt x="3" y="87"/>
                  <a:pt x="3" y="87"/>
                  <a:pt x="4" y="87"/>
                </a:cubicBezTo>
                <a:cubicBezTo>
                  <a:pt x="4" y="86"/>
                  <a:pt x="5" y="87"/>
                  <a:pt x="4" y="87"/>
                </a:cubicBezTo>
                <a:cubicBezTo>
                  <a:pt x="3" y="88"/>
                  <a:pt x="3" y="88"/>
                  <a:pt x="3" y="88"/>
                </a:cubicBezTo>
                <a:cubicBezTo>
                  <a:pt x="3" y="88"/>
                  <a:pt x="4" y="88"/>
                  <a:pt x="4" y="89"/>
                </a:cubicBezTo>
                <a:cubicBezTo>
                  <a:pt x="5" y="89"/>
                  <a:pt x="5" y="89"/>
                  <a:pt x="5" y="88"/>
                </a:cubicBezTo>
                <a:cubicBezTo>
                  <a:pt x="5" y="88"/>
                  <a:pt x="6" y="88"/>
                  <a:pt x="7" y="89"/>
                </a:cubicBezTo>
                <a:cubicBezTo>
                  <a:pt x="7" y="89"/>
                  <a:pt x="5" y="90"/>
                  <a:pt x="5" y="90"/>
                </a:cubicBezTo>
                <a:cubicBezTo>
                  <a:pt x="4" y="89"/>
                  <a:pt x="3" y="90"/>
                  <a:pt x="4" y="91"/>
                </a:cubicBezTo>
                <a:cubicBezTo>
                  <a:pt x="4" y="91"/>
                  <a:pt x="5" y="91"/>
                  <a:pt x="6" y="90"/>
                </a:cubicBezTo>
                <a:cubicBezTo>
                  <a:pt x="6" y="90"/>
                  <a:pt x="9" y="90"/>
                  <a:pt x="9" y="91"/>
                </a:cubicBezTo>
                <a:cubicBezTo>
                  <a:pt x="9" y="91"/>
                  <a:pt x="8" y="91"/>
                  <a:pt x="8" y="91"/>
                </a:cubicBezTo>
                <a:cubicBezTo>
                  <a:pt x="7" y="91"/>
                  <a:pt x="6" y="92"/>
                  <a:pt x="6" y="91"/>
                </a:cubicBezTo>
                <a:cubicBezTo>
                  <a:pt x="6" y="91"/>
                  <a:pt x="5" y="91"/>
                  <a:pt x="5" y="92"/>
                </a:cubicBezTo>
                <a:cubicBezTo>
                  <a:pt x="5" y="93"/>
                  <a:pt x="4" y="93"/>
                  <a:pt x="5" y="93"/>
                </a:cubicBezTo>
                <a:cubicBezTo>
                  <a:pt x="6" y="93"/>
                  <a:pt x="6" y="92"/>
                  <a:pt x="7" y="92"/>
                </a:cubicBezTo>
                <a:cubicBezTo>
                  <a:pt x="8" y="92"/>
                  <a:pt x="9" y="91"/>
                  <a:pt x="10" y="92"/>
                </a:cubicBezTo>
                <a:cubicBezTo>
                  <a:pt x="10" y="92"/>
                  <a:pt x="8" y="93"/>
                  <a:pt x="8" y="92"/>
                </a:cubicBezTo>
                <a:cubicBezTo>
                  <a:pt x="7" y="92"/>
                  <a:pt x="7" y="93"/>
                  <a:pt x="7" y="94"/>
                </a:cubicBezTo>
                <a:cubicBezTo>
                  <a:pt x="7" y="94"/>
                  <a:pt x="5" y="93"/>
                  <a:pt x="4" y="93"/>
                </a:cubicBezTo>
                <a:cubicBezTo>
                  <a:pt x="4" y="93"/>
                  <a:pt x="4" y="94"/>
                  <a:pt x="5" y="95"/>
                </a:cubicBezTo>
                <a:cubicBezTo>
                  <a:pt x="5" y="95"/>
                  <a:pt x="6" y="95"/>
                  <a:pt x="7" y="95"/>
                </a:cubicBezTo>
                <a:cubicBezTo>
                  <a:pt x="7" y="96"/>
                  <a:pt x="7" y="96"/>
                  <a:pt x="8" y="96"/>
                </a:cubicBezTo>
                <a:cubicBezTo>
                  <a:pt x="9" y="95"/>
                  <a:pt x="8" y="95"/>
                  <a:pt x="8" y="95"/>
                </a:cubicBezTo>
                <a:cubicBezTo>
                  <a:pt x="7" y="95"/>
                  <a:pt x="7" y="94"/>
                  <a:pt x="8" y="94"/>
                </a:cubicBezTo>
                <a:cubicBezTo>
                  <a:pt x="9" y="95"/>
                  <a:pt x="10" y="94"/>
                  <a:pt x="10" y="93"/>
                </a:cubicBezTo>
                <a:cubicBezTo>
                  <a:pt x="10" y="92"/>
                  <a:pt x="11" y="91"/>
                  <a:pt x="12" y="91"/>
                </a:cubicBezTo>
                <a:cubicBezTo>
                  <a:pt x="13" y="90"/>
                  <a:pt x="13" y="91"/>
                  <a:pt x="12" y="92"/>
                </a:cubicBezTo>
                <a:cubicBezTo>
                  <a:pt x="11" y="92"/>
                  <a:pt x="11" y="92"/>
                  <a:pt x="11" y="93"/>
                </a:cubicBezTo>
                <a:cubicBezTo>
                  <a:pt x="12" y="94"/>
                  <a:pt x="13" y="93"/>
                  <a:pt x="13" y="93"/>
                </a:cubicBezTo>
                <a:cubicBezTo>
                  <a:pt x="14" y="94"/>
                  <a:pt x="12" y="94"/>
                  <a:pt x="12" y="94"/>
                </a:cubicBezTo>
                <a:cubicBezTo>
                  <a:pt x="12" y="95"/>
                  <a:pt x="13" y="95"/>
                  <a:pt x="12" y="96"/>
                </a:cubicBezTo>
                <a:cubicBezTo>
                  <a:pt x="12" y="96"/>
                  <a:pt x="12" y="94"/>
                  <a:pt x="11" y="94"/>
                </a:cubicBezTo>
                <a:cubicBezTo>
                  <a:pt x="11" y="94"/>
                  <a:pt x="10" y="94"/>
                  <a:pt x="11" y="95"/>
                </a:cubicBezTo>
                <a:cubicBezTo>
                  <a:pt x="11" y="96"/>
                  <a:pt x="10" y="95"/>
                  <a:pt x="10" y="95"/>
                </a:cubicBezTo>
                <a:cubicBezTo>
                  <a:pt x="9" y="94"/>
                  <a:pt x="9" y="95"/>
                  <a:pt x="9" y="96"/>
                </a:cubicBezTo>
                <a:cubicBezTo>
                  <a:pt x="10" y="96"/>
                  <a:pt x="8" y="96"/>
                  <a:pt x="8" y="97"/>
                </a:cubicBezTo>
                <a:cubicBezTo>
                  <a:pt x="8" y="98"/>
                  <a:pt x="9" y="97"/>
                  <a:pt x="10" y="97"/>
                </a:cubicBezTo>
                <a:cubicBezTo>
                  <a:pt x="11" y="97"/>
                  <a:pt x="10" y="98"/>
                  <a:pt x="11" y="99"/>
                </a:cubicBezTo>
                <a:cubicBezTo>
                  <a:pt x="12" y="99"/>
                  <a:pt x="11" y="97"/>
                  <a:pt x="12" y="97"/>
                </a:cubicBezTo>
                <a:cubicBezTo>
                  <a:pt x="12" y="97"/>
                  <a:pt x="12" y="99"/>
                  <a:pt x="13" y="99"/>
                </a:cubicBezTo>
                <a:cubicBezTo>
                  <a:pt x="15" y="100"/>
                  <a:pt x="13" y="99"/>
                  <a:pt x="14" y="98"/>
                </a:cubicBezTo>
                <a:cubicBezTo>
                  <a:pt x="15" y="98"/>
                  <a:pt x="16" y="100"/>
                  <a:pt x="16" y="100"/>
                </a:cubicBezTo>
                <a:cubicBezTo>
                  <a:pt x="17" y="100"/>
                  <a:pt x="17" y="99"/>
                  <a:pt x="16" y="99"/>
                </a:cubicBezTo>
                <a:cubicBezTo>
                  <a:pt x="16" y="98"/>
                  <a:pt x="17" y="98"/>
                  <a:pt x="17" y="99"/>
                </a:cubicBezTo>
                <a:cubicBezTo>
                  <a:pt x="18" y="99"/>
                  <a:pt x="19" y="99"/>
                  <a:pt x="19" y="98"/>
                </a:cubicBezTo>
                <a:cubicBezTo>
                  <a:pt x="19" y="98"/>
                  <a:pt x="19" y="98"/>
                  <a:pt x="19" y="98"/>
                </a:cubicBezTo>
                <a:cubicBezTo>
                  <a:pt x="18" y="98"/>
                  <a:pt x="16" y="98"/>
                  <a:pt x="15" y="98"/>
                </a:cubicBezTo>
                <a:cubicBezTo>
                  <a:pt x="15" y="98"/>
                  <a:pt x="15" y="92"/>
                  <a:pt x="15" y="91"/>
                </a:cubicBezTo>
                <a:cubicBezTo>
                  <a:pt x="15" y="91"/>
                  <a:pt x="15" y="91"/>
                  <a:pt x="15" y="91"/>
                </a:cubicBezTo>
                <a:cubicBezTo>
                  <a:pt x="15" y="91"/>
                  <a:pt x="13" y="91"/>
                  <a:pt x="13" y="90"/>
                </a:cubicBezTo>
                <a:cubicBezTo>
                  <a:pt x="14" y="90"/>
                  <a:pt x="14" y="90"/>
                  <a:pt x="14" y="90"/>
                </a:cubicBezTo>
                <a:cubicBezTo>
                  <a:pt x="13" y="89"/>
                  <a:pt x="13" y="89"/>
                  <a:pt x="13" y="89"/>
                </a:cubicBezTo>
                <a:cubicBezTo>
                  <a:pt x="12" y="89"/>
                  <a:pt x="9" y="89"/>
                  <a:pt x="9" y="8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4"/>
          <p:cNvSpPr>
            <a:spLocks/>
          </p:cNvSpPr>
          <p:nvPr/>
        </p:nvSpPr>
        <p:spPr bwMode="auto">
          <a:xfrm>
            <a:off x="1525895" y="3493440"/>
            <a:ext cx="89371" cy="96521"/>
          </a:xfrm>
          <a:custGeom>
            <a:avLst/>
            <a:gdLst>
              <a:gd name="T0" fmla="*/ 18 w 19"/>
              <a:gd name="T1" fmla="*/ 10 h 20"/>
              <a:gd name="T2" fmla="*/ 17 w 19"/>
              <a:gd name="T3" fmla="*/ 11 h 20"/>
              <a:gd name="T4" fmla="*/ 15 w 19"/>
              <a:gd name="T5" fmla="*/ 8 h 20"/>
              <a:gd name="T6" fmla="*/ 14 w 19"/>
              <a:gd name="T7" fmla="*/ 7 h 20"/>
              <a:gd name="T8" fmla="*/ 12 w 19"/>
              <a:gd name="T9" fmla="*/ 6 h 20"/>
              <a:gd name="T10" fmla="*/ 11 w 19"/>
              <a:gd name="T11" fmla="*/ 5 h 20"/>
              <a:gd name="T12" fmla="*/ 10 w 19"/>
              <a:gd name="T13" fmla="*/ 2 h 20"/>
              <a:gd name="T14" fmla="*/ 10 w 19"/>
              <a:gd name="T15" fmla="*/ 1 h 20"/>
              <a:gd name="T16" fmla="*/ 10 w 19"/>
              <a:gd name="T17" fmla="*/ 1 h 20"/>
              <a:gd name="T18" fmla="*/ 8 w 19"/>
              <a:gd name="T19" fmla="*/ 0 h 20"/>
              <a:gd name="T20" fmla="*/ 5 w 19"/>
              <a:gd name="T21" fmla="*/ 0 h 20"/>
              <a:gd name="T22" fmla="*/ 3 w 19"/>
              <a:gd name="T23" fmla="*/ 1 h 20"/>
              <a:gd name="T24" fmla="*/ 1 w 19"/>
              <a:gd name="T25" fmla="*/ 3 h 20"/>
              <a:gd name="T26" fmla="*/ 0 w 19"/>
              <a:gd name="T27" fmla="*/ 6 h 20"/>
              <a:gd name="T28" fmla="*/ 0 w 19"/>
              <a:gd name="T29" fmla="*/ 6 h 20"/>
              <a:gd name="T30" fmla="*/ 3 w 19"/>
              <a:gd name="T31" fmla="*/ 9 h 20"/>
              <a:gd name="T32" fmla="*/ 5 w 19"/>
              <a:gd name="T33" fmla="*/ 11 h 20"/>
              <a:gd name="T34" fmla="*/ 8 w 19"/>
              <a:gd name="T35" fmla="*/ 12 h 20"/>
              <a:gd name="T36" fmla="*/ 12 w 19"/>
              <a:gd name="T37" fmla="*/ 14 h 20"/>
              <a:gd name="T38" fmla="*/ 10 w 19"/>
              <a:gd name="T39" fmla="*/ 17 h 20"/>
              <a:gd name="T40" fmla="*/ 9 w 19"/>
              <a:gd name="T41" fmla="*/ 18 h 20"/>
              <a:gd name="T42" fmla="*/ 11 w 19"/>
              <a:gd name="T43" fmla="*/ 19 h 20"/>
              <a:gd name="T44" fmla="*/ 13 w 19"/>
              <a:gd name="T45" fmla="*/ 19 h 20"/>
              <a:gd name="T46" fmla="*/ 15 w 19"/>
              <a:gd name="T47" fmla="*/ 19 h 20"/>
              <a:gd name="T48" fmla="*/ 17 w 19"/>
              <a:gd name="T49" fmla="*/ 18 h 20"/>
              <a:gd name="T50" fmla="*/ 18 w 19"/>
              <a:gd name="T51" fmla="*/ 15 h 20"/>
              <a:gd name="T52" fmla="*/ 18 w 19"/>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0">
                <a:moveTo>
                  <a:pt x="18" y="10"/>
                </a:moveTo>
                <a:cubicBezTo>
                  <a:pt x="18" y="10"/>
                  <a:pt x="17" y="11"/>
                  <a:pt x="17" y="11"/>
                </a:cubicBezTo>
                <a:cubicBezTo>
                  <a:pt x="16" y="11"/>
                  <a:pt x="16" y="9"/>
                  <a:pt x="15" y="8"/>
                </a:cubicBezTo>
                <a:cubicBezTo>
                  <a:pt x="15" y="8"/>
                  <a:pt x="14" y="6"/>
                  <a:pt x="14" y="7"/>
                </a:cubicBezTo>
                <a:cubicBezTo>
                  <a:pt x="13" y="7"/>
                  <a:pt x="14" y="6"/>
                  <a:pt x="12" y="6"/>
                </a:cubicBezTo>
                <a:cubicBezTo>
                  <a:pt x="10" y="6"/>
                  <a:pt x="11" y="6"/>
                  <a:pt x="11" y="5"/>
                </a:cubicBezTo>
                <a:cubicBezTo>
                  <a:pt x="11" y="3"/>
                  <a:pt x="10" y="2"/>
                  <a:pt x="10" y="2"/>
                </a:cubicBezTo>
                <a:cubicBezTo>
                  <a:pt x="11" y="2"/>
                  <a:pt x="11" y="1"/>
                  <a:pt x="10" y="1"/>
                </a:cubicBezTo>
                <a:cubicBezTo>
                  <a:pt x="10" y="1"/>
                  <a:pt x="10" y="1"/>
                  <a:pt x="10" y="1"/>
                </a:cubicBezTo>
                <a:cubicBezTo>
                  <a:pt x="9" y="1"/>
                  <a:pt x="9" y="0"/>
                  <a:pt x="8" y="0"/>
                </a:cubicBezTo>
                <a:cubicBezTo>
                  <a:pt x="7" y="0"/>
                  <a:pt x="6" y="0"/>
                  <a:pt x="5" y="0"/>
                </a:cubicBezTo>
                <a:cubicBezTo>
                  <a:pt x="5" y="0"/>
                  <a:pt x="3" y="0"/>
                  <a:pt x="3" y="1"/>
                </a:cubicBezTo>
                <a:cubicBezTo>
                  <a:pt x="2" y="1"/>
                  <a:pt x="1" y="2"/>
                  <a:pt x="1" y="3"/>
                </a:cubicBezTo>
                <a:cubicBezTo>
                  <a:pt x="1" y="3"/>
                  <a:pt x="1" y="6"/>
                  <a:pt x="0" y="6"/>
                </a:cubicBezTo>
                <a:cubicBezTo>
                  <a:pt x="0" y="6"/>
                  <a:pt x="0" y="6"/>
                  <a:pt x="0" y="6"/>
                </a:cubicBezTo>
                <a:cubicBezTo>
                  <a:pt x="0" y="7"/>
                  <a:pt x="2" y="9"/>
                  <a:pt x="3" y="9"/>
                </a:cubicBezTo>
                <a:cubicBezTo>
                  <a:pt x="4" y="10"/>
                  <a:pt x="4" y="11"/>
                  <a:pt x="5" y="11"/>
                </a:cubicBezTo>
                <a:cubicBezTo>
                  <a:pt x="6" y="11"/>
                  <a:pt x="7" y="11"/>
                  <a:pt x="8" y="12"/>
                </a:cubicBezTo>
                <a:cubicBezTo>
                  <a:pt x="8" y="13"/>
                  <a:pt x="11" y="14"/>
                  <a:pt x="12" y="14"/>
                </a:cubicBezTo>
                <a:cubicBezTo>
                  <a:pt x="12" y="14"/>
                  <a:pt x="10" y="16"/>
                  <a:pt x="10" y="17"/>
                </a:cubicBezTo>
                <a:cubicBezTo>
                  <a:pt x="10" y="18"/>
                  <a:pt x="9" y="18"/>
                  <a:pt x="9" y="18"/>
                </a:cubicBezTo>
                <a:cubicBezTo>
                  <a:pt x="9" y="19"/>
                  <a:pt x="11" y="19"/>
                  <a:pt x="11" y="19"/>
                </a:cubicBezTo>
                <a:cubicBezTo>
                  <a:pt x="12" y="19"/>
                  <a:pt x="13" y="19"/>
                  <a:pt x="13" y="19"/>
                </a:cubicBezTo>
                <a:cubicBezTo>
                  <a:pt x="14" y="20"/>
                  <a:pt x="15" y="19"/>
                  <a:pt x="15" y="19"/>
                </a:cubicBezTo>
                <a:cubicBezTo>
                  <a:pt x="16" y="19"/>
                  <a:pt x="16" y="18"/>
                  <a:pt x="17" y="18"/>
                </a:cubicBezTo>
                <a:cubicBezTo>
                  <a:pt x="18" y="18"/>
                  <a:pt x="18" y="16"/>
                  <a:pt x="18" y="15"/>
                </a:cubicBezTo>
                <a:cubicBezTo>
                  <a:pt x="18" y="14"/>
                  <a:pt x="19" y="11"/>
                  <a:pt x="1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45"/>
          <p:cNvSpPr>
            <a:spLocks/>
          </p:cNvSpPr>
          <p:nvPr/>
        </p:nvSpPr>
        <p:spPr bwMode="auto">
          <a:xfrm>
            <a:off x="1275656" y="3160979"/>
            <a:ext cx="35748" cy="28599"/>
          </a:xfrm>
          <a:custGeom>
            <a:avLst/>
            <a:gdLst>
              <a:gd name="T0" fmla="*/ 7 w 8"/>
              <a:gd name="T1" fmla="*/ 5 h 6"/>
              <a:gd name="T2" fmla="*/ 8 w 8"/>
              <a:gd name="T3" fmla="*/ 4 h 6"/>
              <a:gd name="T4" fmla="*/ 5 w 8"/>
              <a:gd name="T5" fmla="*/ 1 h 6"/>
              <a:gd name="T6" fmla="*/ 4 w 8"/>
              <a:gd name="T7" fmla="*/ 1 h 6"/>
              <a:gd name="T8" fmla="*/ 2 w 8"/>
              <a:gd name="T9" fmla="*/ 1 h 6"/>
              <a:gd name="T10" fmla="*/ 1 w 8"/>
              <a:gd name="T11" fmla="*/ 0 h 6"/>
              <a:gd name="T12" fmla="*/ 1 w 8"/>
              <a:gd name="T13" fmla="*/ 1 h 6"/>
              <a:gd name="T14" fmla="*/ 1 w 8"/>
              <a:gd name="T15" fmla="*/ 3 h 6"/>
              <a:gd name="T16" fmla="*/ 3 w 8"/>
              <a:gd name="T17" fmla="*/ 3 h 6"/>
              <a:gd name="T18" fmla="*/ 4 w 8"/>
              <a:gd name="T19" fmla="*/ 4 h 6"/>
              <a:gd name="T20" fmla="*/ 5 w 8"/>
              <a:gd name="T21" fmla="*/ 5 h 6"/>
              <a:gd name="T22" fmla="*/ 6 w 8"/>
              <a:gd name="T23" fmla="*/ 6 h 6"/>
              <a:gd name="T24" fmla="*/ 7 w 8"/>
              <a:gd name="T25" fmla="*/ 6 h 6"/>
              <a:gd name="T26" fmla="*/ 7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7" y="5"/>
                </a:moveTo>
                <a:cubicBezTo>
                  <a:pt x="7" y="5"/>
                  <a:pt x="7" y="4"/>
                  <a:pt x="8" y="4"/>
                </a:cubicBezTo>
                <a:cubicBezTo>
                  <a:pt x="7" y="3"/>
                  <a:pt x="6" y="2"/>
                  <a:pt x="5" y="1"/>
                </a:cubicBezTo>
                <a:cubicBezTo>
                  <a:pt x="5" y="1"/>
                  <a:pt x="4" y="1"/>
                  <a:pt x="4" y="1"/>
                </a:cubicBezTo>
                <a:cubicBezTo>
                  <a:pt x="4" y="1"/>
                  <a:pt x="3" y="1"/>
                  <a:pt x="2" y="1"/>
                </a:cubicBezTo>
                <a:cubicBezTo>
                  <a:pt x="2" y="0"/>
                  <a:pt x="1" y="0"/>
                  <a:pt x="1" y="0"/>
                </a:cubicBezTo>
                <a:cubicBezTo>
                  <a:pt x="1" y="1"/>
                  <a:pt x="1" y="1"/>
                  <a:pt x="1" y="1"/>
                </a:cubicBezTo>
                <a:cubicBezTo>
                  <a:pt x="0" y="2"/>
                  <a:pt x="0" y="3"/>
                  <a:pt x="1" y="3"/>
                </a:cubicBezTo>
                <a:cubicBezTo>
                  <a:pt x="2" y="4"/>
                  <a:pt x="2" y="3"/>
                  <a:pt x="3" y="3"/>
                </a:cubicBezTo>
                <a:cubicBezTo>
                  <a:pt x="3" y="3"/>
                  <a:pt x="3" y="4"/>
                  <a:pt x="4" y="4"/>
                </a:cubicBezTo>
                <a:cubicBezTo>
                  <a:pt x="4" y="4"/>
                  <a:pt x="5" y="4"/>
                  <a:pt x="5" y="5"/>
                </a:cubicBezTo>
                <a:cubicBezTo>
                  <a:pt x="5" y="6"/>
                  <a:pt x="5" y="6"/>
                  <a:pt x="6" y="6"/>
                </a:cubicBezTo>
                <a:cubicBezTo>
                  <a:pt x="7" y="6"/>
                  <a:pt x="7" y="6"/>
                  <a:pt x="7" y="6"/>
                </a:cubicBezTo>
                <a:cubicBezTo>
                  <a:pt x="7" y="6"/>
                  <a:pt x="7" y="5"/>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46"/>
          <p:cNvSpPr>
            <a:spLocks/>
          </p:cNvSpPr>
          <p:nvPr/>
        </p:nvSpPr>
        <p:spPr bwMode="auto">
          <a:xfrm>
            <a:off x="1307829" y="3175279"/>
            <a:ext cx="64347" cy="28599"/>
          </a:xfrm>
          <a:custGeom>
            <a:avLst/>
            <a:gdLst>
              <a:gd name="T0" fmla="*/ 11 w 13"/>
              <a:gd name="T1" fmla="*/ 2 h 6"/>
              <a:gd name="T2" fmla="*/ 8 w 13"/>
              <a:gd name="T3" fmla="*/ 1 h 6"/>
              <a:gd name="T4" fmla="*/ 5 w 13"/>
              <a:gd name="T5" fmla="*/ 2 h 6"/>
              <a:gd name="T6" fmla="*/ 2 w 13"/>
              <a:gd name="T7" fmla="*/ 2 h 6"/>
              <a:gd name="T8" fmla="*/ 1 w 13"/>
              <a:gd name="T9" fmla="*/ 1 h 6"/>
              <a:gd name="T10" fmla="*/ 0 w 13"/>
              <a:gd name="T11" fmla="*/ 2 h 6"/>
              <a:gd name="T12" fmla="*/ 0 w 13"/>
              <a:gd name="T13" fmla="*/ 3 h 6"/>
              <a:gd name="T14" fmla="*/ 3 w 13"/>
              <a:gd name="T15" fmla="*/ 5 h 6"/>
              <a:gd name="T16" fmla="*/ 4 w 13"/>
              <a:gd name="T17" fmla="*/ 6 h 6"/>
              <a:gd name="T18" fmla="*/ 6 w 13"/>
              <a:gd name="T19" fmla="*/ 5 h 6"/>
              <a:gd name="T20" fmla="*/ 5 w 13"/>
              <a:gd name="T21" fmla="*/ 4 h 6"/>
              <a:gd name="T22" fmla="*/ 7 w 13"/>
              <a:gd name="T23" fmla="*/ 3 h 6"/>
              <a:gd name="T24" fmla="*/ 9 w 13"/>
              <a:gd name="T25" fmla="*/ 2 h 6"/>
              <a:gd name="T26" fmla="*/ 10 w 13"/>
              <a:gd name="T27" fmla="*/ 4 h 6"/>
              <a:gd name="T28" fmla="*/ 11 w 13"/>
              <a:gd name="T29" fmla="*/ 6 h 6"/>
              <a:gd name="T30" fmla="*/ 13 w 13"/>
              <a:gd name="T31" fmla="*/ 5 h 6"/>
              <a:gd name="T32" fmla="*/ 13 w 13"/>
              <a:gd name="T33" fmla="*/ 4 h 6"/>
              <a:gd name="T34" fmla="*/ 11 w 13"/>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11" y="2"/>
                </a:moveTo>
                <a:cubicBezTo>
                  <a:pt x="11" y="1"/>
                  <a:pt x="9" y="1"/>
                  <a:pt x="8" y="1"/>
                </a:cubicBezTo>
                <a:cubicBezTo>
                  <a:pt x="7" y="0"/>
                  <a:pt x="6" y="1"/>
                  <a:pt x="5" y="2"/>
                </a:cubicBezTo>
                <a:cubicBezTo>
                  <a:pt x="4" y="3"/>
                  <a:pt x="3" y="2"/>
                  <a:pt x="2" y="2"/>
                </a:cubicBezTo>
                <a:cubicBezTo>
                  <a:pt x="1" y="2"/>
                  <a:pt x="1" y="1"/>
                  <a:pt x="1" y="1"/>
                </a:cubicBezTo>
                <a:cubicBezTo>
                  <a:pt x="0" y="1"/>
                  <a:pt x="0" y="2"/>
                  <a:pt x="0" y="2"/>
                </a:cubicBezTo>
                <a:cubicBezTo>
                  <a:pt x="0" y="2"/>
                  <a:pt x="0" y="3"/>
                  <a:pt x="0" y="3"/>
                </a:cubicBezTo>
                <a:cubicBezTo>
                  <a:pt x="1" y="3"/>
                  <a:pt x="2" y="4"/>
                  <a:pt x="3" y="5"/>
                </a:cubicBezTo>
                <a:cubicBezTo>
                  <a:pt x="3" y="6"/>
                  <a:pt x="4" y="5"/>
                  <a:pt x="4" y="6"/>
                </a:cubicBezTo>
                <a:cubicBezTo>
                  <a:pt x="5" y="6"/>
                  <a:pt x="6" y="6"/>
                  <a:pt x="6" y="5"/>
                </a:cubicBezTo>
                <a:cubicBezTo>
                  <a:pt x="6" y="5"/>
                  <a:pt x="6" y="5"/>
                  <a:pt x="5" y="4"/>
                </a:cubicBezTo>
                <a:cubicBezTo>
                  <a:pt x="5" y="4"/>
                  <a:pt x="6" y="4"/>
                  <a:pt x="7" y="3"/>
                </a:cubicBezTo>
                <a:cubicBezTo>
                  <a:pt x="7" y="2"/>
                  <a:pt x="8" y="2"/>
                  <a:pt x="9" y="2"/>
                </a:cubicBezTo>
                <a:cubicBezTo>
                  <a:pt x="10" y="2"/>
                  <a:pt x="10" y="3"/>
                  <a:pt x="10" y="4"/>
                </a:cubicBezTo>
                <a:cubicBezTo>
                  <a:pt x="9" y="4"/>
                  <a:pt x="10" y="5"/>
                  <a:pt x="11" y="6"/>
                </a:cubicBezTo>
                <a:cubicBezTo>
                  <a:pt x="12" y="5"/>
                  <a:pt x="12" y="5"/>
                  <a:pt x="13" y="5"/>
                </a:cubicBezTo>
                <a:cubicBezTo>
                  <a:pt x="13" y="4"/>
                  <a:pt x="13" y="4"/>
                  <a:pt x="13" y="4"/>
                </a:cubicBezTo>
                <a:cubicBezTo>
                  <a:pt x="12" y="4"/>
                  <a:pt x="12" y="3"/>
                  <a:pt x="1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47"/>
          <p:cNvSpPr>
            <a:spLocks/>
          </p:cNvSpPr>
          <p:nvPr/>
        </p:nvSpPr>
        <p:spPr bwMode="auto">
          <a:xfrm>
            <a:off x="1350727" y="3146680"/>
            <a:ext cx="125120" cy="182317"/>
          </a:xfrm>
          <a:custGeom>
            <a:avLst/>
            <a:gdLst>
              <a:gd name="T0" fmla="*/ 4 w 26"/>
              <a:gd name="T1" fmla="*/ 27 h 38"/>
              <a:gd name="T2" fmla="*/ 5 w 26"/>
              <a:gd name="T3" fmla="*/ 27 h 38"/>
              <a:gd name="T4" fmla="*/ 7 w 26"/>
              <a:gd name="T5" fmla="*/ 29 h 38"/>
              <a:gd name="T6" fmla="*/ 7 w 26"/>
              <a:gd name="T7" fmla="*/ 29 h 38"/>
              <a:gd name="T8" fmla="*/ 9 w 26"/>
              <a:gd name="T9" fmla="*/ 29 h 38"/>
              <a:gd name="T10" fmla="*/ 10 w 26"/>
              <a:gd name="T11" fmla="*/ 30 h 38"/>
              <a:gd name="T12" fmla="*/ 12 w 26"/>
              <a:gd name="T13" fmla="*/ 32 h 38"/>
              <a:gd name="T14" fmla="*/ 13 w 26"/>
              <a:gd name="T15" fmla="*/ 33 h 38"/>
              <a:gd name="T16" fmla="*/ 15 w 26"/>
              <a:gd name="T17" fmla="*/ 34 h 38"/>
              <a:gd name="T18" fmla="*/ 16 w 26"/>
              <a:gd name="T19" fmla="*/ 33 h 38"/>
              <a:gd name="T20" fmla="*/ 18 w 26"/>
              <a:gd name="T21" fmla="*/ 33 h 38"/>
              <a:gd name="T22" fmla="*/ 20 w 26"/>
              <a:gd name="T23" fmla="*/ 35 h 38"/>
              <a:gd name="T24" fmla="*/ 18 w 26"/>
              <a:gd name="T25" fmla="*/ 36 h 38"/>
              <a:gd name="T26" fmla="*/ 20 w 26"/>
              <a:gd name="T27" fmla="*/ 38 h 38"/>
              <a:gd name="T28" fmla="*/ 20 w 26"/>
              <a:gd name="T29" fmla="*/ 38 h 38"/>
              <a:gd name="T30" fmla="*/ 21 w 26"/>
              <a:gd name="T31" fmla="*/ 35 h 38"/>
              <a:gd name="T32" fmla="*/ 21 w 26"/>
              <a:gd name="T33" fmla="*/ 31 h 38"/>
              <a:gd name="T34" fmla="*/ 20 w 26"/>
              <a:gd name="T35" fmla="*/ 28 h 38"/>
              <a:gd name="T36" fmla="*/ 21 w 26"/>
              <a:gd name="T37" fmla="*/ 27 h 38"/>
              <a:gd name="T38" fmla="*/ 21 w 26"/>
              <a:gd name="T39" fmla="*/ 26 h 38"/>
              <a:gd name="T40" fmla="*/ 20 w 26"/>
              <a:gd name="T41" fmla="*/ 25 h 38"/>
              <a:gd name="T42" fmla="*/ 24 w 26"/>
              <a:gd name="T43" fmla="*/ 24 h 38"/>
              <a:gd name="T44" fmla="*/ 26 w 26"/>
              <a:gd name="T45" fmla="*/ 24 h 38"/>
              <a:gd name="T46" fmla="*/ 26 w 26"/>
              <a:gd name="T47" fmla="*/ 22 h 38"/>
              <a:gd name="T48" fmla="*/ 26 w 26"/>
              <a:gd name="T49" fmla="*/ 21 h 38"/>
              <a:gd name="T50" fmla="*/ 25 w 26"/>
              <a:gd name="T51" fmla="*/ 19 h 38"/>
              <a:gd name="T52" fmla="*/ 25 w 26"/>
              <a:gd name="T53" fmla="*/ 15 h 38"/>
              <a:gd name="T54" fmla="*/ 23 w 26"/>
              <a:gd name="T55" fmla="*/ 14 h 38"/>
              <a:gd name="T56" fmla="*/ 20 w 26"/>
              <a:gd name="T57" fmla="*/ 13 h 38"/>
              <a:gd name="T58" fmla="*/ 16 w 26"/>
              <a:gd name="T59" fmla="*/ 13 h 38"/>
              <a:gd name="T60" fmla="*/ 14 w 26"/>
              <a:gd name="T61" fmla="*/ 10 h 38"/>
              <a:gd name="T62" fmla="*/ 13 w 26"/>
              <a:gd name="T63" fmla="*/ 8 h 38"/>
              <a:gd name="T64" fmla="*/ 12 w 26"/>
              <a:gd name="T65" fmla="*/ 8 h 38"/>
              <a:gd name="T66" fmla="*/ 13 w 26"/>
              <a:gd name="T67" fmla="*/ 7 h 38"/>
              <a:gd name="T68" fmla="*/ 13 w 26"/>
              <a:gd name="T69" fmla="*/ 5 h 38"/>
              <a:gd name="T70" fmla="*/ 15 w 26"/>
              <a:gd name="T71" fmla="*/ 3 h 38"/>
              <a:gd name="T72" fmla="*/ 16 w 26"/>
              <a:gd name="T73" fmla="*/ 2 h 38"/>
              <a:gd name="T74" fmla="*/ 16 w 26"/>
              <a:gd name="T75" fmla="*/ 2 h 38"/>
              <a:gd name="T76" fmla="*/ 17 w 26"/>
              <a:gd name="T77" fmla="*/ 0 h 38"/>
              <a:gd name="T78" fmla="*/ 14 w 26"/>
              <a:gd name="T79" fmla="*/ 2 h 38"/>
              <a:gd name="T80" fmla="*/ 12 w 26"/>
              <a:gd name="T81" fmla="*/ 3 h 38"/>
              <a:gd name="T82" fmla="*/ 10 w 26"/>
              <a:gd name="T83" fmla="*/ 3 h 38"/>
              <a:gd name="T84" fmla="*/ 9 w 26"/>
              <a:gd name="T85" fmla="*/ 3 h 38"/>
              <a:gd name="T86" fmla="*/ 7 w 26"/>
              <a:gd name="T87" fmla="*/ 5 h 38"/>
              <a:gd name="T88" fmla="*/ 6 w 26"/>
              <a:gd name="T89" fmla="*/ 7 h 38"/>
              <a:gd name="T90" fmla="*/ 4 w 26"/>
              <a:gd name="T91" fmla="*/ 10 h 38"/>
              <a:gd name="T92" fmla="*/ 4 w 26"/>
              <a:gd name="T93" fmla="*/ 10 h 38"/>
              <a:gd name="T94" fmla="*/ 4 w 26"/>
              <a:gd name="T95" fmla="*/ 11 h 38"/>
              <a:gd name="T96" fmla="*/ 2 w 26"/>
              <a:gd name="T97" fmla="*/ 12 h 38"/>
              <a:gd name="T98" fmla="*/ 3 w 26"/>
              <a:gd name="T99" fmla="*/ 13 h 38"/>
              <a:gd name="T100" fmla="*/ 3 w 26"/>
              <a:gd name="T101" fmla="*/ 14 h 38"/>
              <a:gd name="T102" fmla="*/ 3 w 26"/>
              <a:gd name="T103" fmla="*/ 16 h 38"/>
              <a:gd name="T104" fmla="*/ 4 w 26"/>
              <a:gd name="T105" fmla="*/ 19 h 38"/>
              <a:gd name="T106" fmla="*/ 3 w 26"/>
              <a:gd name="T107" fmla="*/ 21 h 38"/>
              <a:gd name="T108" fmla="*/ 1 w 26"/>
              <a:gd name="T109" fmla="*/ 22 h 38"/>
              <a:gd name="T110" fmla="*/ 0 w 26"/>
              <a:gd name="T111" fmla="*/ 24 h 38"/>
              <a:gd name="T112" fmla="*/ 0 w 26"/>
              <a:gd name="T113" fmla="*/ 25 h 38"/>
              <a:gd name="T114" fmla="*/ 2 w 26"/>
              <a:gd name="T115" fmla="*/ 26 h 38"/>
              <a:gd name="T116" fmla="*/ 4 w 26"/>
              <a:gd name="T1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38">
                <a:moveTo>
                  <a:pt x="4" y="27"/>
                </a:moveTo>
                <a:cubicBezTo>
                  <a:pt x="4" y="28"/>
                  <a:pt x="5" y="28"/>
                  <a:pt x="5" y="27"/>
                </a:cubicBezTo>
                <a:cubicBezTo>
                  <a:pt x="6" y="27"/>
                  <a:pt x="6" y="28"/>
                  <a:pt x="7" y="29"/>
                </a:cubicBezTo>
                <a:cubicBezTo>
                  <a:pt x="7" y="29"/>
                  <a:pt x="7" y="29"/>
                  <a:pt x="7" y="29"/>
                </a:cubicBezTo>
                <a:cubicBezTo>
                  <a:pt x="8" y="29"/>
                  <a:pt x="9" y="28"/>
                  <a:pt x="9" y="29"/>
                </a:cubicBezTo>
                <a:cubicBezTo>
                  <a:pt x="10" y="29"/>
                  <a:pt x="10" y="30"/>
                  <a:pt x="10" y="30"/>
                </a:cubicBezTo>
                <a:cubicBezTo>
                  <a:pt x="11" y="31"/>
                  <a:pt x="12" y="31"/>
                  <a:pt x="12" y="32"/>
                </a:cubicBezTo>
                <a:cubicBezTo>
                  <a:pt x="12" y="32"/>
                  <a:pt x="13" y="33"/>
                  <a:pt x="13" y="33"/>
                </a:cubicBezTo>
                <a:cubicBezTo>
                  <a:pt x="13" y="34"/>
                  <a:pt x="15" y="34"/>
                  <a:pt x="15" y="34"/>
                </a:cubicBezTo>
                <a:cubicBezTo>
                  <a:pt x="15" y="33"/>
                  <a:pt x="16" y="33"/>
                  <a:pt x="16" y="33"/>
                </a:cubicBezTo>
                <a:cubicBezTo>
                  <a:pt x="17" y="34"/>
                  <a:pt x="18" y="33"/>
                  <a:pt x="18" y="33"/>
                </a:cubicBezTo>
                <a:cubicBezTo>
                  <a:pt x="18" y="33"/>
                  <a:pt x="20" y="34"/>
                  <a:pt x="20" y="35"/>
                </a:cubicBezTo>
                <a:cubicBezTo>
                  <a:pt x="19" y="35"/>
                  <a:pt x="18" y="36"/>
                  <a:pt x="18" y="36"/>
                </a:cubicBezTo>
                <a:cubicBezTo>
                  <a:pt x="19" y="37"/>
                  <a:pt x="19" y="37"/>
                  <a:pt x="20" y="38"/>
                </a:cubicBezTo>
                <a:cubicBezTo>
                  <a:pt x="20" y="38"/>
                  <a:pt x="20" y="38"/>
                  <a:pt x="20" y="38"/>
                </a:cubicBezTo>
                <a:cubicBezTo>
                  <a:pt x="20" y="37"/>
                  <a:pt x="21" y="35"/>
                  <a:pt x="21" y="35"/>
                </a:cubicBezTo>
                <a:cubicBezTo>
                  <a:pt x="21" y="34"/>
                  <a:pt x="21" y="32"/>
                  <a:pt x="21" y="31"/>
                </a:cubicBezTo>
                <a:cubicBezTo>
                  <a:pt x="21" y="30"/>
                  <a:pt x="20" y="29"/>
                  <a:pt x="20" y="28"/>
                </a:cubicBezTo>
                <a:cubicBezTo>
                  <a:pt x="20" y="27"/>
                  <a:pt x="20" y="27"/>
                  <a:pt x="21" y="27"/>
                </a:cubicBezTo>
                <a:cubicBezTo>
                  <a:pt x="22" y="26"/>
                  <a:pt x="21" y="26"/>
                  <a:pt x="21" y="26"/>
                </a:cubicBezTo>
                <a:cubicBezTo>
                  <a:pt x="20" y="26"/>
                  <a:pt x="20" y="25"/>
                  <a:pt x="20" y="25"/>
                </a:cubicBezTo>
                <a:cubicBezTo>
                  <a:pt x="20" y="24"/>
                  <a:pt x="23" y="24"/>
                  <a:pt x="24" y="24"/>
                </a:cubicBezTo>
                <a:cubicBezTo>
                  <a:pt x="24" y="24"/>
                  <a:pt x="26" y="24"/>
                  <a:pt x="26" y="24"/>
                </a:cubicBezTo>
                <a:cubicBezTo>
                  <a:pt x="26" y="23"/>
                  <a:pt x="26" y="23"/>
                  <a:pt x="26" y="22"/>
                </a:cubicBezTo>
                <a:cubicBezTo>
                  <a:pt x="25" y="22"/>
                  <a:pt x="25" y="21"/>
                  <a:pt x="26" y="21"/>
                </a:cubicBezTo>
                <a:cubicBezTo>
                  <a:pt x="26" y="20"/>
                  <a:pt x="25" y="20"/>
                  <a:pt x="25" y="19"/>
                </a:cubicBezTo>
                <a:cubicBezTo>
                  <a:pt x="24" y="18"/>
                  <a:pt x="25" y="16"/>
                  <a:pt x="25" y="15"/>
                </a:cubicBezTo>
                <a:cubicBezTo>
                  <a:pt x="26" y="14"/>
                  <a:pt x="24" y="14"/>
                  <a:pt x="23" y="14"/>
                </a:cubicBezTo>
                <a:cubicBezTo>
                  <a:pt x="22" y="14"/>
                  <a:pt x="20" y="14"/>
                  <a:pt x="20" y="13"/>
                </a:cubicBezTo>
                <a:cubicBezTo>
                  <a:pt x="19" y="12"/>
                  <a:pt x="18" y="13"/>
                  <a:pt x="16" y="13"/>
                </a:cubicBezTo>
                <a:cubicBezTo>
                  <a:pt x="14" y="13"/>
                  <a:pt x="14" y="11"/>
                  <a:pt x="14" y="10"/>
                </a:cubicBezTo>
                <a:cubicBezTo>
                  <a:pt x="15" y="9"/>
                  <a:pt x="13" y="9"/>
                  <a:pt x="13" y="8"/>
                </a:cubicBezTo>
                <a:cubicBezTo>
                  <a:pt x="13" y="8"/>
                  <a:pt x="13" y="8"/>
                  <a:pt x="12" y="8"/>
                </a:cubicBezTo>
                <a:cubicBezTo>
                  <a:pt x="12" y="8"/>
                  <a:pt x="12" y="7"/>
                  <a:pt x="13" y="7"/>
                </a:cubicBezTo>
                <a:cubicBezTo>
                  <a:pt x="13" y="6"/>
                  <a:pt x="13" y="6"/>
                  <a:pt x="13" y="5"/>
                </a:cubicBezTo>
                <a:cubicBezTo>
                  <a:pt x="13" y="4"/>
                  <a:pt x="14" y="3"/>
                  <a:pt x="15" y="3"/>
                </a:cubicBezTo>
                <a:cubicBezTo>
                  <a:pt x="15" y="2"/>
                  <a:pt x="15" y="2"/>
                  <a:pt x="16" y="2"/>
                </a:cubicBezTo>
                <a:cubicBezTo>
                  <a:pt x="16" y="2"/>
                  <a:pt x="16" y="2"/>
                  <a:pt x="16" y="2"/>
                </a:cubicBezTo>
                <a:cubicBezTo>
                  <a:pt x="17" y="2"/>
                  <a:pt x="18" y="1"/>
                  <a:pt x="17" y="0"/>
                </a:cubicBezTo>
                <a:cubicBezTo>
                  <a:pt x="16" y="0"/>
                  <a:pt x="15" y="1"/>
                  <a:pt x="14" y="2"/>
                </a:cubicBezTo>
                <a:cubicBezTo>
                  <a:pt x="13" y="2"/>
                  <a:pt x="13" y="2"/>
                  <a:pt x="12" y="3"/>
                </a:cubicBezTo>
                <a:cubicBezTo>
                  <a:pt x="12" y="3"/>
                  <a:pt x="10" y="3"/>
                  <a:pt x="10" y="3"/>
                </a:cubicBezTo>
                <a:cubicBezTo>
                  <a:pt x="10" y="4"/>
                  <a:pt x="10" y="3"/>
                  <a:pt x="9" y="3"/>
                </a:cubicBezTo>
                <a:cubicBezTo>
                  <a:pt x="9" y="3"/>
                  <a:pt x="7" y="4"/>
                  <a:pt x="7" y="5"/>
                </a:cubicBezTo>
                <a:cubicBezTo>
                  <a:pt x="7" y="6"/>
                  <a:pt x="8" y="7"/>
                  <a:pt x="6" y="7"/>
                </a:cubicBezTo>
                <a:cubicBezTo>
                  <a:pt x="5" y="8"/>
                  <a:pt x="5" y="9"/>
                  <a:pt x="4" y="10"/>
                </a:cubicBezTo>
                <a:cubicBezTo>
                  <a:pt x="4" y="10"/>
                  <a:pt x="4" y="10"/>
                  <a:pt x="4" y="10"/>
                </a:cubicBezTo>
                <a:cubicBezTo>
                  <a:pt x="4" y="10"/>
                  <a:pt x="4" y="10"/>
                  <a:pt x="4" y="11"/>
                </a:cubicBezTo>
                <a:cubicBezTo>
                  <a:pt x="3" y="11"/>
                  <a:pt x="3" y="11"/>
                  <a:pt x="2" y="12"/>
                </a:cubicBezTo>
                <a:cubicBezTo>
                  <a:pt x="2" y="12"/>
                  <a:pt x="3" y="13"/>
                  <a:pt x="3" y="13"/>
                </a:cubicBezTo>
                <a:cubicBezTo>
                  <a:pt x="3" y="13"/>
                  <a:pt x="3" y="14"/>
                  <a:pt x="3" y="14"/>
                </a:cubicBezTo>
                <a:cubicBezTo>
                  <a:pt x="3" y="15"/>
                  <a:pt x="4" y="15"/>
                  <a:pt x="3" y="16"/>
                </a:cubicBezTo>
                <a:cubicBezTo>
                  <a:pt x="3" y="16"/>
                  <a:pt x="3" y="19"/>
                  <a:pt x="4" y="19"/>
                </a:cubicBezTo>
                <a:cubicBezTo>
                  <a:pt x="4" y="20"/>
                  <a:pt x="4" y="20"/>
                  <a:pt x="3" y="21"/>
                </a:cubicBezTo>
                <a:cubicBezTo>
                  <a:pt x="3" y="22"/>
                  <a:pt x="2" y="22"/>
                  <a:pt x="1" y="22"/>
                </a:cubicBezTo>
                <a:cubicBezTo>
                  <a:pt x="0" y="23"/>
                  <a:pt x="0" y="24"/>
                  <a:pt x="0" y="24"/>
                </a:cubicBezTo>
                <a:cubicBezTo>
                  <a:pt x="0" y="24"/>
                  <a:pt x="0" y="24"/>
                  <a:pt x="0" y="25"/>
                </a:cubicBezTo>
                <a:cubicBezTo>
                  <a:pt x="1" y="25"/>
                  <a:pt x="2" y="26"/>
                  <a:pt x="2" y="26"/>
                </a:cubicBezTo>
                <a:cubicBezTo>
                  <a:pt x="3" y="26"/>
                  <a:pt x="3" y="27"/>
                  <a:pt x="4"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48"/>
          <p:cNvSpPr>
            <a:spLocks/>
          </p:cNvSpPr>
          <p:nvPr/>
        </p:nvSpPr>
        <p:spPr bwMode="auto">
          <a:xfrm>
            <a:off x="1454398" y="3386195"/>
            <a:ext cx="128695" cy="150144"/>
          </a:xfrm>
          <a:custGeom>
            <a:avLst/>
            <a:gdLst>
              <a:gd name="T0" fmla="*/ 26 w 27"/>
              <a:gd name="T1" fmla="*/ 18 h 31"/>
              <a:gd name="T2" fmla="*/ 25 w 27"/>
              <a:gd name="T3" fmla="*/ 16 h 31"/>
              <a:gd name="T4" fmla="*/ 23 w 27"/>
              <a:gd name="T5" fmla="*/ 15 h 31"/>
              <a:gd name="T6" fmla="*/ 21 w 27"/>
              <a:gd name="T7" fmla="*/ 14 h 31"/>
              <a:gd name="T8" fmla="*/ 21 w 27"/>
              <a:gd name="T9" fmla="*/ 12 h 31"/>
              <a:gd name="T10" fmla="*/ 20 w 27"/>
              <a:gd name="T11" fmla="*/ 10 h 31"/>
              <a:gd name="T12" fmla="*/ 19 w 27"/>
              <a:gd name="T13" fmla="*/ 9 h 31"/>
              <a:gd name="T14" fmla="*/ 17 w 27"/>
              <a:gd name="T15" fmla="*/ 8 h 31"/>
              <a:gd name="T16" fmla="*/ 15 w 27"/>
              <a:gd name="T17" fmla="*/ 7 h 31"/>
              <a:gd name="T18" fmla="*/ 14 w 27"/>
              <a:gd name="T19" fmla="*/ 7 h 31"/>
              <a:gd name="T20" fmla="*/ 13 w 27"/>
              <a:gd name="T21" fmla="*/ 6 h 31"/>
              <a:gd name="T22" fmla="*/ 10 w 27"/>
              <a:gd name="T23" fmla="*/ 5 h 31"/>
              <a:gd name="T24" fmla="*/ 9 w 27"/>
              <a:gd name="T25" fmla="*/ 0 h 31"/>
              <a:gd name="T26" fmla="*/ 7 w 27"/>
              <a:gd name="T27" fmla="*/ 0 h 31"/>
              <a:gd name="T28" fmla="*/ 5 w 27"/>
              <a:gd name="T29" fmla="*/ 2 h 31"/>
              <a:gd name="T30" fmla="*/ 3 w 27"/>
              <a:gd name="T31" fmla="*/ 2 h 31"/>
              <a:gd name="T32" fmla="*/ 1 w 27"/>
              <a:gd name="T33" fmla="*/ 3 h 31"/>
              <a:gd name="T34" fmla="*/ 0 w 27"/>
              <a:gd name="T35" fmla="*/ 3 h 31"/>
              <a:gd name="T36" fmla="*/ 2 w 27"/>
              <a:gd name="T37" fmla="*/ 6 h 31"/>
              <a:gd name="T38" fmla="*/ 1 w 27"/>
              <a:gd name="T39" fmla="*/ 7 h 31"/>
              <a:gd name="T40" fmla="*/ 1 w 27"/>
              <a:gd name="T41" fmla="*/ 10 h 31"/>
              <a:gd name="T42" fmla="*/ 1 w 27"/>
              <a:gd name="T43" fmla="*/ 12 h 31"/>
              <a:gd name="T44" fmla="*/ 0 w 27"/>
              <a:gd name="T45" fmla="*/ 14 h 31"/>
              <a:gd name="T46" fmla="*/ 1 w 27"/>
              <a:gd name="T47" fmla="*/ 15 h 31"/>
              <a:gd name="T48" fmla="*/ 0 w 27"/>
              <a:gd name="T49" fmla="*/ 17 h 31"/>
              <a:gd name="T50" fmla="*/ 0 w 27"/>
              <a:gd name="T51" fmla="*/ 18 h 31"/>
              <a:gd name="T52" fmla="*/ 0 w 27"/>
              <a:gd name="T53" fmla="*/ 19 h 31"/>
              <a:gd name="T54" fmla="*/ 1 w 27"/>
              <a:gd name="T55" fmla="*/ 21 h 31"/>
              <a:gd name="T56" fmla="*/ 2 w 27"/>
              <a:gd name="T57" fmla="*/ 22 h 31"/>
              <a:gd name="T58" fmla="*/ 1 w 27"/>
              <a:gd name="T59" fmla="*/ 24 h 31"/>
              <a:gd name="T60" fmla="*/ 2 w 27"/>
              <a:gd name="T61" fmla="*/ 26 h 31"/>
              <a:gd name="T62" fmla="*/ 3 w 27"/>
              <a:gd name="T63" fmla="*/ 28 h 31"/>
              <a:gd name="T64" fmla="*/ 4 w 27"/>
              <a:gd name="T65" fmla="*/ 30 h 31"/>
              <a:gd name="T66" fmla="*/ 7 w 27"/>
              <a:gd name="T67" fmla="*/ 28 h 31"/>
              <a:gd name="T68" fmla="*/ 9 w 27"/>
              <a:gd name="T69" fmla="*/ 28 h 31"/>
              <a:gd name="T70" fmla="*/ 11 w 27"/>
              <a:gd name="T71" fmla="*/ 29 h 31"/>
              <a:gd name="T72" fmla="*/ 12 w 27"/>
              <a:gd name="T73" fmla="*/ 28 h 31"/>
              <a:gd name="T74" fmla="*/ 15 w 27"/>
              <a:gd name="T75" fmla="*/ 28 h 31"/>
              <a:gd name="T76" fmla="*/ 16 w 27"/>
              <a:gd name="T77" fmla="*/ 25 h 31"/>
              <a:gd name="T78" fmla="*/ 18 w 27"/>
              <a:gd name="T79" fmla="*/ 23 h 31"/>
              <a:gd name="T80" fmla="*/ 20 w 27"/>
              <a:gd name="T81" fmla="*/ 22 h 31"/>
              <a:gd name="T82" fmla="*/ 23 w 27"/>
              <a:gd name="T83" fmla="*/ 22 h 31"/>
              <a:gd name="T84" fmla="*/ 25 w 27"/>
              <a:gd name="T85" fmla="*/ 23 h 31"/>
              <a:gd name="T86" fmla="*/ 26 w 27"/>
              <a:gd name="T87" fmla="*/ 21 h 31"/>
              <a:gd name="T88" fmla="*/ 26 w 27"/>
              <a:gd name="T8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1">
                <a:moveTo>
                  <a:pt x="26" y="18"/>
                </a:moveTo>
                <a:cubicBezTo>
                  <a:pt x="26" y="17"/>
                  <a:pt x="25" y="17"/>
                  <a:pt x="25" y="16"/>
                </a:cubicBezTo>
                <a:cubicBezTo>
                  <a:pt x="25" y="15"/>
                  <a:pt x="25" y="15"/>
                  <a:pt x="23" y="15"/>
                </a:cubicBezTo>
                <a:cubicBezTo>
                  <a:pt x="22" y="15"/>
                  <a:pt x="21" y="15"/>
                  <a:pt x="21" y="14"/>
                </a:cubicBezTo>
                <a:cubicBezTo>
                  <a:pt x="21" y="13"/>
                  <a:pt x="20" y="12"/>
                  <a:pt x="21" y="12"/>
                </a:cubicBezTo>
                <a:cubicBezTo>
                  <a:pt x="21" y="12"/>
                  <a:pt x="20" y="11"/>
                  <a:pt x="20" y="10"/>
                </a:cubicBezTo>
                <a:cubicBezTo>
                  <a:pt x="20" y="10"/>
                  <a:pt x="20" y="9"/>
                  <a:pt x="19" y="9"/>
                </a:cubicBezTo>
                <a:cubicBezTo>
                  <a:pt x="19" y="8"/>
                  <a:pt x="17" y="9"/>
                  <a:pt x="17" y="8"/>
                </a:cubicBezTo>
                <a:cubicBezTo>
                  <a:pt x="17" y="8"/>
                  <a:pt x="16" y="7"/>
                  <a:pt x="15" y="7"/>
                </a:cubicBezTo>
                <a:cubicBezTo>
                  <a:pt x="14" y="7"/>
                  <a:pt x="15" y="7"/>
                  <a:pt x="14" y="7"/>
                </a:cubicBezTo>
                <a:cubicBezTo>
                  <a:pt x="13" y="7"/>
                  <a:pt x="14" y="6"/>
                  <a:pt x="13" y="6"/>
                </a:cubicBezTo>
                <a:cubicBezTo>
                  <a:pt x="12" y="6"/>
                  <a:pt x="11" y="6"/>
                  <a:pt x="10" y="5"/>
                </a:cubicBezTo>
                <a:cubicBezTo>
                  <a:pt x="9" y="4"/>
                  <a:pt x="9" y="1"/>
                  <a:pt x="9" y="0"/>
                </a:cubicBezTo>
                <a:cubicBezTo>
                  <a:pt x="9" y="0"/>
                  <a:pt x="8" y="0"/>
                  <a:pt x="7" y="0"/>
                </a:cubicBezTo>
                <a:cubicBezTo>
                  <a:pt x="6" y="0"/>
                  <a:pt x="5" y="1"/>
                  <a:pt x="5" y="2"/>
                </a:cubicBezTo>
                <a:cubicBezTo>
                  <a:pt x="4" y="2"/>
                  <a:pt x="3" y="2"/>
                  <a:pt x="3" y="2"/>
                </a:cubicBezTo>
                <a:cubicBezTo>
                  <a:pt x="2" y="3"/>
                  <a:pt x="1" y="3"/>
                  <a:pt x="1" y="3"/>
                </a:cubicBezTo>
                <a:cubicBezTo>
                  <a:pt x="1" y="3"/>
                  <a:pt x="0" y="3"/>
                  <a:pt x="0" y="3"/>
                </a:cubicBezTo>
                <a:cubicBezTo>
                  <a:pt x="0" y="4"/>
                  <a:pt x="1" y="5"/>
                  <a:pt x="2" y="6"/>
                </a:cubicBezTo>
                <a:cubicBezTo>
                  <a:pt x="2" y="7"/>
                  <a:pt x="1" y="7"/>
                  <a:pt x="1" y="7"/>
                </a:cubicBezTo>
                <a:cubicBezTo>
                  <a:pt x="1" y="7"/>
                  <a:pt x="1" y="10"/>
                  <a:pt x="1" y="10"/>
                </a:cubicBezTo>
                <a:cubicBezTo>
                  <a:pt x="1" y="11"/>
                  <a:pt x="0" y="12"/>
                  <a:pt x="1" y="12"/>
                </a:cubicBezTo>
                <a:cubicBezTo>
                  <a:pt x="1" y="12"/>
                  <a:pt x="0" y="13"/>
                  <a:pt x="0" y="14"/>
                </a:cubicBezTo>
                <a:cubicBezTo>
                  <a:pt x="0" y="15"/>
                  <a:pt x="1" y="15"/>
                  <a:pt x="1" y="15"/>
                </a:cubicBezTo>
                <a:cubicBezTo>
                  <a:pt x="1" y="15"/>
                  <a:pt x="0" y="16"/>
                  <a:pt x="0" y="17"/>
                </a:cubicBezTo>
                <a:cubicBezTo>
                  <a:pt x="0" y="17"/>
                  <a:pt x="0" y="17"/>
                  <a:pt x="0" y="18"/>
                </a:cubicBezTo>
                <a:cubicBezTo>
                  <a:pt x="0" y="18"/>
                  <a:pt x="0" y="18"/>
                  <a:pt x="0" y="19"/>
                </a:cubicBezTo>
                <a:cubicBezTo>
                  <a:pt x="1" y="19"/>
                  <a:pt x="0" y="20"/>
                  <a:pt x="1" y="21"/>
                </a:cubicBezTo>
                <a:cubicBezTo>
                  <a:pt x="2" y="22"/>
                  <a:pt x="2" y="22"/>
                  <a:pt x="2" y="22"/>
                </a:cubicBezTo>
                <a:cubicBezTo>
                  <a:pt x="1" y="23"/>
                  <a:pt x="2" y="23"/>
                  <a:pt x="1" y="24"/>
                </a:cubicBezTo>
                <a:cubicBezTo>
                  <a:pt x="1" y="24"/>
                  <a:pt x="2" y="25"/>
                  <a:pt x="2" y="26"/>
                </a:cubicBezTo>
                <a:cubicBezTo>
                  <a:pt x="3" y="26"/>
                  <a:pt x="2" y="27"/>
                  <a:pt x="3" y="28"/>
                </a:cubicBezTo>
                <a:cubicBezTo>
                  <a:pt x="4" y="28"/>
                  <a:pt x="3" y="30"/>
                  <a:pt x="4" y="30"/>
                </a:cubicBezTo>
                <a:cubicBezTo>
                  <a:pt x="4" y="31"/>
                  <a:pt x="6" y="29"/>
                  <a:pt x="7" y="28"/>
                </a:cubicBezTo>
                <a:cubicBezTo>
                  <a:pt x="8" y="27"/>
                  <a:pt x="8" y="28"/>
                  <a:pt x="9" y="28"/>
                </a:cubicBezTo>
                <a:cubicBezTo>
                  <a:pt x="10" y="28"/>
                  <a:pt x="11" y="28"/>
                  <a:pt x="11" y="29"/>
                </a:cubicBezTo>
                <a:cubicBezTo>
                  <a:pt x="12" y="30"/>
                  <a:pt x="12" y="28"/>
                  <a:pt x="12" y="28"/>
                </a:cubicBezTo>
                <a:cubicBezTo>
                  <a:pt x="13" y="28"/>
                  <a:pt x="15" y="28"/>
                  <a:pt x="15" y="28"/>
                </a:cubicBezTo>
                <a:cubicBezTo>
                  <a:pt x="16" y="28"/>
                  <a:pt x="16" y="25"/>
                  <a:pt x="16" y="25"/>
                </a:cubicBezTo>
                <a:cubicBezTo>
                  <a:pt x="16" y="24"/>
                  <a:pt x="17" y="23"/>
                  <a:pt x="18" y="23"/>
                </a:cubicBezTo>
                <a:cubicBezTo>
                  <a:pt x="18" y="22"/>
                  <a:pt x="20" y="22"/>
                  <a:pt x="20" y="22"/>
                </a:cubicBezTo>
                <a:cubicBezTo>
                  <a:pt x="21" y="22"/>
                  <a:pt x="22" y="22"/>
                  <a:pt x="23" y="22"/>
                </a:cubicBezTo>
                <a:cubicBezTo>
                  <a:pt x="24" y="22"/>
                  <a:pt x="24" y="23"/>
                  <a:pt x="25" y="23"/>
                </a:cubicBezTo>
                <a:cubicBezTo>
                  <a:pt x="26" y="23"/>
                  <a:pt x="26" y="22"/>
                  <a:pt x="26" y="21"/>
                </a:cubicBezTo>
                <a:cubicBezTo>
                  <a:pt x="26" y="20"/>
                  <a:pt x="27" y="19"/>
                  <a:pt x="26"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49"/>
          <p:cNvSpPr>
            <a:spLocks/>
          </p:cNvSpPr>
          <p:nvPr/>
        </p:nvSpPr>
        <p:spPr bwMode="auto">
          <a:xfrm>
            <a:off x="1322129" y="3278949"/>
            <a:ext cx="139419" cy="203766"/>
          </a:xfrm>
          <a:custGeom>
            <a:avLst/>
            <a:gdLst>
              <a:gd name="T0" fmla="*/ 27 w 29"/>
              <a:gd name="T1" fmla="*/ 40 h 42"/>
              <a:gd name="T2" fmla="*/ 27 w 29"/>
              <a:gd name="T3" fmla="*/ 40 h 42"/>
              <a:gd name="T4" fmla="*/ 27 w 29"/>
              <a:gd name="T5" fmla="*/ 39 h 42"/>
              <a:gd name="T6" fmla="*/ 28 w 29"/>
              <a:gd name="T7" fmla="*/ 37 h 42"/>
              <a:gd name="T8" fmla="*/ 27 w 29"/>
              <a:gd name="T9" fmla="*/ 36 h 42"/>
              <a:gd name="T10" fmla="*/ 28 w 29"/>
              <a:gd name="T11" fmla="*/ 34 h 42"/>
              <a:gd name="T12" fmla="*/ 28 w 29"/>
              <a:gd name="T13" fmla="*/ 32 h 42"/>
              <a:gd name="T14" fmla="*/ 28 w 29"/>
              <a:gd name="T15" fmla="*/ 29 h 42"/>
              <a:gd name="T16" fmla="*/ 29 w 29"/>
              <a:gd name="T17" fmla="*/ 28 h 42"/>
              <a:gd name="T18" fmla="*/ 27 w 29"/>
              <a:gd name="T19" fmla="*/ 25 h 42"/>
              <a:gd name="T20" fmla="*/ 25 w 29"/>
              <a:gd name="T21" fmla="*/ 25 h 42"/>
              <a:gd name="T22" fmla="*/ 24 w 29"/>
              <a:gd name="T23" fmla="*/ 22 h 42"/>
              <a:gd name="T24" fmla="*/ 23 w 29"/>
              <a:gd name="T25" fmla="*/ 22 h 42"/>
              <a:gd name="T26" fmla="*/ 21 w 29"/>
              <a:gd name="T27" fmla="*/ 23 h 42"/>
              <a:gd name="T28" fmla="*/ 20 w 29"/>
              <a:gd name="T29" fmla="*/ 21 h 42"/>
              <a:gd name="T30" fmla="*/ 19 w 29"/>
              <a:gd name="T31" fmla="*/ 20 h 42"/>
              <a:gd name="T32" fmla="*/ 18 w 29"/>
              <a:gd name="T33" fmla="*/ 19 h 42"/>
              <a:gd name="T34" fmla="*/ 17 w 29"/>
              <a:gd name="T35" fmla="*/ 17 h 42"/>
              <a:gd name="T36" fmla="*/ 18 w 29"/>
              <a:gd name="T37" fmla="*/ 15 h 42"/>
              <a:gd name="T38" fmla="*/ 19 w 29"/>
              <a:gd name="T39" fmla="*/ 14 h 42"/>
              <a:gd name="T40" fmla="*/ 19 w 29"/>
              <a:gd name="T41" fmla="*/ 12 h 42"/>
              <a:gd name="T42" fmla="*/ 21 w 29"/>
              <a:gd name="T43" fmla="*/ 11 h 42"/>
              <a:gd name="T44" fmla="*/ 24 w 29"/>
              <a:gd name="T45" fmla="*/ 10 h 42"/>
              <a:gd name="T46" fmla="*/ 26 w 29"/>
              <a:gd name="T47" fmla="*/ 10 h 42"/>
              <a:gd name="T48" fmla="*/ 24 w 29"/>
              <a:gd name="T49" fmla="*/ 8 h 42"/>
              <a:gd name="T50" fmla="*/ 26 w 29"/>
              <a:gd name="T51" fmla="*/ 7 h 42"/>
              <a:gd name="T52" fmla="*/ 24 w 29"/>
              <a:gd name="T53" fmla="*/ 5 h 42"/>
              <a:gd name="T54" fmla="*/ 22 w 29"/>
              <a:gd name="T55" fmla="*/ 5 h 42"/>
              <a:gd name="T56" fmla="*/ 21 w 29"/>
              <a:gd name="T57" fmla="*/ 6 h 42"/>
              <a:gd name="T58" fmla="*/ 19 w 29"/>
              <a:gd name="T59" fmla="*/ 5 h 42"/>
              <a:gd name="T60" fmla="*/ 18 w 29"/>
              <a:gd name="T61" fmla="*/ 4 h 42"/>
              <a:gd name="T62" fmla="*/ 16 w 29"/>
              <a:gd name="T63" fmla="*/ 2 h 42"/>
              <a:gd name="T64" fmla="*/ 15 w 29"/>
              <a:gd name="T65" fmla="*/ 1 h 42"/>
              <a:gd name="T66" fmla="*/ 13 w 29"/>
              <a:gd name="T67" fmla="*/ 1 h 42"/>
              <a:gd name="T68" fmla="*/ 14 w 29"/>
              <a:gd name="T69" fmla="*/ 2 h 42"/>
              <a:gd name="T70" fmla="*/ 12 w 29"/>
              <a:gd name="T71" fmla="*/ 5 h 42"/>
              <a:gd name="T72" fmla="*/ 8 w 29"/>
              <a:gd name="T73" fmla="*/ 7 h 42"/>
              <a:gd name="T74" fmla="*/ 6 w 29"/>
              <a:gd name="T75" fmla="*/ 10 h 42"/>
              <a:gd name="T76" fmla="*/ 5 w 29"/>
              <a:gd name="T77" fmla="*/ 10 h 42"/>
              <a:gd name="T78" fmla="*/ 3 w 29"/>
              <a:gd name="T79" fmla="*/ 10 h 42"/>
              <a:gd name="T80" fmla="*/ 3 w 29"/>
              <a:gd name="T81" fmla="*/ 9 h 42"/>
              <a:gd name="T82" fmla="*/ 2 w 29"/>
              <a:gd name="T83" fmla="*/ 8 h 42"/>
              <a:gd name="T84" fmla="*/ 1 w 29"/>
              <a:gd name="T85" fmla="*/ 10 h 42"/>
              <a:gd name="T86" fmla="*/ 1 w 29"/>
              <a:gd name="T87" fmla="*/ 13 h 42"/>
              <a:gd name="T88" fmla="*/ 1 w 29"/>
              <a:gd name="T89" fmla="*/ 13 h 42"/>
              <a:gd name="T90" fmla="*/ 3 w 29"/>
              <a:gd name="T91" fmla="*/ 15 h 42"/>
              <a:gd name="T92" fmla="*/ 5 w 29"/>
              <a:gd name="T93" fmla="*/ 18 h 42"/>
              <a:gd name="T94" fmla="*/ 7 w 29"/>
              <a:gd name="T95" fmla="*/ 22 h 42"/>
              <a:gd name="T96" fmla="*/ 10 w 29"/>
              <a:gd name="T97" fmla="*/ 28 h 42"/>
              <a:gd name="T98" fmla="*/ 12 w 29"/>
              <a:gd name="T99" fmla="*/ 31 h 42"/>
              <a:gd name="T100" fmla="*/ 12 w 29"/>
              <a:gd name="T101" fmla="*/ 33 h 42"/>
              <a:gd name="T102" fmla="*/ 16 w 29"/>
              <a:gd name="T103" fmla="*/ 35 h 42"/>
              <a:gd name="T104" fmla="*/ 22 w 29"/>
              <a:gd name="T105" fmla="*/ 39 h 42"/>
              <a:gd name="T106" fmla="*/ 25 w 29"/>
              <a:gd name="T107" fmla="*/ 41 h 42"/>
              <a:gd name="T108" fmla="*/ 25 w 29"/>
              <a:gd name="T109" fmla="*/ 42 h 42"/>
              <a:gd name="T110" fmla="*/ 26 w 29"/>
              <a:gd name="T111" fmla="*/ 41 h 42"/>
              <a:gd name="T112" fmla="*/ 27 w 29"/>
              <a:gd name="T11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42">
                <a:moveTo>
                  <a:pt x="27" y="40"/>
                </a:moveTo>
                <a:cubicBezTo>
                  <a:pt x="27" y="40"/>
                  <a:pt x="27" y="40"/>
                  <a:pt x="27" y="40"/>
                </a:cubicBezTo>
                <a:cubicBezTo>
                  <a:pt x="27" y="39"/>
                  <a:pt x="27" y="39"/>
                  <a:pt x="27" y="39"/>
                </a:cubicBezTo>
                <a:cubicBezTo>
                  <a:pt x="27" y="38"/>
                  <a:pt x="28" y="37"/>
                  <a:pt x="28" y="37"/>
                </a:cubicBezTo>
                <a:cubicBezTo>
                  <a:pt x="28" y="37"/>
                  <a:pt x="27" y="37"/>
                  <a:pt x="27" y="36"/>
                </a:cubicBezTo>
                <a:cubicBezTo>
                  <a:pt x="27" y="35"/>
                  <a:pt x="28" y="34"/>
                  <a:pt x="28" y="34"/>
                </a:cubicBezTo>
                <a:cubicBezTo>
                  <a:pt x="27" y="34"/>
                  <a:pt x="28" y="33"/>
                  <a:pt x="28" y="32"/>
                </a:cubicBezTo>
                <a:cubicBezTo>
                  <a:pt x="28" y="32"/>
                  <a:pt x="28" y="29"/>
                  <a:pt x="28" y="29"/>
                </a:cubicBezTo>
                <a:cubicBezTo>
                  <a:pt x="28" y="29"/>
                  <a:pt x="29" y="29"/>
                  <a:pt x="29" y="28"/>
                </a:cubicBezTo>
                <a:cubicBezTo>
                  <a:pt x="28" y="27"/>
                  <a:pt x="27" y="26"/>
                  <a:pt x="27" y="25"/>
                </a:cubicBezTo>
                <a:cubicBezTo>
                  <a:pt x="26" y="25"/>
                  <a:pt x="25" y="25"/>
                  <a:pt x="25" y="25"/>
                </a:cubicBezTo>
                <a:cubicBezTo>
                  <a:pt x="24" y="25"/>
                  <a:pt x="24" y="23"/>
                  <a:pt x="24" y="22"/>
                </a:cubicBezTo>
                <a:cubicBezTo>
                  <a:pt x="24" y="21"/>
                  <a:pt x="24" y="22"/>
                  <a:pt x="23" y="22"/>
                </a:cubicBezTo>
                <a:cubicBezTo>
                  <a:pt x="23" y="23"/>
                  <a:pt x="22" y="23"/>
                  <a:pt x="21" y="23"/>
                </a:cubicBezTo>
                <a:cubicBezTo>
                  <a:pt x="20" y="23"/>
                  <a:pt x="21" y="21"/>
                  <a:pt x="20" y="21"/>
                </a:cubicBezTo>
                <a:cubicBezTo>
                  <a:pt x="19" y="21"/>
                  <a:pt x="19" y="21"/>
                  <a:pt x="19" y="20"/>
                </a:cubicBezTo>
                <a:cubicBezTo>
                  <a:pt x="19" y="20"/>
                  <a:pt x="18" y="19"/>
                  <a:pt x="18" y="19"/>
                </a:cubicBezTo>
                <a:cubicBezTo>
                  <a:pt x="17" y="18"/>
                  <a:pt x="17" y="17"/>
                  <a:pt x="17" y="17"/>
                </a:cubicBezTo>
                <a:cubicBezTo>
                  <a:pt x="18" y="16"/>
                  <a:pt x="17" y="16"/>
                  <a:pt x="18" y="15"/>
                </a:cubicBezTo>
                <a:cubicBezTo>
                  <a:pt x="18" y="15"/>
                  <a:pt x="19" y="15"/>
                  <a:pt x="19" y="14"/>
                </a:cubicBezTo>
                <a:cubicBezTo>
                  <a:pt x="18" y="13"/>
                  <a:pt x="19" y="13"/>
                  <a:pt x="19" y="12"/>
                </a:cubicBezTo>
                <a:cubicBezTo>
                  <a:pt x="19" y="11"/>
                  <a:pt x="20" y="11"/>
                  <a:pt x="21" y="11"/>
                </a:cubicBezTo>
                <a:cubicBezTo>
                  <a:pt x="22" y="10"/>
                  <a:pt x="23" y="10"/>
                  <a:pt x="24" y="10"/>
                </a:cubicBezTo>
                <a:cubicBezTo>
                  <a:pt x="25" y="9"/>
                  <a:pt x="25" y="10"/>
                  <a:pt x="26" y="10"/>
                </a:cubicBezTo>
                <a:cubicBezTo>
                  <a:pt x="25" y="9"/>
                  <a:pt x="25" y="9"/>
                  <a:pt x="24" y="8"/>
                </a:cubicBezTo>
                <a:cubicBezTo>
                  <a:pt x="24" y="8"/>
                  <a:pt x="25" y="7"/>
                  <a:pt x="26" y="7"/>
                </a:cubicBezTo>
                <a:cubicBezTo>
                  <a:pt x="26" y="6"/>
                  <a:pt x="24" y="5"/>
                  <a:pt x="24" y="5"/>
                </a:cubicBezTo>
                <a:cubicBezTo>
                  <a:pt x="24" y="5"/>
                  <a:pt x="23" y="6"/>
                  <a:pt x="22" y="5"/>
                </a:cubicBezTo>
                <a:cubicBezTo>
                  <a:pt x="22" y="5"/>
                  <a:pt x="21" y="5"/>
                  <a:pt x="21" y="6"/>
                </a:cubicBezTo>
                <a:cubicBezTo>
                  <a:pt x="21" y="6"/>
                  <a:pt x="19" y="6"/>
                  <a:pt x="19" y="5"/>
                </a:cubicBezTo>
                <a:cubicBezTo>
                  <a:pt x="19" y="5"/>
                  <a:pt x="18" y="4"/>
                  <a:pt x="18" y="4"/>
                </a:cubicBezTo>
                <a:cubicBezTo>
                  <a:pt x="18" y="3"/>
                  <a:pt x="17" y="3"/>
                  <a:pt x="16" y="2"/>
                </a:cubicBezTo>
                <a:cubicBezTo>
                  <a:pt x="16" y="2"/>
                  <a:pt x="16" y="1"/>
                  <a:pt x="15" y="1"/>
                </a:cubicBezTo>
                <a:cubicBezTo>
                  <a:pt x="15" y="0"/>
                  <a:pt x="14" y="1"/>
                  <a:pt x="13" y="1"/>
                </a:cubicBezTo>
                <a:cubicBezTo>
                  <a:pt x="14" y="2"/>
                  <a:pt x="14" y="2"/>
                  <a:pt x="14" y="2"/>
                </a:cubicBezTo>
                <a:cubicBezTo>
                  <a:pt x="13" y="3"/>
                  <a:pt x="14" y="3"/>
                  <a:pt x="12" y="5"/>
                </a:cubicBezTo>
                <a:cubicBezTo>
                  <a:pt x="11" y="6"/>
                  <a:pt x="9" y="7"/>
                  <a:pt x="8" y="7"/>
                </a:cubicBezTo>
                <a:cubicBezTo>
                  <a:pt x="7" y="7"/>
                  <a:pt x="7" y="9"/>
                  <a:pt x="6" y="10"/>
                </a:cubicBezTo>
                <a:cubicBezTo>
                  <a:pt x="6" y="12"/>
                  <a:pt x="5" y="11"/>
                  <a:pt x="5" y="10"/>
                </a:cubicBezTo>
                <a:cubicBezTo>
                  <a:pt x="4" y="10"/>
                  <a:pt x="4" y="11"/>
                  <a:pt x="3" y="10"/>
                </a:cubicBezTo>
                <a:cubicBezTo>
                  <a:pt x="2" y="9"/>
                  <a:pt x="2" y="9"/>
                  <a:pt x="3" y="9"/>
                </a:cubicBezTo>
                <a:cubicBezTo>
                  <a:pt x="3" y="9"/>
                  <a:pt x="3" y="8"/>
                  <a:pt x="2" y="8"/>
                </a:cubicBezTo>
                <a:cubicBezTo>
                  <a:pt x="2" y="8"/>
                  <a:pt x="1" y="9"/>
                  <a:pt x="1" y="10"/>
                </a:cubicBezTo>
                <a:cubicBezTo>
                  <a:pt x="0" y="11"/>
                  <a:pt x="1" y="12"/>
                  <a:pt x="1" y="13"/>
                </a:cubicBezTo>
                <a:cubicBezTo>
                  <a:pt x="2" y="13"/>
                  <a:pt x="1" y="13"/>
                  <a:pt x="1" y="13"/>
                </a:cubicBezTo>
                <a:cubicBezTo>
                  <a:pt x="1" y="14"/>
                  <a:pt x="2" y="15"/>
                  <a:pt x="3" y="15"/>
                </a:cubicBezTo>
                <a:cubicBezTo>
                  <a:pt x="4" y="16"/>
                  <a:pt x="5" y="17"/>
                  <a:pt x="5" y="18"/>
                </a:cubicBezTo>
                <a:cubicBezTo>
                  <a:pt x="6" y="19"/>
                  <a:pt x="6" y="20"/>
                  <a:pt x="7" y="22"/>
                </a:cubicBezTo>
                <a:cubicBezTo>
                  <a:pt x="8" y="24"/>
                  <a:pt x="9" y="27"/>
                  <a:pt x="10" y="28"/>
                </a:cubicBezTo>
                <a:cubicBezTo>
                  <a:pt x="11" y="30"/>
                  <a:pt x="12" y="31"/>
                  <a:pt x="12" y="31"/>
                </a:cubicBezTo>
                <a:cubicBezTo>
                  <a:pt x="11" y="31"/>
                  <a:pt x="12" y="32"/>
                  <a:pt x="12" y="33"/>
                </a:cubicBezTo>
                <a:cubicBezTo>
                  <a:pt x="13" y="34"/>
                  <a:pt x="14" y="34"/>
                  <a:pt x="16" y="35"/>
                </a:cubicBezTo>
                <a:cubicBezTo>
                  <a:pt x="18" y="37"/>
                  <a:pt x="22" y="38"/>
                  <a:pt x="22" y="39"/>
                </a:cubicBezTo>
                <a:cubicBezTo>
                  <a:pt x="23" y="40"/>
                  <a:pt x="25" y="41"/>
                  <a:pt x="25" y="41"/>
                </a:cubicBezTo>
                <a:cubicBezTo>
                  <a:pt x="25" y="41"/>
                  <a:pt x="25" y="42"/>
                  <a:pt x="25" y="42"/>
                </a:cubicBezTo>
                <a:cubicBezTo>
                  <a:pt x="25" y="42"/>
                  <a:pt x="25" y="42"/>
                  <a:pt x="26" y="41"/>
                </a:cubicBezTo>
                <a:cubicBezTo>
                  <a:pt x="26" y="41"/>
                  <a:pt x="26" y="40"/>
                  <a:pt x="27"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50"/>
          <p:cNvSpPr>
            <a:spLocks/>
          </p:cNvSpPr>
          <p:nvPr/>
        </p:nvSpPr>
        <p:spPr bwMode="auto">
          <a:xfrm>
            <a:off x="1407925" y="3150255"/>
            <a:ext cx="150144" cy="125120"/>
          </a:xfrm>
          <a:custGeom>
            <a:avLst/>
            <a:gdLst>
              <a:gd name="T0" fmla="*/ 3 w 31"/>
              <a:gd name="T1" fmla="*/ 2 h 26"/>
              <a:gd name="T2" fmla="*/ 1 w 31"/>
              <a:gd name="T3" fmla="*/ 4 h 26"/>
              <a:gd name="T4" fmla="*/ 1 w 31"/>
              <a:gd name="T5" fmla="*/ 6 h 26"/>
              <a:gd name="T6" fmla="*/ 0 w 31"/>
              <a:gd name="T7" fmla="*/ 7 h 26"/>
              <a:gd name="T8" fmla="*/ 1 w 31"/>
              <a:gd name="T9" fmla="*/ 7 h 26"/>
              <a:gd name="T10" fmla="*/ 2 w 31"/>
              <a:gd name="T11" fmla="*/ 9 h 26"/>
              <a:gd name="T12" fmla="*/ 4 w 31"/>
              <a:gd name="T13" fmla="*/ 12 h 26"/>
              <a:gd name="T14" fmla="*/ 8 w 31"/>
              <a:gd name="T15" fmla="*/ 12 h 26"/>
              <a:gd name="T16" fmla="*/ 11 w 31"/>
              <a:gd name="T17" fmla="*/ 13 h 26"/>
              <a:gd name="T18" fmla="*/ 13 w 31"/>
              <a:gd name="T19" fmla="*/ 14 h 26"/>
              <a:gd name="T20" fmla="*/ 13 w 31"/>
              <a:gd name="T21" fmla="*/ 18 h 26"/>
              <a:gd name="T22" fmla="*/ 14 w 31"/>
              <a:gd name="T23" fmla="*/ 20 h 26"/>
              <a:gd name="T24" fmla="*/ 14 w 31"/>
              <a:gd name="T25" fmla="*/ 21 h 26"/>
              <a:gd name="T26" fmla="*/ 14 w 31"/>
              <a:gd name="T27" fmla="*/ 23 h 26"/>
              <a:gd name="T28" fmla="*/ 14 w 31"/>
              <a:gd name="T29" fmla="*/ 23 h 26"/>
              <a:gd name="T30" fmla="*/ 15 w 31"/>
              <a:gd name="T31" fmla="*/ 25 h 26"/>
              <a:gd name="T32" fmla="*/ 17 w 31"/>
              <a:gd name="T33" fmla="*/ 25 h 26"/>
              <a:gd name="T34" fmla="*/ 18 w 31"/>
              <a:gd name="T35" fmla="*/ 25 h 26"/>
              <a:gd name="T36" fmla="*/ 19 w 31"/>
              <a:gd name="T37" fmla="*/ 24 h 26"/>
              <a:gd name="T38" fmla="*/ 21 w 31"/>
              <a:gd name="T39" fmla="*/ 24 h 26"/>
              <a:gd name="T40" fmla="*/ 22 w 31"/>
              <a:gd name="T41" fmla="*/ 23 h 26"/>
              <a:gd name="T42" fmla="*/ 22 w 31"/>
              <a:gd name="T43" fmla="*/ 22 h 26"/>
              <a:gd name="T44" fmla="*/ 21 w 31"/>
              <a:gd name="T45" fmla="*/ 21 h 26"/>
              <a:gd name="T46" fmla="*/ 21 w 31"/>
              <a:gd name="T47" fmla="*/ 20 h 26"/>
              <a:gd name="T48" fmla="*/ 20 w 31"/>
              <a:gd name="T49" fmla="*/ 18 h 26"/>
              <a:gd name="T50" fmla="*/ 21 w 31"/>
              <a:gd name="T51" fmla="*/ 18 h 26"/>
              <a:gd name="T52" fmla="*/ 23 w 31"/>
              <a:gd name="T53" fmla="*/ 19 h 26"/>
              <a:gd name="T54" fmla="*/ 24 w 31"/>
              <a:gd name="T55" fmla="*/ 19 h 26"/>
              <a:gd name="T56" fmla="*/ 26 w 31"/>
              <a:gd name="T57" fmla="*/ 18 h 26"/>
              <a:gd name="T58" fmla="*/ 28 w 31"/>
              <a:gd name="T59" fmla="*/ 17 h 26"/>
              <a:gd name="T60" fmla="*/ 29 w 31"/>
              <a:gd name="T61" fmla="*/ 16 h 26"/>
              <a:gd name="T62" fmla="*/ 27 w 31"/>
              <a:gd name="T63" fmla="*/ 14 h 26"/>
              <a:gd name="T64" fmla="*/ 28 w 31"/>
              <a:gd name="T65" fmla="*/ 13 h 26"/>
              <a:gd name="T66" fmla="*/ 29 w 31"/>
              <a:gd name="T67" fmla="*/ 12 h 26"/>
              <a:gd name="T68" fmla="*/ 29 w 31"/>
              <a:gd name="T69" fmla="*/ 11 h 26"/>
              <a:gd name="T70" fmla="*/ 30 w 31"/>
              <a:gd name="T71" fmla="*/ 9 h 26"/>
              <a:gd name="T72" fmla="*/ 31 w 31"/>
              <a:gd name="T73" fmla="*/ 8 h 26"/>
              <a:gd name="T74" fmla="*/ 27 w 31"/>
              <a:gd name="T75" fmla="*/ 8 h 26"/>
              <a:gd name="T76" fmla="*/ 28 w 31"/>
              <a:gd name="T77" fmla="*/ 6 h 26"/>
              <a:gd name="T78" fmla="*/ 25 w 31"/>
              <a:gd name="T79" fmla="*/ 5 h 26"/>
              <a:gd name="T80" fmla="*/ 25 w 31"/>
              <a:gd name="T81" fmla="*/ 4 h 26"/>
              <a:gd name="T82" fmla="*/ 23 w 31"/>
              <a:gd name="T83" fmla="*/ 3 h 26"/>
              <a:gd name="T84" fmla="*/ 19 w 31"/>
              <a:gd name="T85" fmla="*/ 5 h 26"/>
              <a:gd name="T86" fmla="*/ 15 w 31"/>
              <a:gd name="T87" fmla="*/ 3 h 26"/>
              <a:gd name="T88" fmla="*/ 12 w 31"/>
              <a:gd name="T89" fmla="*/ 3 h 26"/>
              <a:gd name="T90" fmla="*/ 10 w 31"/>
              <a:gd name="T91" fmla="*/ 1 h 26"/>
              <a:gd name="T92" fmla="*/ 8 w 31"/>
              <a:gd name="T93" fmla="*/ 0 h 26"/>
              <a:gd name="T94" fmla="*/ 8 w 31"/>
              <a:gd name="T95" fmla="*/ 1 h 26"/>
              <a:gd name="T96" fmla="*/ 5 w 31"/>
              <a:gd name="T97" fmla="*/ 3 h 26"/>
              <a:gd name="T98" fmla="*/ 5 w 31"/>
              <a:gd name="T99" fmla="*/ 6 h 26"/>
              <a:gd name="T100" fmla="*/ 3 w 31"/>
              <a:gd name="T101" fmla="*/ 6 h 26"/>
              <a:gd name="T102" fmla="*/ 4 w 31"/>
              <a:gd name="T103" fmla="*/ 3 h 26"/>
              <a:gd name="T104" fmla="*/ 4 w 31"/>
              <a:gd name="T105" fmla="*/ 1 h 26"/>
              <a:gd name="T106" fmla="*/ 3 w 31"/>
              <a:gd name="T10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6">
                <a:moveTo>
                  <a:pt x="3" y="2"/>
                </a:moveTo>
                <a:cubicBezTo>
                  <a:pt x="2" y="2"/>
                  <a:pt x="1" y="3"/>
                  <a:pt x="1" y="4"/>
                </a:cubicBezTo>
                <a:cubicBezTo>
                  <a:pt x="1" y="5"/>
                  <a:pt x="1" y="5"/>
                  <a:pt x="1" y="6"/>
                </a:cubicBezTo>
                <a:cubicBezTo>
                  <a:pt x="0" y="6"/>
                  <a:pt x="0" y="7"/>
                  <a:pt x="0" y="7"/>
                </a:cubicBezTo>
                <a:cubicBezTo>
                  <a:pt x="1" y="7"/>
                  <a:pt x="1" y="7"/>
                  <a:pt x="1" y="7"/>
                </a:cubicBezTo>
                <a:cubicBezTo>
                  <a:pt x="1" y="8"/>
                  <a:pt x="3" y="8"/>
                  <a:pt x="2" y="9"/>
                </a:cubicBezTo>
                <a:cubicBezTo>
                  <a:pt x="2" y="10"/>
                  <a:pt x="2" y="12"/>
                  <a:pt x="4" y="12"/>
                </a:cubicBezTo>
                <a:cubicBezTo>
                  <a:pt x="6" y="12"/>
                  <a:pt x="7" y="11"/>
                  <a:pt x="8" y="12"/>
                </a:cubicBezTo>
                <a:cubicBezTo>
                  <a:pt x="8" y="13"/>
                  <a:pt x="10" y="13"/>
                  <a:pt x="11" y="13"/>
                </a:cubicBezTo>
                <a:cubicBezTo>
                  <a:pt x="12" y="13"/>
                  <a:pt x="14" y="13"/>
                  <a:pt x="13" y="14"/>
                </a:cubicBezTo>
                <a:cubicBezTo>
                  <a:pt x="13" y="15"/>
                  <a:pt x="12" y="17"/>
                  <a:pt x="13" y="18"/>
                </a:cubicBezTo>
                <a:cubicBezTo>
                  <a:pt x="13" y="19"/>
                  <a:pt x="14" y="19"/>
                  <a:pt x="14" y="20"/>
                </a:cubicBezTo>
                <a:cubicBezTo>
                  <a:pt x="13" y="20"/>
                  <a:pt x="13" y="21"/>
                  <a:pt x="14" y="21"/>
                </a:cubicBezTo>
                <a:cubicBezTo>
                  <a:pt x="14" y="22"/>
                  <a:pt x="14" y="22"/>
                  <a:pt x="14" y="23"/>
                </a:cubicBezTo>
                <a:cubicBezTo>
                  <a:pt x="14" y="23"/>
                  <a:pt x="14" y="23"/>
                  <a:pt x="14" y="23"/>
                </a:cubicBezTo>
                <a:cubicBezTo>
                  <a:pt x="15" y="24"/>
                  <a:pt x="15" y="25"/>
                  <a:pt x="15" y="25"/>
                </a:cubicBezTo>
                <a:cubicBezTo>
                  <a:pt x="16" y="25"/>
                  <a:pt x="16" y="26"/>
                  <a:pt x="17" y="25"/>
                </a:cubicBezTo>
                <a:cubicBezTo>
                  <a:pt x="17" y="25"/>
                  <a:pt x="17" y="25"/>
                  <a:pt x="18" y="25"/>
                </a:cubicBezTo>
                <a:cubicBezTo>
                  <a:pt x="18" y="26"/>
                  <a:pt x="19" y="25"/>
                  <a:pt x="19" y="24"/>
                </a:cubicBezTo>
                <a:cubicBezTo>
                  <a:pt x="20" y="24"/>
                  <a:pt x="21" y="24"/>
                  <a:pt x="21" y="24"/>
                </a:cubicBezTo>
                <a:cubicBezTo>
                  <a:pt x="21" y="23"/>
                  <a:pt x="21" y="23"/>
                  <a:pt x="22" y="23"/>
                </a:cubicBezTo>
                <a:cubicBezTo>
                  <a:pt x="23" y="22"/>
                  <a:pt x="23" y="22"/>
                  <a:pt x="22" y="22"/>
                </a:cubicBezTo>
                <a:cubicBezTo>
                  <a:pt x="22" y="22"/>
                  <a:pt x="21" y="22"/>
                  <a:pt x="21" y="21"/>
                </a:cubicBezTo>
                <a:cubicBezTo>
                  <a:pt x="21" y="21"/>
                  <a:pt x="21" y="21"/>
                  <a:pt x="21" y="20"/>
                </a:cubicBezTo>
                <a:cubicBezTo>
                  <a:pt x="21" y="19"/>
                  <a:pt x="21" y="19"/>
                  <a:pt x="20" y="18"/>
                </a:cubicBezTo>
                <a:cubicBezTo>
                  <a:pt x="19" y="18"/>
                  <a:pt x="21" y="18"/>
                  <a:pt x="21" y="18"/>
                </a:cubicBezTo>
                <a:cubicBezTo>
                  <a:pt x="22" y="18"/>
                  <a:pt x="23" y="18"/>
                  <a:pt x="23" y="19"/>
                </a:cubicBezTo>
                <a:cubicBezTo>
                  <a:pt x="23" y="19"/>
                  <a:pt x="24" y="20"/>
                  <a:pt x="24" y="19"/>
                </a:cubicBezTo>
                <a:cubicBezTo>
                  <a:pt x="24" y="18"/>
                  <a:pt x="25" y="18"/>
                  <a:pt x="26" y="18"/>
                </a:cubicBezTo>
                <a:cubicBezTo>
                  <a:pt x="26" y="18"/>
                  <a:pt x="28" y="17"/>
                  <a:pt x="28" y="17"/>
                </a:cubicBezTo>
                <a:cubicBezTo>
                  <a:pt x="29" y="17"/>
                  <a:pt x="29" y="16"/>
                  <a:pt x="29" y="16"/>
                </a:cubicBezTo>
                <a:cubicBezTo>
                  <a:pt x="28" y="15"/>
                  <a:pt x="28" y="15"/>
                  <a:pt x="27" y="14"/>
                </a:cubicBezTo>
                <a:cubicBezTo>
                  <a:pt x="27" y="14"/>
                  <a:pt x="28" y="14"/>
                  <a:pt x="28" y="13"/>
                </a:cubicBezTo>
                <a:cubicBezTo>
                  <a:pt x="28" y="13"/>
                  <a:pt x="28" y="12"/>
                  <a:pt x="29" y="12"/>
                </a:cubicBezTo>
                <a:cubicBezTo>
                  <a:pt x="30" y="12"/>
                  <a:pt x="30" y="11"/>
                  <a:pt x="29" y="11"/>
                </a:cubicBezTo>
                <a:cubicBezTo>
                  <a:pt x="28" y="11"/>
                  <a:pt x="29" y="10"/>
                  <a:pt x="30" y="9"/>
                </a:cubicBezTo>
                <a:cubicBezTo>
                  <a:pt x="30" y="9"/>
                  <a:pt x="30" y="9"/>
                  <a:pt x="31" y="8"/>
                </a:cubicBezTo>
                <a:cubicBezTo>
                  <a:pt x="30" y="8"/>
                  <a:pt x="28" y="8"/>
                  <a:pt x="27" y="8"/>
                </a:cubicBezTo>
                <a:cubicBezTo>
                  <a:pt x="27" y="8"/>
                  <a:pt x="28" y="7"/>
                  <a:pt x="28" y="6"/>
                </a:cubicBezTo>
                <a:cubicBezTo>
                  <a:pt x="28" y="5"/>
                  <a:pt x="26" y="5"/>
                  <a:pt x="25" y="5"/>
                </a:cubicBezTo>
                <a:cubicBezTo>
                  <a:pt x="24" y="5"/>
                  <a:pt x="24" y="4"/>
                  <a:pt x="25" y="4"/>
                </a:cubicBezTo>
                <a:cubicBezTo>
                  <a:pt x="26" y="4"/>
                  <a:pt x="25" y="3"/>
                  <a:pt x="23" y="3"/>
                </a:cubicBezTo>
                <a:cubicBezTo>
                  <a:pt x="22" y="3"/>
                  <a:pt x="20" y="4"/>
                  <a:pt x="19" y="5"/>
                </a:cubicBezTo>
                <a:cubicBezTo>
                  <a:pt x="18" y="5"/>
                  <a:pt x="16" y="3"/>
                  <a:pt x="15" y="3"/>
                </a:cubicBezTo>
                <a:cubicBezTo>
                  <a:pt x="14" y="4"/>
                  <a:pt x="12" y="4"/>
                  <a:pt x="12" y="3"/>
                </a:cubicBezTo>
                <a:cubicBezTo>
                  <a:pt x="12" y="2"/>
                  <a:pt x="11" y="1"/>
                  <a:pt x="10" y="1"/>
                </a:cubicBezTo>
                <a:cubicBezTo>
                  <a:pt x="9" y="1"/>
                  <a:pt x="9" y="0"/>
                  <a:pt x="8" y="0"/>
                </a:cubicBezTo>
                <a:cubicBezTo>
                  <a:pt x="7" y="0"/>
                  <a:pt x="8" y="1"/>
                  <a:pt x="8" y="1"/>
                </a:cubicBezTo>
                <a:cubicBezTo>
                  <a:pt x="7" y="2"/>
                  <a:pt x="5" y="2"/>
                  <a:pt x="5" y="3"/>
                </a:cubicBezTo>
                <a:cubicBezTo>
                  <a:pt x="5" y="4"/>
                  <a:pt x="6" y="6"/>
                  <a:pt x="5" y="6"/>
                </a:cubicBezTo>
                <a:cubicBezTo>
                  <a:pt x="5" y="7"/>
                  <a:pt x="3" y="7"/>
                  <a:pt x="3" y="6"/>
                </a:cubicBezTo>
                <a:cubicBezTo>
                  <a:pt x="3" y="5"/>
                  <a:pt x="4" y="3"/>
                  <a:pt x="4" y="3"/>
                </a:cubicBezTo>
                <a:cubicBezTo>
                  <a:pt x="4" y="2"/>
                  <a:pt x="4" y="2"/>
                  <a:pt x="4" y="1"/>
                </a:cubicBezTo>
                <a:cubicBezTo>
                  <a:pt x="3" y="1"/>
                  <a:pt x="3" y="1"/>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51"/>
          <p:cNvSpPr>
            <a:spLocks/>
          </p:cNvSpPr>
          <p:nvPr/>
        </p:nvSpPr>
        <p:spPr bwMode="auto">
          <a:xfrm>
            <a:off x="1572368" y="3211027"/>
            <a:ext cx="50048" cy="50048"/>
          </a:xfrm>
          <a:custGeom>
            <a:avLst/>
            <a:gdLst>
              <a:gd name="T0" fmla="*/ 3 w 10"/>
              <a:gd name="T1" fmla="*/ 2 h 10"/>
              <a:gd name="T2" fmla="*/ 2 w 10"/>
              <a:gd name="T3" fmla="*/ 3 h 10"/>
              <a:gd name="T4" fmla="*/ 1 w 10"/>
              <a:gd name="T5" fmla="*/ 5 h 10"/>
              <a:gd name="T6" fmla="*/ 3 w 10"/>
              <a:gd name="T7" fmla="*/ 7 h 10"/>
              <a:gd name="T8" fmla="*/ 4 w 10"/>
              <a:gd name="T9" fmla="*/ 10 h 10"/>
              <a:gd name="T10" fmla="*/ 5 w 10"/>
              <a:gd name="T11" fmla="*/ 10 h 10"/>
              <a:gd name="T12" fmla="*/ 6 w 10"/>
              <a:gd name="T13" fmla="*/ 9 h 10"/>
              <a:gd name="T14" fmla="*/ 8 w 10"/>
              <a:gd name="T15" fmla="*/ 9 h 10"/>
              <a:gd name="T16" fmla="*/ 9 w 10"/>
              <a:gd name="T17" fmla="*/ 9 h 10"/>
              <a:gd name="T18" fmla="*/ 9 w 10"/>
              <a:gd name="T19" fmla="*/ 8 h 10"/>
              <a:gd name="T20" fmla="*/ 9 w 10"/>
              <a:gd name="T21" fmla="*/ 5 h 10"/>
              <a:gd name="T22" fmla="*/ 9 w 10"/>
              <a:gd name="T23" fmla="*/ 2 h 10"/>
              <a:gd name="T24" fmla="*/ 10 w 10"/>
              <a:gd name="T25" fmla="*/ 1 h 10"/>
              <a:gd name="T26" fmla="*/ 8 w 10"/>
              <a:gd name="T27" fmla="*/ 1 h 10"/>
              <a:gd name="T28" fmla="*/ 5 w 10"/>
              <a:gd name="T29" fmla="*/ 1 h 10"/>
              <a:gd name="T30" fmla="*/ 3 w 10"/>
              <a:gd name="T31" fmla="*/ 1 h 10"/>
              <a:gd name="T32" fmla="*/ 3 w 10"/>
              <a:gd name="T33" fmla="*/ 1 h 10"/>
              <a:gd name="T34" fmla="*/ 3 w 10"/>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3" y="2"/>
                </a:moveTo>
                <a:cubicBezTo>
                  <a:pt x="3" y="3"/>
                  <a:pt x="2" y="3"/>
                  <a:pt x="2" y="3"/>
                </a:cubicBezTo>
                <a:cubicBezTo>
                  <a:pt x="1" y="3"/>
                  <a:pt x="1" y="5"/>
                  <a:pt x="1" y="5"/>
                </a:cubicBezTo>
                <a:cubicBezTo>
                  <a:pt x="0" y="6"/>
                  <a:pt x="2" y="7"/>
                  <a:pt x="3" y="7"/>
                </a:cubicBezTo>
                <a:cubicBezTo>
                  <a:pt x="3" y="8"/>
                  <a:pt x="3" y="9"/>
                  <a:pt x="4" y="10"/>
                </a:cubicBezTo>
                <a:cubicBezTo>
                  <a:pt x="4" y="10"/>
                  <a:pt x="5" y="10"/>
                  <a:pt x="5" y="10"/>
                </a:cubicBezTo>
                <a:cubicBezTo>
                  <a:pt x="6" y="10"/>
                  <a:pt x="5" y="9"/>
                  <a:pt x="6" y="9"/>
                </a:cubicBezTo>
                <a:cubicBezTo>
                  <a:pt x="7" y="9"/>
                  <a:pt x="8" y="8"/>
                  <a:pt x="8" y="9"/>
                </a:cubicBezTo>
                <a:cubicBezTo>
                  <a:pt x="8" y="9"/>
                  <a:pt x="8" y="9"/>
                  <a:pt x="9" y="9"/>
                </a:cubicBezTo>
                <a:cubicBezTo>
                  <a:pt x="9" y="9"/>
                  <a:pt x="9" y="8"/>
                  <a:pt x="9" y="8"/>
                </a:cubicBezTo>
                <a:cubicBezTo>
                  <a:pt x="9" y="8"/>
                  <a:pt x="9" y="6"/>
                  <a:pt x="9" y="5"/>
                </a:cubicBezTo>
                <a:cubicBezTo>
                  <a:pt x="9" y="4"/>
                  <a:pt x="9" y="3"/>
                  <a:pt x="9" y="2"/>
                </a:cubicBezTo>
                <a:cubicBezTo>
                  <a:pt x="9" y="2"/>
                  <a:pt x="10" y="2"/>
                  <a:pt x="10" y="1"/>
                </a:cubicBezTo>
                <a:cubicBezTo>
                  <a:pt x="9" y="1"/>
                  <a:pt x="8" y="1"/>
                  <a:pt x="8" y="1"/>
                </a:cubicBezTo>
                <a:cubicBezTo>
                  <a:pt x="6" y="1"/>
                  <a:pt x="5" y="1"/>
                  <a:pt x="5" y="1"/>
                </a:cubicBezTo>
                <a:cubicBezTo>
                  <a:pt x="4" y="0"/>
                  <a:pt x="4" y="0"/>
                  <a:pt x="3" y="1"/>
                </a:cubicBezTo>
                <a:cubicBezTo>
                  <a:pt x="3" y="1"/>
                  <a:pt x="3" y="1"/>
                  <a:pt x="3" y="1"/>
                </a:cubicBezTo>
                <a:cubicBezTo>
                  <a:pt x="3" y="1"/>
                  <a:pt x="2"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2"/>
          <p:cNvSpPr>
            <a:spLocks/>
          </p:cNvSpPr>
          <p:nvPr/>
        </p:nvSpPr>
        <p:spPr bwMode="auto">
          <a:xfrm>
            <a:off x="1540194" y="3189578"/>
            <a:ext cx="53623" cy="82221"/>
          </a:xfrm>
          <a:custGeom>
            <a:avLst/>
            <a:gdLst>
              <a:gd name="T0" fmla="*/ 3 w 11"/>
              <a:gd name="T1" fmla="*/ 1 h 17"/>
              <a:gd name="T2" fmla="*/ 2 w 11"/>
              <a:gd name="T3" fmla="*/ 3 h 17"/>
              <a:gd name="T4" fmla="*/ 2 w 11"/>
              <a:gd name="T5" fmla="*/ 4 h 17"/>
              <a:gd name="T6" fmla="*/ 1 w 11"/>
              <a:gd name="T7" fmla="*/ 5 h 17"/>
              <a:gd name="T8" fmla="*/ 0 w 11"/>
              <a:gd name="T9" fmla="*/ 6 h 17"/>
              <a:gd name="T10" fmla="*/ 2 w 11"/>
              <a:gd name="T11" fmla="*/ 8 h 17"/>
              <a:gd name="T12" fmla="*/ 3 w 11"/>
              <a:gd name="T13" fmla="*/ 8 h 17"/>
              <a:gd name="T14" fmla="*/ 4 w 11"/>
              <a:gd name="T15" fmla="*/ 9 h 17"/>
              <a:gd name="T16" fmla="*/ 4 w 11"/>
              <a:gd name="T17" fmla="*/ 11 h 17"/>
              <a:gd name="T18" fmla="*/ 4 w 11"/>
              <a:gd name="T19" fmla="*/ 15 h 17"/>
              <a:gd name="T20" fmla="*/ 7 w 11"/>
              <a:gd name="T21" fmla="*/ 16 h 17"/>
              <a:gd name="T22" fmla="*/ 8 w 11"/>
              <a:gd name="T23" fmla="*/ 15 h 17"/>
              <a:gd name="T24" fmla="*/ 9 w 11"/>
              <a:gd name="T25" fmla="*/ 15 h 17"/>
              <a:gd name="T26" fmla="*/ 11 w 11"/>
              <a:gd name="T27" fmla="*/ 15 h 17"/>
              <a:gd name="T28" fmla="*/ 10 w 11"/>
              <a:gd name="T29" fmla="*/ 12 h 17"/>
              <a:gd name="T30" fmla="*/ 8 w 11"/>
              <a:gd name="T31" fmla="*/ 10 h 17"/>
              <a:gd name="T32" fmla="*/ 9 w 11"/>
              <a:gd name="T33" fmla="*/ 8 h 17"/>
              <a:gd name="T34" fmla="*/ 10 w 11"/>
              <a:gd name="T35" fmla="*/ 7 h 17"/>
              <a:gd name="T36" fmla="*/ 10 w 11"/>
              <a:gd name="T37" fmla="*/ 6 h 17"/>
              <a:gd name="T38" fmla="*/ 8 w 11"/>
              <a:gd name="T39" fmla="*/ 4 h 17"/>
              <a:gd name="T40" fmla="*/ 7 w 11"/>
              <a:gd name="T41" fmla="*/ 3 h 17"/>
              <a:gd name="T42" fmla="*/ 4 w 11"/>
              <a:gd name="T43" fmla="*/ 1 h 17"/>
              <a:gd name="T44" fmla="*/ 4 w 11"/>
              <a:gd name="T45" fmla="*/ 0 h 17"/>
              <a:gd name="T46" fmla="*/ 3 w 11"/>
              <a:gd name="T4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7">
                <a:moveTo>
                  <a:pt x="3" y="1"/>
                </a:moveTo>
                <a:cubicBezTo>
                  <a:pt x="2" y="2"/>
                  <a:pt x="1" y="3"/>
                  <a:pt x="2" y="3"/>
                </a:cubicBezTo>
                <a:cubicBezTo>
                  <a:pt x="3" y="3"/>
                  <a:pt x="3" y="4"/>
                  <a:pt x="2" y="4"/>
                </a:cubicBezTo>
                <a:cubicBezTo>
                  <a:pt x="1" y="4"/>
                  <a:pt x="1" y="5"/>
                  <a:pt x="1" y="5"/>
                </a:cubicBezTo>
                <a:cubicBezTo>
                  <a:pt x="1" y="6"/>
                  <a:pt x="0" y="6"/>
                  <a:pt x="0" y="6"/>
                </a:cubicBezTo>
                <a:cubicBezTo>
                  <a:pt x="1" y="7"/>
                  <a:pt x="1" y="7"/>
                  <a:pt x="2" y="8"/>
                </a:cubicBezTo>
                <a:cubicBezTo>
                  <a:pt x="2" y="8"/>
                  <a:pt x="2" y="8"/>
                  <a:pt x="3" y="8"/>
                </a:cubicBezTo>
                <a:cubicBezTo>
                  <a:pt x="4" y="8"/>
                  <a:pt x="3" y="9"/>
                  <a:pt x="4" y="9"/>
                </a:cubicBezTo>
                <a:cubicBezTo>
                  <a:pt x="4" y="10"/>
                  <a:pt x="4" y="11"/>
                  <a:pt x="4" y="11"/>
                </a:cubicBezTo>
                <a:cubicBezTo>
                  <a:pt x="3" y="12"/>
                  <a:pt x="3" y="14"/>
                  <a:pt x="4" y="15"/>
                </a:cubicBezTo>
                <a:cubicBezTo>
                  <a:pt x="5" y="17"/>
                  <a:pt x="6" y="16"/>
                  <a:pt x="7" y="16"/>
                </a:cubicBezTo>
                <a:cubicBezTo>
                  <a:pt x="7" y="16"/>
                  <a:pt x="8" y="16"/>
                  <a:pt x="8" y="15"/>
                </a:cubicBezTo>
                <a:cubicBezTo>
                  <a:pt x="8" y="15"/>
                  <a:pt x="9" y="16"/>
                  <a:pt x="9" y="15"/>
                </a:cubicBezTo>
                <a:cubicBezTo>
                  <a:pt x="10" y="15"/>
                  <a:pt x="10" y="15"/>
                  <a:pt x="11" y="15"/>
                </a:cubicBezTo>
                <a:cubicBezTo>
                  <a:pt x="10" y="14"/>
                  <a:pt x="10" y="13"/>
                  <a:pt x="10" y="12"/>
                </a:cubicBezTo>
                <a:cubicBezTo>
                  <a:pt x="9" y="12"/>
                  <a:pt x="7" y="11"/>
                  <a:pt x="8" y="10"/>
                </a:cubicBezTo>
                <a:cubicBezTo>
                  <a:pt x="8" y="10"/>
                  <a:pt x="8" y="8"/>
                  <a:pt x="9" y="8"/>
                </a:cubicBezTo>
                <a:cubicBezTo>
                  <a:pt x="9" y="8"/>
                  <a:pt x="10" y="8"/>
                  <a:pt x="10" y="7"/>
                </a:cubicBezTo>
                <a:cubicBezTo>
                  <a:pt x="9" y="7"/>
                  <a:pt x="10" y="6"/>
                  <a:pt x="10" y="6"/>
                </a:cubicBezTo>
                <a:cubicBezTo>
                  <a:pt x="9" y="6"/>
                  <a:pt x="8" y="4"/>
                  <a:pt x="8" y="4"/>
                </a:cubicBezTo>
                <a:cubicBezTo>
                  <a:pt x="7" y="4"/>
                  <a:pt x="7" y="3"/>
                  <a:pt x="7" y="3"/>
                </a:cubicBezTo>
                <a:cubicBezTo>
                  <a:pt x="7" y="2"/>
                  <a:pt x="5" y="2"/>
                  <a:pt x="4" y="1"/>
                </a:cubicBezTo>
                <a:cubicBezTo>
                  <a:pt x="4" y="1"/>
                  <a:pt x="4" y="0"/>
                  <a:pt x="4" y="0"/>
                </a:cubicBezTo>
                <a:cubicBezTo>
                  <a:pt x="3"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3"/>
          <p:cNvSpPr>
            <a:spLocks/>
          </p:cNvSpPr>
          <p:nvPr/>
        </p:nvSpPr>
        <p:spPr bwMode="auto">
          <a:xfrm>
            <a:off x="1615266" y="3218177"/>
            <a:ext cx="32174" cy="42898"/>
          </a:xfrm>
          <a:custGeom>
            <a:avLst/>
            <a:gdLst>
              <a:gd name="T0" fmla="*/ 0 w 6"/>
              <a:gd name="T1" fmla="*/ 4 h 9"/>
              <a:gd name="T2" fmla="*/ 0 w 6"/>
              <a:gd name="T3" fmla="*/ 7 h 9"/>
              <a:gd name="T4" fmla="*/ 0 w 6"/>
              <a:gd name="T5" fmla="*/ 8 h 9"/>
              <a:gd name="T6" fmla="*/ 2 w 6"/>
              <a:gd name="T7" fmla="*/ 8 h 9"/>
              <a:gd name="T8" fmla="*/ 4 w 6"/>
              <a:gd name="T9" fmla="*/ 7 h 9"/>
              <a:gd name="T10" fmla="*/ 6 w 6"/>
              <a:gd name="T11" fmla="*/ 4 h 9"/>
              <a:gd name="T12" fmla="*/ 6 w 6"/>
              <a:gd name="T13" fmla="*/ 4 h 9"/>
              <a:gd name="T14" fmla="*/ 3 w 6"/>
              <a:gd name="T15" fmla="*/ 1 h 9"/>
              <a:gd name="T16" fmla="*/ 1 w 6"/>
              <a:gd name="T17" fmla="*/ 0 h 9"/>
              <a:gd name="T18" fmla="*/ 0 w 6"/>
              <a:gd name="T19" fmla="*/ 1 h 9"/>
              <a:gd name="T20" fmla="*/ 0 w 6"/>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4"/>
                </a:moveTo>
                <a:cubicBezTo>
                  <a:pt x="0" y="5"/>
                  <a:pt x="0" y="7"/>
                  <a:pt x="0" y="7"/>
                </a:cubicBezTo>
                <a:cubicBezTo>
                  <a:pt x="0" y="7"/>
                  <a:pt x="0" y="8"/>
                  <a:pt x="0" y="8"/>
                </a:cubicBezTo>
                <a:cubicBezTo>
                  <a:pt x="0" y="8"/>
                  <a:pt x="0" y="9"/>
                  <a:pt x="2" y="8"/>
                </a:cubicBezTo>
                <a:cubicBezTo>
                  <a:pt x="3" y="8"/>
                  <a:pt x="3" y="9"/>
                  <a:pt x="4" y="7"/>
                </a:cubicBezTo>
                <a:cubicBezTo>
                  <a:pt x="4" y="6"/>
                  <a:pt x="5" y="5"/>
                  <a:pt x="6" y="4"/>
                </a:cubicBezTo>
                <a:cubicBezTo>
                  <a:pt x="6" y="4"/>
                  <a:pt x="6" y="4"/>
                  <a:pt x="6" y="4"/>
                </a:cubicBezTo>
                <a:cubicBezTo>
                  <a:pt x="5" y="3"/>
                  <a:pt x="4" y="1"/>
                  <a:pt x="3" y="1"/>
                </a:cubicBezTo>
                <a:cubicBezTo>
                  <a:pt x="2" y="1"/>
                  <a:pt x="1" y="0"/>
                  <a:pt x="1" y="0"/>
                </a:cubicBezTo>
                <a:cubicBezTo>
                  <a:pt x="1" y="1"/>
                  <a:pt x="0" y="1"/>
                  <a:pt x="0" y="1"/>
                </a:cubicBezTo>
                <a:cubicBezTo>
                  <a:pt x="0" y="2"/>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54"/>
          <p:cNvSpPr>
            <a:spLocks/>
          </p:cNvSpPr>
          <p:nvPr/>
        </p:nvSpPr>
        <p:spPr bwMode="auto">
          <a:xfrm>
            <a:off x="1289955" y="3025135"/>
            <a:ext cx="114395" cy="39323"/>
          </a:xfrm>
          <a:custGeom>
            <a:avLst/>
            <a:gdLst>
              <a:gd name="T0" fmla="*/ 19 w 24"/>
              <a:gd name="T1" fmla="*/ 5 h 8"/>
              <a:gd name="T2" fmla="*/ 8 w 24"/>
              <a:gd name="T3" fmla="*/ 1 h 8"/>
              <a:gd name="T4" fmla="*/ 0 w 24"/>
              <a:gd name="T5" fmla="*/ 4 h 8"/>
              <a:gd name="T6" fmla="*/ 4 w 24"/>
              <a:gd name="T7" fmla="*/ 2 h 8"/>
              <a:gd name="T8" fmla="*/ 6 w 24"/>
              <a:gd name="T9" fmla="*/ 3 h 8"/>
              <a:gd name="T10" fmla="*/ 10 w 24"/>
              <a:gd name="T11" fmla="*/ 4 h 8"/>
              <a:gd name="T12" fmla="*/ 15 w 24"/>
              <a:gd name="T13" fmla="*/ 6 h 8"/>
              <a:gd name="T14" fmla="*/ 16 w 24"/>
              <a:gd name="T15" fmla="*/ 8 h 8"/>
              <a:gd name="T16" fmla="*/ 23 w 24"/>
              <a:gd name="T17" fmla="*/ 8 h 8"/>
              <a:gd name="T18" fmla="*/ 19 w 2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
                <a:moveTo>
                  <a:pt x="19" y="5"/>
                </a:moveTo>
                <a:cubicBezTo>
                  <a:pt x="18" y="5"/>
                  <a:pt x="13" y="2"/>
                  <a:pt x="8" y="1"/>
                </a:cubicBezTo>
                <a:cubicBezTo>
                  <a:pt x="4" y="0"/>
                  <a:pt x="0" y="3"/>
                  <a:pt x="0" y="4"/>
                </a:cubicBezTo>
                <a:cubicBezTo>
                  <a:pt x="1" y="4"/>
                  <a:pt x="3" y="3"/>
                  <a:pt x="4" y="2"/>
                </a:cubicBezTo>
                <a:cubicBezTo>
                  <a:pt x="5" y="1"/>
                  <a:pt x="6" y="2"/>
                  <a:pt x="6" y="3"/>
                </a:cubicBezTo>
                <a:cubicBezTo>
                  <a:pt x="7" y="3"/>
                  <a:pt x="8" y="3"/>
                  <a:pt x="10" y="4"/>
                </a:cubicBezTo>
                <a:cubicBezTo>
                  <a:pt x="12" y="4"/>
                  <a:pt x="13" y="5"/>
                  <a:pt x="15" y="6"/>
                </a:cubicBezTo>
                <a:cubicBezTo>
                  <a:pt x="17" y="6"/>
                  <a:pt x="15" y="7"/>
                  <a:pt x="16" y="8"/>
                </a:cubicBezTo>
                <a:cubicBezTo>
                  <a:pt x="17" y="8"/>
                  <a:pt x="23" y="8"/>
                  <a:pt x="23" y="8"/>
                </a:cubicBezTo>
                <a:cubicBezTo>
                  <a:pt x="24" y="7"/>
                  <a:pt x="20" y="5"/>
                  <a:pt x="19"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55"/>
          <p:cNvSpPr>
            <a:spLocks/>
          </p:cNvSpPr>
          <p:nvPr/>
        </p:nvSpPr>
        <p:spPr bwMode="auto">
          <a:xfrm>
            <a:off x="1357877" y="3078758"/>
            <a:ext cx="21449" cy="14299"/>
          </a:xfrm>
          <a:custGeom>
            <a:avLst/>
            <a:gdLst>
              <a:gd name="T0" fmla="*/ 0 w 5"/>
              <a:gd name="T1" fmla="*/ 1 h 3"/>
              <a:gd name="T2" fmla="*/ 5 w 5"/>
              <a:gd name="T3" fmla="*/ 2 h 3"/>
              <a:gd name="T4" fmla="*/ 0 w 5"/>
              <a:gd name="T5" fmla="*/ 1 h 3"/>
            </a:gdLst>
            <a:ahLst/>
            <a:cxnLst>
              <a:cxn ang="0">
                <a:pos x="T0" y="T1"/>
              </a:cxn>
              <a:cxn ang="0">
                <a:pos x="T2" y="T3"/>
              </a:cxn>
              <a:cxn ang="0">
                <a:pos x="T4" y="T5"/>
              </a:cxn>
            </a:cxnLst>
            <a:rect l="0" t="0" r="r" b="b"/>
            <a:pathLst>
              <a:path w="5" h="3">
                <a:moveTo>
                  <a:pt x="0" y="1"/>
                </a:moveTo>
                <a:cubicBezTo>
                  <a:pt x="0" y="2"/>
                  <a:pt x="4" y="3"/>
                  <a:pt x="5" y="2"/>
                </a:cubicBezTo>
                <a:cubicBezTo>
                  <a:pt x="5" y="1"/>
                  <a:pt x="0" y="0"/>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56"/>
          <p:cNvSpPr>
            <a:spLocks/>
          </p:cNvSpPr>
          <p:nvPr/>
        </p:nvSpPr>
        <p:spPr bwMode="auto">
          <a:xfrm>
            <a:off x="1472272" y="3078758"/>
            <a:ext cx="25024" cy="7150"/>
          </a:xfrm>
          <a:custGeom>
            <a:avLst/>
            <a:gdLst>
              <a:gd name="T0" fmla="*/ 1 w 5"/>
              <a:gd name="T1" fmla="*/ 1 h 2"/>
              <a:gd name="T2" fmla="*/ 5 w 5"/>
              <a:gd name="T3" fmla="*/ 1 h 2"/>
              <a:gd name="T4" fmla="*/ 1 w 5"/>
              <a:gd name="T5" fmla="*/ 1 h 2"/>
            </a:gdLst>
            <a:ahLst/>
            <a:cxnLst>
              <a:cxn ang="0">
                <a:pos x="T0" y="T1"/>
              </a:cxn>
              <a:cxn ang="0">
                <a:pos x="T2" y="T3"/>
              </a:cxn>
              <a:cxn ang="0">
                <a:pos x="T4" y="T5"/>
              </a:cxn>
            </a:cxnLst>
            <a:rect l="0" t="0" r="r" b="b"/>
            <a:pathLst>
              <a:path w="5" h="2">
                <a:moveTo>
                  <a:pt x="1" y="1"/>
                </a:moveTo>
                <a:cubicBezTo>
                  <a:pt x="2" y="2"/>
                  <a:pt x="5" y="2"/>
                  <a:pt x="5" y="1"/>
                </a:cubicBezTo>
                <a:cubicBezTo>
                  <a:pt x="5" y="0"/>
                  <a:pt x="0" y="0"/>
                  <a:pt x="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57"/>
          <p:cNvSpPr>
            <a:spLocks/>
          </p:cNvSpPr>
          <p:nvPr/>
        </p:nvSpPr>
        <p:spPr bwMode="auto">
          <a:xfrm>
            <a:off x="1329278" y="3264650"/>
            <a:ext cx="60772" cy="75072"/>
          </a:xfrm>
          <a:custGeom>
            <a:avLst/>
            <a:gdLst>
              <a:gd name="T0" fmla="*/ 12 w 13"/>
              <a:gd name="T1" fmla="*/ 4 h 15"/>
              <a:gd name="T2" fmla="*/ 10 w 13"/>
              <a:gd name="T3" fmla="*/ 2 h 15"/>
              <a:gd name="T4" fmla="*/ 9 w 13"/>
              <a:gd name="T5" fmla="*/ 2 h 15"/>
              <a:gd name="T6" fmla="*/ 7 w 13"/>
              <a:gd name="T7" fmla="*/ 1 h 15"/>
              <a:gd name="T8" fmla="*/ 5 w 13"/>
              <a:gd name="T9" fmla="*/ 0 h 15"/>
              <a:gd name="T10" fmla="*/ 5 w 13"/>
              <a:gd name="T11" fmla="*/ 0 h 15"/>
              <a:gd name="T12" fmla="*/ 3 w 13"/>
              <a:gd name="T13" fmla="*/ 1 h 15"/>
              <a:gd name="T14" fmla="*/ 2 w 13"/>
              <a:gd name="T15" fmla="*/ 2 h 15"/>
              <a:gd name="T16" fmla="*/ 1 w 13"/>
              <a:gd name="T17" fmla="*/ 4 h 15"/>
              <a:gd name="T18" fmla="*/ 1 w 13"/>
              <a:gd name="T19" fmla="*/ 5 h 15"/>
              <a:gd name="T20" fmla="*/ 0 w 13"/>
              <a:gd name="T21" fmla="*/ 7 h 15"/>
              <a:gd name="T22" fmla="*/ 0 w 13"/>
              <a:gd name="T23" fmla="*/ 8 h 15"/>
              <a:gd name="T24" fmla="*/ 1 w 13"/>
              <a:gd name="T25" fmla="*/ 9 h 15"/>
              <a:gd name="T26" fmla="*/ 3 w 13"/>
              <a:gd name="T27" fmla="*/ 9 h 15"/>
              <a:gd name="T28" fmla="*/ 2 w 13"/>
              <a:gd name="T29" fmla="*/ 11 h 15"/>
              <a:gd name="T30" fmla="*/ 1 w 13"/>
              <a:gd name="T31" fmla="*/ 11 h 15"/>
              <a:gd name="T32" fmla="*/ 2 w 13"/>
              <a:gd name="T33" fmla="*/ 12 h 15"/>
              <a:gd name="T34" fmla="*/ 2 w 13"/>
              <a:gd name="T35" fmla="*/ 13 h 15"/>
              <a:gd name="T36" fmla="*/ 4 w 13"/>
              <a:gd name="T37" fmla="*/ 13 h 15"/>
              <a:gd name="T38" fmla="*/ 5 w 13"/>
              <a:gd name="T39" fmla="*/ 13 h 15"/>
              <a:gd name="T40" fmla="*/ 7 w 13"/>
              <a:gd name="T41" fmla="*/ 10 h 15"/>
              <a:gd name="T42" fmla="*/ 11 w 13"/>
              <a:gd name="T43" fmla="*/ 8 h 15"/>
              <a:gd name="T44" fmla="*/ 13 w 13"/>
              <a:gd name="T45" fmla="*/ 5 h 15"/>
              <a:gd name="T46" fmla="*/ 12 w 13"/>
              <a:gd name="T4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5">
                <a:moveTo>
                  <a:pt x="12" y="4"/>
                </a:moveTo>
                <a:cubicBezTo>
                  <a:pt x="11" y="3"/>
                  <a:pt x="11" y="2"/>
                  <a:pt x="10" y="2"/>
                </a:cubicBezTo>
                <a:cubicBezTo>
                  <a:pt x="10" y="3"/>
                  <a:pt x="9" y="3"/>
                  <a:pt x="9" y="2"/>
                </a:cubicBezTo>
                <a:cubicBezTo>
                  <a:pt x="8" y="2"/>
                  <a:pt x="8" y="1"/>
                  <a:pt x="7" y="1"/>
                </a:cubicBezTo>
                <a:cubicBezTo>
                  <a:pt x="7" y="1"/>
                  <a:pt x="6" y="0"/>
                  <a:pt x="5" y="0"/>
                </a:cubicBezTo>
                <a:cubicBezTo>
                  <a:pt x="5" y="0"/>
                  <a:pt x="5" y="0"/>
                  <a:pt x="5" y="0"/>
                </a:cubicBezTo>
                <a:cubicBezTo>
                  <a:pt x="5" y="1"/>
                  <a:pt x="4" y="1"/>
                  <a:pt x="3" y="1"/>
                </a:cubicBezTo>
                <a:cubicBezTo>
                  <a:pt x="2" y="1"/>
                  <a:pt x="2" y="2"/>
                  <a:pt x="2" y="2"/>
                </a:cubicBezTo>
                <a:cubicBezTo>
                  <a:pt x="2" y="3"/>
                  <a:pt x="2" y="3"/>
                  <a:pt x="1" y="4"/>
                </a:cubicBezTo>
                <a:cubicBezTo>
                  <a:pt x="1" y="5"/>
                  <a:pt x="2" y="5"/>
                  <a:pt x="1" y="5"/>
                </a:cubicBezTo>
                <a:cubicBezTo>
                  <a:pt x="0" y="5"/>
                  <a:pt x="0" y="6"/>
                  <a:pt x="0" y="7"/>
                </a:cubicBezTo>
                <a:cubicBezTo>
                  <a:pt x="1" y="7"/>
                  <a:pt x="0" y="8"/>
                  <a:pt x="0" y="8"/>
                </a:cubicBezTo>
                <a:cubicBezTo>
                  <a:pt x="0" y="8"/>
                  <a:pt x="1" y="8"/>
                  <a:pt x="1" y="9"/>
                </a:cubicBezTo>
                <a:cubicBezTo>
                  <a:pt x="2" y="10"/>
                  <a:pt x="2" y="9"/>
                  <a:pt x="3" y="9"/>
                </a:cubicBezTo>
                <a:cubicBezTo>
                  <a:pt x="3" y="10"/>
                  <a:pt x="2" y="11"/>
                  <a:pt x="2" y="11"/>
                </a:cubicBezTo>
                <a:cubicBezTo>
                  <a:pt x="2" y="11"/>
                  <a:pt x="1" y="11"/>
                  <a:pt x="1" y="11"/>
                </a:cubicBezTo>
                <a:cubicBezTo>
                  <a:pt x="2" y="11"/>
                  <a:pt x="2" y="12"/>
                  <a:pt x="2" y="12"/>
                </a:cubicBezTo>
                <a:cubicBezTo>
                  <a:pt x="1" y="12"/>
                  <a:pt x="1" y="12"/>
                  <a:pt x="2" y="13"/>
                </a:cubicBezTo>
                <a:cubicBezTo>
                  <a:pt x="3" y="14"/>
                  <a:pt x="3" y="13"/>
                  <a:pt x="4" y="13"/>
                </a:cubicBezTo>
                <a:cubicBezTo>
                  <a:pt x="4" y="14"/>
                  <a:pt x="5" y="15"/>
                  <a:pt x="5" y="13"/>
                </a:cubicBezTo>
                <a:cubicBezTo>
                  <a:pt x="6" y="12"/>
                  <a:pt x="6" y="10"/>
                  <a:pt x="7" y="10"/>
                </a:cubicBezTo>
                <a:cubicBezTo>
                  <a:pt x="8" y="10"/>
                  <a:pt x="10" y="9"/>
                  <a:pt x="11" y="8"/>
                </a:cubicBezTo>
                <a:cubicBezTo>
                  <a:pt x="13" y="6"/>
                  <a:pt x="12" y="6"/>
                  <a:pt x="13" y="5"/>
                </a:cubicBezTo>
                <a:cubicBezTo>
                  <a:pt x="13" y="5"/>
                  <a:pt x="13"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58"/>
          <p:cNvSpPr>
            <a:spLocks noEditPoints="1"/>
          </p:cNvSpPr>
          <p:nvPr/>
        </p:nvSpPr>
        <p:spPr bwMode="auto">
          <a:xfrm>
            <a:off x="1418649" y="2056352"/>
            <a:ext cx="650622" cy="486179"/>
          </a:xfrm>
          <a:custGeom>
            <a:avLst/>
            <a:gdLst>
              <a:gd name="T0" fmla="*/ 119 w 135"/>
              <a:gd name="T1" fmla="*/ 12 h 101"/>
              <a:gd name="T2" fmla="*/ 109 w 135"/>
              <a:gd name="T3" fmla="*/ 17 h 101"/>
              <a:gd name="T4" fmla="*/ 108 w 135"/>
              <a:gd name="T5" fmla="*/ 11 h 101"/>
              <a:gd name="T6" fmla="*/ 97 w 135"/>
              <a:gd name="T7" fmla="*/ 10 h 101"/>
              <a:gd name="T8" fmla="*/ 108 w 135"/>
              <a:gd name="T9" fmla="*/ 8 h 101"/>
              <a:gd name="T10" fmla="*/ 107 w 135"/>
              <a:gd name="T11" fmla="*/ 4 h 101"/>
              <a:gd name="T12" fmla="*/ 91 w 135"/>
              <a:gd name="T13" fmla="*/ 0 h 101"/>
              <a:gd name="T14" fmla="*/ 77 w 135"/>
              <a:gd name="T15" fmla="*/ 2 h 101"/>
              <a:gd name="T16" fmla="*/ 66 w 135"/>
              <a:gd name="T17" fmla="*/ 2 h 101"/>
              <a:gd name="T18" fmla="*/ 57 w 135"/>
              <a:gd name="T19" fmla="*/ 6 h 101"/>
              <a:gd name="T20" fmla="*/ 55 w 135"/>
              <a:gd name="T21" fmla="*/ 8 h 101"/>
              <a:gd name="T22" fmla="*/ 48 w 135"/>
              <a:gd name="T23" fmla="*/ 10 h 101"/>
              <a:gd name="T24" fmla="*/ 42 w 135"/>
              <a:gd name="T25" fmla="*/ 12 h 101"/>
              <a:gd name="T26" fmla="*/ 32 w 135"/>
              <a:gd name="T27" fmla="*/ 10 h 101"/>
              <a:gd name="T28" fmla="*/ 26 w 135"/>
              <a:gd name="T29" fmla="*/ 14 h 101"/>
              <a:gd name="T30" fmla="*/ 17 w 135"/>
              <a:gd name="T31" fmla="*/ 20 h 101"/>
              <a:gd name="T32" fmla="*/ 0 w 135"/>
              <a:gd name="T33" fmla="*/ 28 h 101"/>
              <a:gd name="T34" fmla="*/ 11 w 135"/>
              <a:gd name="T35" fmla="*/ 31 h 101"/>
              <a:gd name="T36" fmla="*/ 3 w 135"/>
              <a:gd name="T37" fmla="*/ 34 h 101"/>
              <a:gd name="T38" fmla="*/ 10 w 135"/>
              <a:gd name="T39" fmla="*/ 38 h 101"/>
              <a:gd name="T40" fmla="*/ 18 w 135"/>
              <a:gd name="T41" fmla="*/ 38 h 101"/>
              <a:gd name="T42" fmla="*/ 32 w 135"/>
              <a:gd name="T43" fmla="*/ 42 h 101"/>
              <a:gd name="T44" fmla="*/ 38 w 135"/>
              <a:gd name="T45" fmla="*/ 51 h 101"/>
              <a:gd name="T46" fmla="*/ 39 w 135"/>
              <a:gd name="T47" fmla="*/ 59 h 101"/>
              <a:gd name="T48" fmla="*/ 48 w 135"/>
              <a:gd name="T49" fmla="*/ 61 h 101"/>
              <a:gd name="T50" fmla="*/ 47 w 135"/>
              <a:gd name="T51" fmla="*/ 65 h 101"/>
              <a:gd name="T52" fmla="*/ 46 w 135"/>
              <a:gd name="T53" fmla="*/ 70 h 101"/>
              <a:gd name="T54" fmla="*/ 44 w 135"/>
              <a:gd name="T55" fmla="*/ 77 h 101"/>
              <a:gd name="T56" fmla="*/ 46 w 135"/>
              <a:gd name="T57" fmla="*/ 86 h 101"/>
              <a:gd name="T58" fmla="*/ 50 w 135"/>
              <a:gd name="T59" fmla="*/ 91 h 101"/>
              <a:gd name="T60" fmla="*/ 56 w 135"/>
              <a:gd name="T61" fmla="*/ 98 h 101"/>
              <a:gd name="T62" fmla="*/ 65 w 135"/>
              <a:gd name="T63" fmla="*/ 101 h 101"/>
              <a:gd name="T64" fmla="*/ 67 w 135"/>
              <a:gd name="T65" fmla="*/ 93 h 101"/>
              <a:gd name="T66" fmla="*/ 71 w 135"/>
              <a:gd name="T67" fmla="*/ 88 h 101"/>
              <a:gd name="T68" fmla="*/ 71 w 135"/>
              <a:gd name="T69" fmla="*/ 84 h 101"/>
              <a:gd name="T70" fmla="*/ 75 w 135"/>
              <a:gd name="T71" fmla="*/ 81 h 101"/>
              <a:gd name="T72" fmla="*/ 78 w 135"/>
              <a:gd name="T73" fmla="*/ 81 h 101"/>
              <a:gd name="T74" fmla="*/ 90 w 135"/>
              <a:gd name="T75" fmla="*/ 73 h 101"/>
              <a:gd name="T76" fmla="*/ 98 w 135"/>
              <a:gd name="T77" fmla="*/ 71 h 101"/>
              <a:gd name="T78" fmla="*/ 113 w 135"/>
              <a:gd name="T79" fmla="*/ 64 h 101"/>
              <a:gd name="T80" fmla="*/ 105 w 135"/>
              <a:gd name="T81" fmla="*/ 62 h 101"/>
              <a:gd name="T82" fmla="*/ 113 w 135"/>
              <a:gd name="T83" fmla="*/ 63 h 101"/>
              <a:gd name="T84" fmla="*/ 111 w 135"/>
              <a:gd name="T85" fmla="*/ 55 h 101"/>
              <a:gd name="T86" fmla="*/ 107 w 135"/>
              <a:gd name="T87" fmla="*/ 51 h 101"/>
              <a:gd name="T88" fmla="*/ 117 w 135"/>
              <a:gd name="T89" fmla="*/ 50 h 101"/>
              <a:gd name="T90" fmla="*/ 119 w 135"/>
              <a:gd name="T91" fmla="*/ 45 h 101"/>
              <a:gd name="T92" fmla="*/ 118 w 135"/>
              <a:gd name="T93" fmla="*/ 38 h 101"/>
              <a:gd name="T94" fmla="*/ 115 w 135"/>
              <a:gd name="T95" fmla="*/ 35 h 101"/>
              <a:gd name="T96" fmla="*/ 116 w 135"/>
              <a:gd name="T97" fmla="*/ 32 h 101"/>
              <a:gd name="T98" fmla="*/ 113 w 135"/>
              <a:gd name="T99" fmla="*/ 31 h 101"/>
              <a:gd name="T100" fmla="*/ 122 w 135"/>
              <a:gd name="T101" fmla="*/ 21 h 101"/>
              <a:gd name="T102" fmla="*/ 120 w 135"/>
              <a:gd name="T103" fmla="*/ 19 h 101"/>
              <a:gd name="T104" fmla="*/ 123 w 135"/>
              <a:gd name="T105" fmla="*/ 16 h 101"/>
              <a:gd name="T106" fmla="*/ 135 w 135"/>
              <a:gd name="T107" fmla="*/ 12 h 101"/>
              <a:gd name="T108" fmla="*/ 44 w 135"/>
              <a:gd name="T109" fmla="*/ 65 h 101"/>
              <a:gd name="T110" fmla="*/ 42 w 135"/>
              <a:gd name="T111" fmla="*/ 6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28" y="10"/>
                </a:moveTo>
                <a:cubicBezTo>
                  <a:pt x="125" y="10"/>
                  <a:pt x="123" y="10"/>
                  <a:pt x="123" y="12"/>
                </a:cubicBezTo>
                <a:cubicBezTo>
                  <a:pt x="123" y="13"/>
                  <a:pt x="120" y="11"/>
                  <a:pt x="119" y="12"/>
                </a:cubicBezTo>
                <a:cubicBezTo>
                  <a:pt x="117" y="13"/>
                  <a:pt x="118" y="11"/>
                  <a:pt x="117" y="11"/>
                </a:cubicBezTo>
                <a:cubicBezTo>
                  <a:pt x="115" y="12"/>
                  <a:pt x="114" y="13"/>
                  <a:pt x="112" y="14"/>
                </a:cubicBezTo>
                <a:cubicBezTo>
                  <a:pt x="111" y="15"/>
                  <a:pt x="110" y="16"/>
                  <a:pt x="109" y="17"/>
                </a:cubicBezTo>
                <a:cubicBezTo>
                  <a:pt x="108" y="17"/>
                  <a:pt x="111" y="14"/>
                  <a:pt x="112" y="12"/>
                </a:cubicBezTo>
                <a:cubicBezTo>
                  <a:pt x="114" y="10"/>
                  <a:pt x="113" y="9"/>
                  <a:pt x="111" y="9"/>
                </a:cubicBezTo>
                <a:cubicBezTo>
                  <a:pt x="109" y="9"/>
                  <a:pt x="109" y="10"/>
                  <a:pt x="108" y="11"/>
                </a:cubicBezTo>
                <a:cubicBezTo>
                  <a:pt x="107" y="11"/>
                  <a:pt x="101" y="14"/>
                  <a:pt x="101" y="13"/>
                </a:cubicBezTo>
                <a:cubicBezTo>
                  <a:pt x="101" y="12"/>
                  <a:pt x="106" y="10"/>
                  <a:pt x="106" y="10"/>
                </a:cubicBezTo>
                <a:cubicBezTo>
                  <a:pt x="106" y="9"/>
                  <a:pt x="99" y="9"/>
                  <a:pt x="97" y="10"/>
                </a:cubicBezTo>
                <a:cubicBezTo>
                  <a:pt x="94" y="10"/>
                  <a:pt x="89" y="12"/>
                  <a:pt x="89" y="11"/>
                </a:cubicBezTo>
                <a:cubicBezTo>
                  <a:pt x="89" y="10"/>
                  <a:pt x="95" y="9"/>
                  <a:pt x="98" y="9"/>
                </a:cubicBezTo>
                <a:cubicBezTo>
                  <a:pt x="100" y="8"/>
                  <a:pt x="106" y="9"/>
                  <a:pt x="108" y="8"/>
                </a:cubicBezTo>
                <a:cubicBezTo>
                  <a:pt x="110" y="7"/>
                  <a:pt x="113" y="7"/>
                  <a:pt x="114" y="6"/>
                </a:cubicBezTo>
                <a:cubicBezTo>
                  <a:pt x="115" y="5"/>
                  <a:pt x="111" y="4"/>
                  <a:pt x="110" y="5"/>
                </a:cubicBezTo>
                <a:cubicBezTo>
                  <a:pt x="108" y="5"/>
                  <a:pt x="107" y="4"/>
                  <a:pt x="107" y="4"/>
                </a:cubicBezTo>
                <a:cubicBezTo>
                  <a:pt x="107" y="3"/>
                  <a:pt x="105" y="3"/>
                  <a:pt x="104" y="2"/>
                </a:cubicBezTo>
                <a:cubicBezTo>
                  <a:pt x="104" y="1"/>
                  <a:pt x="99" y="2"/>
                  <a:pt x="98" y="1"/>
                </a:cubicBezTo>
                <a:cubicBezTo>
                  <a:pt x="97" y="1"/>
                  <a:pt x="94" y="0"/>
                  <a:pt x="91" y="0"/>
                </a:cubicBezTo>
                <a:cubicBezTo>
                  <a:pt x="89" y="1"/>
                  <a:pt x="83" y="1"/>
                  <a:pt x="82" y="1"/>
                </a:cubicBezTo>
                <a:cubicBezTo>
                  <a:pt x="81" y="1"/>
                  <a:pt x="80" y="1"/>
                  <a:pt x="79" y="1"/>
                </a:cubicBezTo>
                <a:cubicBezTo>
                  <a:pt x="78" y="1"/>
                  <a:pt x="76" y="2"/>
                  <a:pt x="77" y="2"/>
                </a:cubicBezTo>
                <a:cubicBezTo>
                  <a:pt x="78" y="4"/>
                  <a:pt x="75" y="4"/>
                  <a:pt x="75" y="3"/>
                </a:cubicBezTo>
                <a:cubicBezTo>
                  <a:pt x="75" y="2"/>
                  <a:pt x="73" y="2"/>
                  <a:pt x="72" y="2"/>
                </a:cubicBezTo>
                <a:cubicBezTo>
                  <a:pt x="71" y="3"/>
                  <a:pt x="66" y="2"/>
                  <a:pt x="66" y="2"/>
                </a:cubicBezTo>
                <a:cubicBezTo>
                  <a:pt x="65" y="3"/>
                  <a:pt x="60" y="3"/>
                  <a:pt x="58" y="3"/>
                </a:cubicBezTo>
                <a:cubicBezTo>
                  <a:pt x="57" y="4"/>
                  <a:pt x="61" y="5"/>
                  <a:pt x="61" y="5"/>
                </a:cubicBezTo>
                <a:cubicBezTo>
                  <a:pt x="61" y="6"/>
                  <a:pt x="56" y="5"/>
                  <a:pt x="57" y="6"/>
                </a:cubicBezTo>
                <a:cubicBezTo>
                  <a:pt x="58" y="8"/>
                  <a:pt x="61" y="9"/>
                  <a:pt x="62" y="10"/>
                </a:cubicBezTo>
                <a:cubicBezTo>
                  <a:pt x="64" y="12"/>
                  <a:pt x="61" y="11"/>
                  <a:pt x="60" y="10"/>
                </a:cubicBezTo>
                <a:cubicBezTo>
                  <a:pt x="58" y="8"/>
                  <a:pt x="56" y="9"/>
                  <a:pt x="55" y="8"/>
                </a:cubicBezTo>
                <a:cubicBezTo>
                  <a:pt x="54" y="7"/>
                  <a:pt x="50" y="6"/>
                  <a:pt x="49" y="6"/>
                </a:cubicBezTo>
                <a:cubicBezTo>
                  <a:pt x="48" y="7"/>
                  <a:pt x="51" y="9"/>
                  <a:pt x="51" y="9"/>
                </a:cubicBezTo>
                <a:cubicBezTo>
                  <a:pt x="51" y="10"/>
                  <a:pt x="49" y="9"/>
                  <a:pt x="48" y="10"/>
                </a:cubicBezTo>
                <a:cubicBezTo>
                  <a:pt x="48" y="10"/>
                  <a:pt x="46" y="7"/>
                  <a:pt x="44" y="7"/>
                </a:cubicBezTo>
                <a:cubicBezTo>
                  <a:pt x="43" y="7"/>
                  <a:pt x="44" y="9"/>
                  <a:pt x="44" y="10"/>
                </a:cubicBezTo>
                <a:cubicBezTo>
                  <a:pt x="44" y="12"/>
                  <a:pt x="41" y="13"/>
                  <a:pt x="42" y="12"/>
                </a:cubicBezTo>
                <a:cubicBezTo>
                  <a:pt x="43" y="11"/>
                  <a:pt x="42" y="8"/>
                  <a:pt x="41" y="7"/>
                </a:cubicBezTo>
                <a:cubicBezTo>
                  <a:pt x="40" y="7"/>
                  <a:pt x="36" y="8"/>
                  <a:pt x="34" y="8"/>
                </a:cubicBezTo>
                <a:cubicBezTo>
                  <a:pt x="32" y="8"/>
                  <a:pt x="30" y="9"/>
                  <a:pt x="32" y="10"/>
                </a:cubicBezTo>
                <a:cubicBezTo>
                  <a:pt x="33" y="11"/>
                  <a:pt x="32" y="11"/>
                  <a:pt x="30" y="10"/>
                </a:cubicBezTo>
                <a:cubicBezTo>
                  <a:pt x="29" y="9"/>
                  <a:pt x="24" y="10"/>
                  <a:pt x="25" y="11"/>
                </a:cubicBezTo>
                <a:cubicBezTo>
                  <a:pt x="26" y="11"/>
                  <a:pt x="26" y="13"/>
                  <a:pt x="26" y="14"/>
                </a:cubicBezTo>
                <a:cubicBezTo>
                  <a:pt x="25" y="15"/>
                  <a:pt x="23" y="13"/>
                  <a:pt x="22" y="13"/>
                </a:cubicBezTo>
                <a:cubicBezTo>
                  <a:pt x="20" y="14"/>
                  <a:pt x="11" y="18"/>
                  <a:pt x="12" y="19"/>
                </a:cubicBezTo>
                <a:cubicBezTo>
                  <a:pt x="12" y="20"/>
                  <a:pt x="16" y="19"/>
                  <a:pt x="17" y="20"/>
                </a:cubicBezTo>
                <a:cubicBezTo>
                  <a:pt x="18" y="20"/>
                  <a:pt x="17" y="23"/>
                  <a:pt x="15" y="24"/>
                </a:cubicBezTo>
                <a:cubicBezTo>
                  <a:pt x="14" y="25"/>
                  <a:pt x="8" y="24"/>
                  <a:pt x="8" y="25"/>
                </a:cubicBezTo>
                <a:cubicBezTo>
                  <a:pt x="8" y="26"/>
                  <a:pt x="0" y="26"/>
                  <a:pt x="0" y="28"/>
                </a:cubicBezTo>
                <a:cubicBezTo>
                  <a:pt x="0" y="29"/>
                  <a:pt x="0" y="30"/>
                  <a:pt x="1" y="30"/>
                </a:cubicBezTo>
                <a:cubicBezTo>
                  <a:pt x="2" y="30"/>
                  <a:pt x="4" y="30"/>
                  <a:pt x="5" y="31"/>
                </a:cubicBezTo>
                <a:cubicBezTo>
                  <a:pt x="6" y="32"/>
                  <a:pt x="9" y="32"/>
                  <a:pt x="11" y="31"/>
                </a:cubicBezTo>
                <a:cubicBezTo>
                  <a:pt x="13" y="31"/>
                  <a:pt x="14" y="32"/>
                  <a:pt x="14" y="33"/>
                </a:cubicBezTo>
                <a:cubicBezTo>
                  <a:pt x="14" y="34"/>
                  <a:pt x="10" y="32"/>
                  <a:pt x="8" y="33"/>
                </a:cubicBezTo>
                <a:cubicBezTo>
                  <a:pt x="7" y="34"/>
                  <a:pt x="3" y="33"/>
                  <a:pt x="3" y="34"/>
                </a:cubicBezTo>
                <a:cubicBezTo>
                  <a:pt x="3" y="35"/>
                  <a:pt x="5" y="35"/>
                  <a:pt x="7" y="35"/>
                </a:cubicBezTo>
                <a:cubicBezTo>
                  <a:pt x="9" y="36"/>
                  <a:pt x="7" y="36"/>
                  <a:pt x="7" y="37"/>
                </a:cubicBezTo>
                <a:cubicBezTo>
                  <a:pt x="7" y="38"/>
                  <a:pt x="8" y="38"/>
                  <a:pt x="10" y="38"/>
                </a:cubicBezTo>
                <a:cubicBezTo>
                  <a:pt x="11" y="39"/>
                  <a:pt x="14" y="40"/>
                  <a:pt x="13" y="39"/>
                </a:cubicBezTo>
                <a:cubicBezTo>
                  <a:pt x="12" y="38"/>
                  <a:pt x="15" y="38"/>
                  <a:pt x="15" y="39"/>
                </a:cubicBezTo>
                <a:cubicBezTo>
                  <a:pt x="16" y="39"/>
                  <a:pt x="17" y="38"/>
                  <a:pt x="18" y="38"/>
                </a:cubicBezTo>
                <a:cubicBezTo>
                  <a:pt x="20" y="38"/>
                  <a:pt x="20" y="37"/>
                  <a:pt x="21" y="37"/>
                </a:cubicBezTo>
                <a:cubicBezTo>
                  <a:pt x="22" y="38"/>
                  <a:pt x="27" y="39"/>
                  <a:pt x="28" y="39"/>
                </a:cubicBezTo>
                <a:cubicBezTo>
                  <a:pt x="30" y="40"/>
                  <a:pt x="32" y="40"/>
                  <a:pt x="32" y="42"/>
                </a:cubicBezTo>
                <a:cubicBezTo>
                  <a:pt x="31" y="43"/>
                  <a:pt x="33" y="44"/>
                  <a:pt x="35" y="45"/>
                </a:cubicBezTo>
                <a:cubicBezTo>
                  <a:pt x="37" y="45"/>
                  <a:pt x="37" y="47"/>
                  <a:pt x="37" y="48"/>
                </a:cubicBezTo>
                <a:cubicBezTo>
                  <a:pt x="37" y="49"/>
                  <a:pt x="39" y="50"/>
                  <a:pt x="38" y="51"/>
                </a:cubicBezTo>
                <a:cubicBezTo>
                  <a:pt x="38" y="51"/>
                  <a:pt x="38" y="52"/>
                  <a:pt x="39" y="53"/>
                </a:cubicBezTo>
                <a:cubicBezTo>
                  <a:pt x="41" y="54"/>
                  <a:pt x="38" y="55"/>
                  <a:pt x="38" y="56"/>
                </a:cubicBezTo>
                <a:cubicBezTo>
                  <a:pt x="39" y="57"/>
                  <a:pt x="37" y="58"/>
                  <a:pt x="39" y="59"/>
                </a:cubicBezTo>
                <a:cubicBezTo>
                  <a:pt x="41" y="59"/>
                  <a:pt x="41" y="57"/>
                  <a:pt x="43" y="57"/>
                </a:cubicBezTo>
                <a:cubicBezTo>
                  <a:pt x="44" y="57"/>
                  <a:pt x="43" y="59"/>
                  <a:pt x="44" y="59"/>
                </a:cubicBezTo>
                <a:cubicBezTo>
                  <a:pt x="44" y="60"/>
                  <a:pt x="46" y="60"/>
                  <a:pt x="48" y="61"/>
                </a:cubicBezTo>
                <a:cubicBezTo>
                  <a:pt x="49" y="63"/>
                  <a:pt x="48" y="63"/>
                  <a:pt x="47" y="62"/>
                </a:cubicBezTo>
                <a:cubicBezTo>
                  <a:pt x="45" y="61"/>
                  <a:pt x="41" y="62"/>
                  <a:pt x="41" y="62"/>
                </a:cubicBezTo>
                <a:cubicBezTo>
                  <a:pt x="41" y="62"/>
                  <a:pt x="46" y="65"/>
                  <a:pt x="47" y="65"/>
                </a:cubicBezTo>
                <a:cubicBezTo>
                  <a:pt x="48" y="64"/>
                  <a:pt x="50" y="66"/>
                  <a:pt x="49" y="67"/>
                </a:cubicBezTo>
                <a:cubicBezTo>
                  <a:pt x="48" y="68"/>
                  <a:pt x="49" y="69"/>
                  <a:pt x="48" y="70"/>
                </a:cubicBezTo>
                <a:cubicBezTo>
                  <a:pt x="48" y="71"/>
                  <a:pt x="47" y="70"/>
                  <a:pt x="46" y="70"/>
                </a:cubicBezTo>
                <a:cubicBezTo>
                  <a:pt x="45" y="70"/>
                  <a:pt x="44" y="71"/>
                  <a:pt x="44" y="72"/>
                </a:cubicBezTo>
                <a:cubicBezTo>
                  <a:pt x="44" y="73"/>
                  <a:pt x="42" y="74"/>
                  <a:pt x="42" y="75"/>
                </a:cubicBezTo>
                <a:cubicBezTo>
                  <a:pt x="42" y="76"/>
                  <a:pt x="43" y="76"/>
                  <a:pt x="44" y="77"/>
                </a:cubicBezTo>
                <a:cubicBezTo>
                  <a:pt x="45" y="77"/>
                  <a:pt x="43" y="78"/>
                  <a:pt x="42" y="79"/>
                </a:cubicBezTo>
                <a:cubicBezTo>
                  <a:pt x="42" y="80"/>
                  <a:pt x="45" y="82"/>
                  <a:pt x="46" y="82"/>
                </a:cubicBezTo>
                <a:cubicBezTo>
                  <a:pt x="46" y="83"/>
                  <a:pt x="46" y="85"/>
                  <a:pt x="46" y="86"/>
                </a:cubicBezTo>
                <a:cubicBezTo>
                  <a:pt x="46" y="87"/>
                  <a:pt x="47" y="86"/>
                  <a:pt x="47" y="87"/>
                </a:cubicBezTo>
                <a:cubicBezTo>
                  <a:pt x="47" y="88"/>
                  <a:pt x="48" y="88"/>
                  <a:pt x="48" y="89"/>
                </a:cubicBezTo>
                <a:cubicBezTo>
                  <a:pt x="48" y="90"/>
                  <a:pt x="50" y="90"/>
                  <a:pt x="50" y="91"/>
                </a:cubicBezTo>
                <a:cubicBezTo>
                  <a:pt x="50" y="92"/>
                  <a:pt x="51" y="93"/>
                  <a:pt x="51" y="94"/>
                </a:cubicBezTo>
                <a:cubicBezTo>
                  <a:pt x="52" y="94"/>
                  <a:pt x="53" y="96"/>
                  <a:pt x="54" y="96"/>
                </a:cubicBezTo>
                <a:cubicBezTo>
                  <a:pt x="54" y="97"/>
                  <a:pt x="55" y="98"/>
                  <a:pt x="56" y="98"/>
                </a:cubicBezTo>
                <a:cubicBezTo>
                  <a:pt x="57" y="98"/>
                  <a:pt x="57" y="99"/>
                  <a:pt x="58" y="99"/>
                </a:cubicBezTo>
                <a:cubicBezTo>
                  <a:pt x="59" y="99"/>
                  <a:pt x="61" y="99"/>
                  <a:pt x="61" y="100"/>
                </a:cubicBezTo>
                <a:cubicBezTo>
                  <a:pt x="61" y="101"/>
                  <a:pt x="64" y="101"/>
                  <a:pt x="65" y="101"/>
                </a:cubicBezTo>
                <a:cubicBezTo>
                  <a:pt x="65" y="101"/>
                  <a:pt x="66" y="100"/>
                  <a:pt x="66" y="100"/>
                </a:cubicBezTo>
                <a:cubicBezTo>
                  <a:pt x="67" y="99"/>
                  <a:pt x="67" y="96"/>
                  <a:pt x="67" y="96"/>
                </a:cubicBezTo>
                <a:cubicBezTo>
                  <a:pt x="68" y="96"/>
                  <a:pt x="68" y="93"/>
                  <a:pt x="67" y="93"/>
                </a:cubicBezTo>
                <a:cubicBezTo>
                  <a:pt x="67" y="92"/>
                  <a:pt x="67" y="91"/>
                  <a:pt x="68" y="92"/>
                </a:cubicBezTo>
                <a:cubicBezTo>
                  <a:pt x="70" y="92"/>
                  <a:pt x="69" y="90"/>
                  <a:pt x="70" y="90"/>
                </a:cubicBezTo>
                <a:cubicBezTo>
                  <a:pt x="71" y="90"/>
                  <a:pt x="70" y="89"/>
                  <a:pt x="71" y="88"/>
                </a:cubicBezTo>
                <a:cubicBezTo>
                  <a:pt x="71" y="88"/>
                  <a:pt x="71" y="87"/>
                  <a:pt x="71" y="87"/>
                </a:cubicBezTo>
                <a:cubicBezTo>
                  <a:pt x="71" y="86"/>
                  <a:pt x="71" y="86"/>
                  <a:pt x="72" y="86"/>
                </a:cubicBezTo>
                <a:cubicBezTo>
                  <a:pt x="73" y="86"/>
                  <a:pt x="72" y="85"/>
                  <a:pt x="71" y="84"/>
                </a:cubicBezTo>
                <a:cubicBezTo>
                  <a:pt x="70" y="84"/>
                  <a:pt x="71" y="83"/>
                  <a:pt x="72" y="83"/>
                </a:cubicBezTo>
                <a:cubicBezTo>
                  <a:pt x="73" y="84"/>
                  <a:pt x="74" y="83"/>
                  <a:pt x="73" y="83"/>
                </a:cubicBezTo>
                <a:cubicBezTo>
                  <a:pt x="72" y="82"/>
                  <a:pt x="74" y="82"/>
                  <a:pt x="75" y="81"/>
                </a:cubicBezTo>
                <a:cubicBezTo>
                  <a:pt x="76" y="81"/>
                  <a:pt x="77" y="81"/>
                  <a:pt x="77" y="80"/>
                </a:cubicBezTo>
                <a:cubicBezTo>
                  <a:pt x="77" y="78"/>
                  <a:pt x="78" y="79"/>
                  <a:pt x="78" y="79"/>
                </a:cubicBezTo>
                <a:cubicBezTo>
                  <a:pt x="78" y="80"/>
                  <a:pt x="78" y="81"/>
                  <a:pt x="78" y="81"/>
                </a:cubicBezTo>
                <a:cubicBezTo>
                  <a:pt x="79" y="80"/>
                  <a:pt x="80" y="80"/>
                  <a:pt x="83" y="80"/>
                </a:cubicBezTo>
                <a:cubicBezTo>
                  <a:pt x="85" y="79"/>
                  <a:pt x="87" y="77"/>
                  <a:pt x="88" y="76"/>
                </a:cubicBezTo>
                <a:cubicBezTo>
                  <a:pt x="88" y="74"/>
                  <a:pt x="91" y="74"/>
                  <a:pt x="90" y="73"/>
                </a:cubicBezTo>
                <a:cubicBezTo>
                  <a:pt x="90" y="72"/>
                  <a:pt x="91" y="71"/>
                  <a:pt x="92" y="72"/>
                </a:cubicBezTo>
                <a:cubicBezTo>
                  <a:pt x="94" y="73"/>
                  <a:pt x="93" y="71"/>
                  <a:pt x="95" y="71"/>
                </a:cubicBezTo>
                <a:cubicBezTo>
                  <a:pt x="96" y="71"/>
                  <a:pt x="96" y="71"/>
                  <a:pt x="98" y="71"/>
                </a:cubicBezTo>
                <a:cubicBezTo>
                  <a:pt x="100" y="71"/>
                  <a:pt x="104" y="70"/>
                  <a:pt x="106" y="69"/>
                </a:cubicBezTo>
                <a:cubicBezTo>
                  <a:pt x="107" y="67"/>
                  <a:pt x="111" y="66"/>
                  <a:pt x="112" y="65"/>
                </a:cubicBezTo>
                <a:cubicBezTo>
                  <a:pt x="113" y="64"/>
                  <a:pt x="114" y="64"/>
                  <a:pt x="113" y="64"/>
                </a:cubicBezTo>
                <a:cubicBezTo>
                  <a:pt x="112" y="65"/>
                  <a:pt x="110" y="65"/>
                  <a:pt x="109" y="64"/>
                </a:cubicBezTo>
                <a:cubicBezTo>
                  <a:pt x="108" y="64"/>
                  <a:pt x="105" y="63"/>
                  <a:pt x="104" y="64"/>
                </a:cubicBezTo>
                <a:cubicBezTo>
                  <a:pt x="102" y="65"/>
                  <a:pt x="103" y="63"/>
                  <a:pt x="105" y="62"/>
                </a:cubicBezTo>
                <a:cubicBezTo>
                  <a:pt x="106" y="62"/>
                  <a:pt x="105" y="62"/>
                  <a:pt x="105" y="60"/>
                </a:cubicBezTo>
                <a:cubicBezTo>
                  <a:pt x="105" y="59"/>
                  <a:pt x="107" y="60"/>
                  <a:pt x="108" y="61"/>
                </a:cubicBezTo>
                <a:cubicBezTo>
                  <a:pt x="109" y="63"/>
                  <a:pt x="111" y="63"/>
                  <a:pt x="113" y="63"/>
                </a:cubicBezTo>
                <a:cubicBezTo>
                  <a:pt x="115" y="62"/>
                  <a:pt x="113" y="61"/>
                  <a:pt x="114" y="60"/>
                </a:cubicBezTo>
                <a:cubicBezTo>
                  <a:pt x="115" y="59"/>
                  <a:pt x="108" y="56"/>
                  <a:pt x="108" y="55"/>
                </a:cubicBezTo>
                <a:cubicBezTo>
                  <a:pt x="108" y="54"/>
                  <a:pt x="110" y="55"/>
                  <a:pt x="111" y="55"/>
                </a:cubicBezTo>
                <a:cubicBezTo>
                  <a:pt x="113" y="56"/>
                  <a:pt x="113" y="54"/>
                  <a:pt x="113" y="53"/>
                </a:cubicBezTo>
                <a:cubicBezTo>
                  <a:pt x="113" y="52"/>
                  <a:pt x="110" y="52"/>
                  <a:pt x="108" y="53"/>
                </a:cubicBezTo>
                <a:cubicBezTo>
                  <a:pt x="106" y="54"/>
                  <a:pt x="105" y="52"/>
                  <a:pt x="107" y="51"/>
                </a:cubicBezTo>
                <a:cubicBezTo>
                  <a:pt x="109" y="51"/>
                  <a:pt x="107" y="50"/>
                  <a:pt x="108" y="50"/>
                </a:cubicBezTo>
                <a:cubicBezTo>
                  <a:pt x="109" y="49"/>
                  <a:pt x="111" y="52"/>
                  <a:pt x="113" y="51"/>
                </a:cubicBezTo>
                <a:cubicBezTo>
                  <a:pt x="114" y="51"/>
                  <a:pt x="115" y="51"/>
                  <a:pt x="117" y="50"/>
                </a:cubicBezTo>
                <a:cubicBezTo>
                  <a:pt x="118" y="49"/>
                  <a:pt x="114" y="48"/>
                  <a:pt x="114" y="47"/>
                </a:cubicBezTo>
                <a:cubicBezTo>
                  <a:pt x="113" y="47"/>
                  <a:pt x="117" y="47"/>
                  <a:pt x="119" y="47"/>
                </a:cubicBezTo>
                <a:cubicBezTo>
                  <a:pt x="120" y="47"/>
                  <a:pt x="120" y="45"/>
                  <a:pt x="119" y="45"/>
                </a:cubicBezTo>
                <a:cubicBezTo>
                  <a:pt x="118" y="46"/>
                  <a:pt x="114" y="44"/>
                  <a:pt x="115" y="43"/>
                </a:cubicBezTo>
                <a:cubicBezTo>
                  <a:pt x="116" y="42"/>
                  <a:pt x="117" y="43"/>
                  <a:pt x="119" y="42"/>
                </a:cubicBezTo>
                <a:cubicBezTo>
                  <a:pt x="121" y="41"/>
                  <a:pt x="119" y="38"/>
                  <a:pt x="118" y="38"/>
                </a:cubicBezTo>
                <a:cubicBezTo>
                  <a:pt x="117" y="38"/>
                  <a:pt x="114" y="38"/>
                  <a:pt x="114" y="37"/>
                </a:cubicBezTo>
                <a:cubicBezTo>
                  <a:pt x="114" y="37"/>
                  <a:pt x="112" y="36"/>
                  <a:pt x="112" y="36"/>
                </a:cubicBezTo>
                <a:cubicBezTo>
                  <a:pt x="113" y="35"/>
                  <a:pt x="114" y="36"/>
                  <a:pt x="115" y="35"/>
                </a:cubicBezTo>
                <a:cubicBezTo>
                  <a:pt x="117" y="34"/>
                  <a:pt x="120" y="35"/>
                  <a:pt x="121" y="35"/>
                </a:cubicBezTo>
                <a:cubicBezTo>
                  <a:pt x="123" y="35"/>
                  <a:pt x="121" y="32"/>
                  <a:pt x="120" y="33"/>
                </a:cubicBezTo>
                <a:cubicBezTo>
                  <a:pt x="119" y="33"/>
                  <a:pt x="117" y="33"/>
                  <a:pt x="116" y="32"/>
                </a:cubicBezTo>
                <a:cubicBezTo>
                  <a:pt x="116" y="31"/>
                  <a:pt x="119" y="32"/>
                  <a:pt x="119" y="31"/>
                </a:cubicBezTo>
                <a:cubicBezTo>
                  <a:pt x="120" y="31"/>
                  <a:pt x="116" y="29"/>
                  <a:pt x="115" y="30"/>
                </a:cubicBezTo>
                <a:cubicBezTo>
                  <a:pt x="114" y="32"/>
                  <a:pt x="112" y="31"/>
                  <a:pt x="113" y="31"/>
                </a:cubicBezTo>
                <a:cubicBezTo>
                  <a:pt x="114" y="30"/>
                  <a:pt x="115" y="28"/>
                  <a:pt x="115" y="26"/>
                </a:cubicBezTo>
                <a:cubicBezTo>
                  <a:pt x="114" y="25"/>
                  <a:pt x="119" y="25"/>
                  <a:pt x="118" y="23"/>
                </a:cubicBezTo>
                <a:cubicBezTo>
                  <a:pt x="118" y="22"/>
                  <a:pt x="121" y="21"/>
                  <a:pt x="122" y="21"/>
                </a:cubicBezTo>
                <a:cubicBezTo>
                  <a:pt x="124" y="21"/>
                  <a:pt x="122" y="19"/>
                  <a:pt x="121" y="19"/>
                </a:cubicBezTo>
                <a:cubicBezTo>
                  <a:pt x="119" y="20"/>
                  <a:pt x="118" y="21"/>
                  <a:pt x="117" y="21"/>
                </a:cubicBezTo>
                <a:cubicBezTo>
                  <a:pt x="116" y="20"/>
                  <a:pt x="119" y="19"/>
                  <a:pt x="120" y="19"/>
                </a:cubicBezTo>
                <a:cubicBezTo>
                  <a:pt x="121" y="19"/>
                  <a:pt x="124" y="19"/>
                  <a:pt x="126" y="18"/>
                </a:cubicBezTo>
                <a:cubicBezTo>
                  <a:pt x="127" y="17"/>
                  <a:pt x="124" y="17"/>
                  <a:pt x="121" y="17"/>
                </a:cubicBezTo>
                <a:cubicBezTo>
                  <a:pt x="119" y="17"/>
                  <a:pt x="119" y="16"/>
                  <a:pt x="123" y="16"/>
                </a:cubicBezTo>
                <a:cubicBezTo>
                  <a:pt x="126" y="16"/>
                  <a:pt x="125" y="16"/>
                  <a:pt x="127" y="15"/>
                </a:cubicBezTo>
                <a:cubicBezTo>
                  <a:pt x="130" y="15"/>
                  <a:pt x="129" y="14"/>
                  <a:pt x="130" y="14"/>
                </a:cubicBezTo>
                <a:cubicBezTo>
                  <a:pt x="132" y="14"/>
                  <a:pt x="135" y="13"/>
                  <a:pt x="135" y="12"/>
                </a:cubicBezTo>
                <a:cubicBezTo>
                  <a:pt x="135" y="11"/>
                  <a:pt x="130" y="10"/>
                  <a:pt x="128" y="10"/>
                </a:cubicBezTo>
                <a:moveTo>
                  <a:pt x="46" y="67"/>
                </a:moveTo>
                <a:cubicBezTo>
                  <a:pt x="46" y="66"/>
                  <a:pt x="45" y="66"/>
                  <a:pt x="44" y="65"/>
                </a:cubicBezTo>
                <a:cubicBezTo>
                  <a:pt x="44" y="64"/>
                  <a:pt x="40" y="63"/>
                  <a:pt x="40" y="64"/>
                </a:cubicBezTo>
                <a:cubicBezTo>
                  <a:pt x="40" y="65"/>
                  <a:pt x="39" y="65"/>
                  <a:pt x="40" y="66"/>
                </a:cubicBezTo>
                <a:cubicBezTo>
                  <a:pt x="41" y="67"/>
                  <a:pt x="41" y="67"/>
                  <a:pt x="42" y="67"/>
                </a:cubicBezTo>
                <a:cubicBezTo>
                  <a:pt x="43" y="68"/>
                  <a:pt x="46" y="68"/>
                  <a:pt x="46" y="67"/>
                </a:cubicBezTo>
              </a:path>
            </a:pathLst>
          </a:cu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59"/>
          <p:cNvSpPr>
            <a:spLocks noEditPoints="1"/>
          </p:cNvSpPr>
          <p:nvPr/>
        </p:nvSpPr>
        <p:spPr bwMode="auto">
          <a:xfrm>
            <a:off x="685806" y="2063501"/>
            <a:ext cx="950909" cy="732844"/>
          </a:xfrm>
          <a:custGeom>
            <a:avLst/>
            <a:gdLst>
              <a:gd name="T0" fmla="*/ 40 w 197"/>
              <a:gd name="T1" fmla="*/ 134 h 152"/>
              <a:gd name="T2" fmla="*/ 37 w 197"/>
              <a:gd name="T3" fmla="*/ 45 h 152"/>
              <a:gd name="T4" fmla="*/ 76 w 197"/>
              <a:gd name="T5" fmla="*/ 49 h 152"/>
              <a:gd name="T6" fmla="*/ 50 w 197"/>
              <a:gd name="T7" fmla="*/ 53 h 152"/>
              <a:gd name="T8" fmla="*/ 76 w 197"/>
              <a:gd name="T9" fmla="*/ 66 h 152"/>
              <a:gd name="T10" fmla="*/ 46 w 197"/>
              <a:gd name="T11" fmla="*/ 38 h 152"/>
              <a:gd name="T12" fmla="*/ 41 w 197"/>
              <a:gd name="T13" fmla="*/ 36 h 152"/>
              <a:gd name="T14" fmla="*/ 72 w 197"/>
              <a:gd name="T15" fmla="*/ 42 h 152"/>
              <a:gd name="T16" fmla="*/ 58 w 197"/>
              <a:gd name="T17" fmla="*/ 28 h 152"/>
              <a:gd name="T18" fmla="*/ 81 w 197"/>
              <a:gd name="T19" fmla="*/ 23 h 152"/>
              <a:gd name="T20" fmla="*/ 81 w 197"/>
              <a:gd name="T21" fmla="*/ 32 h 152"/>
              <a:gd name="T22" fmla="*/ 82 w 197"/>
              <a:gd name="T23" fmla="*/ 36 h 152"/>
              <a:gd name="T24" fmla="*/ 106 w 197"/>
              <a:gd name="T25" fmla="*/ 29 h 152"/>
              <a:gd name="T26" fmla="*/ 96 w 197"/>
              <a:gd name="T27" fmla="*/ 46 h 152"/>
              <a:gd name="T28" fmla="*/ 134 w 197"/>
              <a:gd name="T29" fmla="*/ 43 h 152"/>
              <a:gd name="T30" fmla="*/ 114 w 197"/>
              <a:gd name="T31" fmla="*/ 30 h 152"/>
              <a:gd name="T32" fmla="*/ 117 w 197"/>
              <a:gd name="T33" fmla="*/ 16 h 152"/>
              <a:gd name="T34" fmla="*/ 115 w 197"/>
              <a:gd name="T35" fmla="*/ 13 h 152"/>
              <a:gd name="T36" fmla="*/ 124 w 197"/>
              <a:gd name="T37" fmla="*/ 24 h 152"/>
              <a:gd name="T38" fmla="*/ 137 w 197"/>
              <a:gd name="T39" fmla="*/ 35 h 152"/>
              <a:gd name="T40" fmla="*/ 156 w 197"/>
              <a:gd name="T41" fmla="*/ 17 h 152"/>
              <a:gd name="T42" fmla="*/ 149 w 197"/>
              <a:gd name="T43" fmla="*/ 2 h 152"/>
              <a:gd name="T44" fmla="*/ 111 w 197"/>
              <a:gd name="T45" fmla="*/ 9 h 152"/>
              <a:gd name="T46" fmla="*/ 122 w 197"/>
              <a:gd name="T47" fmla="*/ 86 h 152"/>
              <a:gd name="T48" fmla="*/ 162 w 197"/>
              <a:gd name="T49" fmla="*/ 67 h 152"/>
              <a:gd name="T50" fmla="*/ 146 w 197"/>
              <a:gd name="T51" fmla="*/ 53 h 152"/>
              <a:gd name="T52" fmla="*/ 122 w 197"/>
              <a:gd name="T53" fmla="*/ 49 h 152"/>
              <a:gd name="T54" fmla="*/ 138 w 197"/>
              <a:gd name="T55" fmla="*/ 61 h 152"/>
              <a:gd name="T56" fmla="*/ 144 w 197"/>
              <a:gd name="T57" fmla="*/ 80 h 152"/>
              <a:gd name="T58" fmla="*/ 166 w 197"/>
              <a:gd name="T59" fmla="*/ 82 h 152"/>
              <a:gd name="T60" fmla="*/ 134 w 197"/>
              <a:gd name="T61" fmla="*/ 47 h 152"/>
              <a:gd name="T62" fmla="*/ 189 w 197"/>
              <a:gd name="T63" fmla="*/ 126 h 152"/>
              <a:gd name="T64" fmla="*/ 21 w 197"/>
              <a:gd name="T65" fmla="*/ 123 h 152"/>
              <a:gd name="T66" fmla="*/ 161 w 197"/>
              <a:gd name="T67" fmla="*/ 135 h 152"/>
              <a:gd name="T68" fmla="*/ 189 w 197"/>
              <a:gd name="T69" fmla="*/ 119 h 152"/>
              <a:gd name="T70" fmla="*/ 175 w 197"/>
              <a:gd name="T71" fmla="*/ 110 h 152"/>
              <a:gd name="T72" fmla="*/ 165 w 197"/>
              <a:gd name="T73" fmla="*/ 104 h 152"/>
              <a:gd name="T74" fmla="*/ 149 w 197"/>
              <a:gd name="T75" fmla="*/ 91 h 152"/>
              <a:gd name="T76" fmla="*/ 142 w 197"/>
              <a:gd name="T77" fmla="*/ 107 h 152"/>
              <a:gd name="T78" fmla="*/ 130 w 197"/>
              <a:gd name="T79" fmla="*/ 121 h 152"/>
              <a:gd name="T80" fmla="*/ 105 w 197"/>
              <a:gd name="T81" fmla="*/ 103 h 152"/>
              <a:gd name="T82" fmla="*/ 113 w 197"/>
              <a:gd name="T83" fmla="*/ 85 h 152"/>
              <a:gd name="T84" fmla="*/ 127 w 197"/>
              <a:gd name="T85" fmla="*/ 76 h 152"/>
              <a:gd name="T86" fmla="*/ 125 w 197"/>
              <a:gd name="T87" fmla="*/ 67 h 152"/>
              <a:gd name="T88" fmla="*/ 113 w 197"/>
              <a:gd name="T89" fmla="*/ 67 h 152"/>
              <a:gd name="T90" fmla="*/ 105 w 197"/>
              <a:gd name="T91" fmla="*/ 53 h 152"/>
              <a:gd name="T92" fmla="*/ 101 w 197"/>
              <a:gd name="T93" fmla="*/ 57 h 152"/>
              <a:gd name="T94" fmla="*/ 99 w 197"/>
              <a:gd name="T95" fmla="*/ 71 h 152"/>
              <a:gd name="T96" fmla="*/ 96 w 197"/>
              <a:gd name="T97" fmla="*/ 68 h 152"/>
              <a:gd name="T98" fmla="*/ 78 w 197"/>
              <a:gd name="T99" fmla="*/ 68 h 152"/>
              <a:gd name="T100" fmla="*/ 52 w 197"/>
              <a:gd name="T101" fmla="*/ 67 h 152"/>
              <a:gd name="T102" fmla="*/ 19 w 197"/>
              <a:gd name="T103" fmla="*/ 67 h 152"/>
              <a:gd name="T104" fmla="*/ 9 w 197"/>
              <a:gd name="T105" fmla="*/ 67 h 152"/>
              <a:gd name="T106" fmla="*/ 25 w 197"/>
              <a:gd name="T107" fmla="*/ 115 h 152"/>
              <a:gd name="T108" fmla="*/ 35 w 197"/>
              <a:gd name="T109" fmla="*/ 129 h 152"/>
              <a:gd name="T110" fmla="*/ 122 w 197"/>
              <a:gd name="T111" fmla="*/ 135 h 152"/>
              <a:gd name="T112" fmla="*/ 137 w 197"/>
              <a:gd name="T113" fmla="*/ 150 h 152"/>
              <a:gd name="T114" fmla="*/ 170 w 197"/>
              <a:gd name="T115" fmla="*/ 142 h 152"/>
              <a:gd name="T116" fmla="*/ 47 w 197"/>
              <a:gd name="T117" fmla="*/ 80 h 152"/>
              <a:gd name="T118" fmla="*/ 47 w 197"/>
              <a:gd name="T119" fmla="*/ 77 h 152"/>
              <a:gd name="T120" fmla="*/ 99 w 197"/>
              <a:gd name="T121"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52">
                <a:moveTo>
                  <a:pt x="39" y="133"/>
                </a:moveTo>
                <a:cubicBezTo>
                  <a:pt x="38" y="132"/>
                  <a:pt x="36" y="133"/>
                  <a:pt x="36" y="132"/>
                </a:cubicBezTo>
                <a:cubicBezTo>
                  <a:pt x="36" y="131"/>
                  <a:pt x="34" y="129"/>
                  <a:pt x="34" y="129"/>
                </a:cubicBezTo>
                <a:cubicBezTo>
                  <a:pt x="33" y="129"/>
                  <a:pt x="32" y="129"/>
                  <a:pt x="31" y="128"/>
                </a:cubicBezTo>
                <a:cubicBezTo>
                  <a:pt x="30" y="128"/>
                  <a:pt x="29" y="128"/>
                  <a:pt x="28" y="128"/>
                </a:cubicBezTo>
                <a:cubicBezTo>
                  <a:pt x="28" y="129"/>
                  <a:pt x="29" y="129"/>
                  <a:pt x="29" y="129"/>
                </a:cubicBezTo>
                <a:cubicBezTo>
                  <a:pt x="29" y="130"/>
                  <a:pt x="29" y="130"/>
                  <a:pt x="30" y="130"/>
                </a:cubicBezTo>
                <a:cubicBezTo>
                  <a:pt x="31" y="130"/>
                  <a:pt x="31" y="131"/>
                  <a:pt x="32" y="131"/>
                </a:cubicBezTo>
                <a:cubicBezTo>
                  <a:pt x="32" y="131"/>
                  <a:pt x="32" y="132"/>
                  <a:pt x="33" y="132"/>
                </a:cubicBezTo>
                <a:cubicBezTo>
                  <a:pt x="34" y="132"/>
                  <a:pt x="34" y="133"/>
                  <a:pt x="34" y="133"/>
                </a:cubicBezTo>
                <a:cubicBezTo>
                  <a:pt x="35" y="134"/>
                  <a:pt x="35" y="133"/>
                  <a:pt x="35" y="134"/>
                </a:cubicBezTo>
                <a:cubicBezTo>
                  <a:pt x="35" y="134"/>
                  <a:pt x="36" y="134"/>
                  <a:pt x="36" y="135"/>
                </a:cubicBezTo>
                <a:cubicBezTo>
                  <a:pt x="38" y="135"/>
                  <a:pt x="39" y="135"/>
                  <a:pt x="40" y="135"/>
                </a:cubicBezTo>
                <a:cubicBezTo>
                  <a:pt x="40" y="135"/>
                  <a:pt x="40" y="134"/>
                  <a:pt x="40" y="134"/>
                </a:cubicBezTo>
                <a:cubicBezTo>
                  <a:pt x="40" y="133"/>
                  <a:pt x="39" y="134"/>
                  <a:pt x="39" y="133"/>
                </a:cubicBezTo>
                <a:moveTo>
                  <a:pt x="37" y="55"/>
                </a:moveTo>
                <a:cubicBezTo>
                  <a:pt x="39" y="56"/>
                  <a:pt x="39" y="59"/>
                  <a:pt x="40" y="59"/>
                </a:cubicBezTo>
                <a:cubicBezTo>
                  <a:pt x="41" y="59"/>
                  <a:pt x="40" y="58"/>
                  <a:pt x="42" y="58"/>
                </a:cubicBezTo>
                <a:cubicBezTo>
                  <a:pt x="43" y="58"/>
                  <a:pt x="43" y="57"/>
                  <a:pt x="44" y="57"/>
                </a:cubicBezTo>
                <a:cubicBezTo>
                  <a:pt x="45" y="57"/>
                  <a:pt x="46" y="57"/>
                  <a:pt x="46" y="56"/>
                </a:cubicBezTo>
                <a:cubicBezTo>
                  <a:pt x="46" y="54"/>
                  <a:pt x="47" y="54"/>
                  <a:pt x="48" y="53"/>
                </a:cubicBezTo>
                <a:cubicBezTo>
                  <a:pt x="49" y="53"/>
                  <a:pt x="48" y="52"/>
                  <a:pt x="50" y="51"/>
                </a:cubicBezTo>
                <a:cubicBezTo>
                  <a:pt x="51" y="51"/>
                  <a:pt x="56" y="49"/>
                  <a:pt x="57" y="48"/>
                </a:cubicBezTo>
                <a:cubicBezTo>
                  <a:pt x="58" y="48"/>
                  <a:pt x="56" y="47"/>
                  <a:pt x="54" y="46"/>
                </a:cubicBezTo>
                <a:cubicBezTo>
                  <a:pt x="52" y="45"/>
                  <a:pt x="51" y="44"/>
                  <a:pt x="50" y="45"/>
                </a:cubicBezTo>
                <a:cubicBezTo>
                  <a:pt x="48" y="46"/>
                  <a:pt x="49" y="44"/>
                  <a:pt x="48" y="45"/>
                </a:cubicBezTo>
                <a:cubicBezTo>
                  <a:pt x="47" y="45"/>
                  <a:pt x="44" y="44"/>
                  <a:pt x="44" y="44"/>
                </a:cubicBezTo>
                <a:cubicBezTo>
                  <a:pt x="43" y="43"/>
                  <a:pt x="38" y="45"/>
                  <a:pt x="37" y="45"/>
                </a:cubicBezTo>
                <a:cubicBezTo>
                  <a:pt x="36" y="45"/>
                  <a:pt x="37" y="46"/>
                  <a:pt x="38" y="47"/>
                </a:cubicBezTo>
                <a:cubicBezTo>
                  <a:pt x="39" y="47"/>
                  <a:pt x="36" y="50"/>
                  <a:pt x="36" y="50"/>
                </a:cubicBezTo>
                <a:cubicBezTo>
                  <a:pt x="37" y="51"/>
                  <a:pt x="36" y="52"/>
                  <a:pt x="34" y="53"/>
                </a:cubicBezTo>
                <a:cubicBezTo>
                  <a:pt x="33" y="55"/>
                  <a:pt x="35" y="55"/>
                  <a:pt x="37" y="55"/>
                </a:cubicBezTo>
                <a:moveTo>
                  <a:pt x="86" y="63"/>
                </a:moveTo>
                <a:cubicBezTo>
                  <a:pt x="87" y="63"/>
                  <a:pt x="89" y="65"/>
                  <a:pt x="89" y="63"/>
                </a:cubicBezTo>
                <a:cubicBezTo>
                  <a:pt x="89" y="62"/>
                  <a:pt x="86" y="61"/>
                  <a:pt x="85" y="60"/>
                </a:cubicBezTo>
                <a:cubicBezTo>
                  <a:pt x="84" y="59"/>
                  <a:pt x="84" y="60"/>
                  <a:pt x="82" y="58"/>
                </a:cubicBezTo>
                <a:cubicBezTo>
                  <a:pt x="80" y="57"/>
                  <a:pt x="82" y="56"/>
                  <a:pt x="81" y="55"/>
                </a:cubicBezTo>
                <a:cubicBezTo>
                  <a:pt x="79" y="54"/>
                  <a:pt x="79" y="51"/>
                  <a:pt x="80" y="50"/>
                </a:cubicBezTo>
                <a:cubicBezTo>
                  <a:pt x="81" y="49"/>
                  <a:pt x="82" y="48"/>
                  <a:pt x="80" y="47"/>
                </a:cubicBezTo>
                <a:cubicBezTo>
                  <a:pt x="79" y="47"/>
                  <a:pt x="76" y="48"/>
                  <a:pt x="76" y="48"/>
                </a:cubicBezTo>
                <a:cubicBezTo>
                  <a:pt x="76" y="49"/>
                  <a:pt x="79" y="50"/>
                  <a:pt x="79" y="51"/>
                </a:cubicBezTo>
                <a:cubicBezTo>
                  <a:pt x="79" y="51"/>
                  <a:pt x="76" y="49"/>
                  <a:pt x="76" y="49"/>
                </a:cubicBezTo>
                <a:cubicBezTo>
                  <a:pt x="75" y="50"/>
                  <a:pt x="74" y="48"/>
                  <a:pt x="73" y="49"/>
                </a:cubicBezTo>
                <a:cubicBezTo>
                  <a:pt x="73" y="50"/>
                  <a:pt x="74" y="54"/>
                  <a:pt x="75" y="55"/>
                </a:cubicBezTo>
                <a:cubicBezTo>
                  <a:pt x="75" y="56"/>
                  <a:pt x="74" y="56"/>
                  <a:pt x="73" y="56"/>
                </a:cubicBezTo>
                <a:cubicBezTo>
                  <a:pt x="73" y="56"/>
                  <a:pt x="73" y="53"/>
                  <a:pt x="72" y="52"/>
                </a:cubicBezTo>
                <a:cubicBezTo>
                  <a:pt x="71" y="51"/>
                  <a:pt x="68" y="50"/>
                  <a:pt x="68" y="51"/>
                </a:cubicBezTo>
                <a:cubicBezTo>
                  <a:pt x="67" y="51"/>
                  <a:pt x="70" y="51"/>
                  <a:pt x="69" y="52"/>
                </a:cubicBezTo>
                <a:cubicBezTo>
                  <a:pt x="69" y="53"/>
                  <a:pt x="68" y="52"/>
                  <a:pt x="67" y="53"/>
                </a:cubicBezTo>
                <a:cubicBezTo>
                  <a:pt x="66" y="53"/>
                  <a:pt x="66" y="53"/>
                  <a:pt x="66" y="52"/>
                </a:cubicBezTo>
                <a:cubicBezTo>
                  <a:pt x="66" y="51"/>
                  <a:pt x="64" y="50"/>
                  <a:pt x="63" y="50"/>
                </a:cubicBezTo>
                <a:cubicBezTo>
                  <a:pt x="61" y="51"/>
                  <a:pt x="62" y="52"/>
                  <a:pt x="61" y="52"/>
                </a:cubicBezTo>
                <a:cubicBezTo>
                  <a:pt x="60" y="53"/>
                  <a:pt x="58" y="52"/>
                  <a:pt x="59" y="52"/>
                </a:cubicBezTo>
                <a:cubicBezTo>
                  <a:pt x="61" y="51"/>
                  <a:pt x="60" y="50"/>
                  <a:pt x="60" y="49"/>
                </a:cubicBezTo>
                <a:cubicBezTo>
                  <a:pt x="59" y="48"/>
                  <a:pt x="57" y="49"/>
                  <a:pt x="54" y="50"/>
                </a:cubicBezTo>
                <a:cubicBezTo>
                  <a:pt x="51" y="52"/>
                  <a:pt x="50" y="53"/>
                  <a:pt x="50" y="53"/>
                </a:cubicBezTo>
                <a:cubicBezTo>
                  <a:pt x="51" y="53"/>
                  <a:pt x="51" y="53"/>
                  <a:pt x="49" y="54"/>
                </a:cubicBezTo>
                <a:cubicBezTo>
                  <a:pt x="48" y="55"/>
                  <a:pt x="49" y="56"/>
                  <a:pt x="51" y="56"/>
                </a:cubicBezTo>
                <a:cubicBezTo>
                  <a:pt x="52" y="56"/>
                  <a:pt x="51" y="57"/>
                  <a:pt x="51" y="57"/>
                </a:cubicBezTo>
                <a:cubicBezTo>
                  <a:pt x="52" y="58"/>
                  <a:pt x="56" y="56"/>
                  <a:pt x="57" y="57"/>
                </a:cubicBezTo>
                <a:cubicBezTo>
                  <a:pt x="58" y="57"/>
                  <a:pt x="51" y="58"/>
                  <a:pt x="51" y="59"/>
                </a:cubicBezTo>
                <a:cubicBezTo>
                  <a:pt x="51" y="60"/>
                  <a:pt x="55" y="61"/>
                  <a:pt x="57" y="60"/>
                </a:cubicBezTo>
                <a:cubicBezTo>
                  <a:pt x="60" y="60"/>
                  <a:pt x="65" y="61"/>
                  <a:pt x="65" y="61"/>
                </a:cubicBezTo>
                <a:cubicBezTo>
                  <a:pt x="65" y="62"/>
                  <a:pt x="62" y="62"/>
                  <a:pt x="59" y="62"/>
                </a:cubicBezTo>
                <a:cubicBezTo>
                  <a:pt x="57" y="62"/>
                  <a:pt x="53" y="62"/>
                  <a:pt x="53" y="63"/>
                </a:cubicBezTo>
                <a:cubicBezTo>
                  <a:pt x="53" y="64"/>
                  <a:pt x="53" y="64"/>
                  <a:pt x="56" y="65"/>
                </a:cubicBezTo>
                <a:cubicBezTo>
                  <a:pt x="58" y="66"/>
                  <a:pt x="61" y="65"/>
                  <a:pt x="61" y="66"/>
                </a:cubicBezTo>
                <a:cubicBezTo>
                  <a:pt x="61" y="68"/>
                  <a:pt x="62" y="68"/>
                  <a:pt x="66" y="68"/>
                </a:cubicBezTo>
                <a:cubicBezTo>
                  <a:pt x="69" y="69"/>
                  <a:pt x="71" y="67"/>
                  <a:pt x="72" y="67"/>
                </a:cubicBezTo>
                <a:cubicBezTo>
                  <a:pt x="74" y="67"/>
                  <a:pt x="75" y="67"/>
                  <a:pt x="76" y="66"/>
                </a:cubicBezTo>
                <a:cubicBezTo>
                  <a:pt x="76" y="64"/>
                  <a:pt x="77" y="65"/>
                  <a:pt x="77" y="66"/>
                </a:cubicBezTo>
                <a:cubicBezTo>
                  <a:pt x="77" y="66"/>
                  <a:pt x="80" y="66"/>
                  <a:pt x="80" y="67"/>
                </a:cubicBezTo>
                <a:cubicBezTo>
                  <a:pt x="81" y="68"/>
                  <a:pt x="85" y="68"/>
                  <a:pt x="87" y="67"/>
                </a:cubicBezTo>
                <a:cubicBezTo>
                  <a:pt x="89" y="66"/>
                  <a:pt x="86" y="64"/>
                  <a:pt x="86" y="65"/>
                </a:cubicBezTo>
                <a:cubicBezTo>
                  <a:pt x="85" y="66"/>
                  <a:pt x="84" y="65"/>
                  <a:pt x="84" y="65"/>
                </a:cubicBezTo>
                <a:cubicBezTo>
                  <a:pt x="84" y="64"/>
                  <a:pt x="85" y="64"/>
                  <a:pt x="86" y="63"/>
                </a:cubicBezTo>
                <a:moveTo>
                  <a:pt x="49" y="39"/>
                </a:moveTo>
                <a:cubicBezTo>
                  <a:pt x="51" y="39"/>
                  <a:pt x="52" y="38"/>
                  <a:pt x="52" y="37"/>
                </a:cubicBezTo>
                <a:cubicBezTo>
                  <a:pt x="52" y="36"/>
                  <a:pt x="48" y="39"/>
                  <a:pt x="49" y="39"/>
                </a:cubicBezTo>
                <a:moveTo>
                  <a:pt x="41" y="36"/>
                </a:moveTo>
                <a:cubicBezTo>
                  <a:pt x="41" y="37"/>
                  <a:pt x="41" y="38"/>
                  <a:pt x="41" y="38"/>
                </a:cubicBezTo>
                <a:cubicBezTo>
                  <a:pt x="42" y="37"/>
                  <a:pt x="42" y="37"/>
                  <a:pt x="43" y="37"/>
                </a:cubicBezTo>
                <a:cubicBezTo>
                  <a:pt x="44" y="38"/>
                  <a:pt x="44" y="37"/>
                  <a:pt x="45" y="36"/>
                </a:cubicBezTo>
                <a:cubicBezTo>
                  <a:pt x="45" y="36"/>
                  <a:pt x="45" y="38"/>
                  <a:pt x="46" y="38"/>
                </a:cubicBezTo>
                <a:cubicBezTo>
                  <a:pt x="47" y="38"/>
                  <a:pt x="47" y="36"/>
                  <a:pt x="48" y="36"/>
                </a:cubicBezTo>
                <a:cubicBezTo>
                  <a:pt x="49" y="37"/>
                  <a:pt x="49" y="36"/>
                  <a:pt x="50" y="35"/>
                </a:cubicBezTo>
                <a:cubicBezTo>
                  <a:pt x="50" y="35"/>
                  <a:pt x="50" y="34"/>
                  <a:pt x="51" y="33"/>
                </a:cubicBezTo>
                <a:cubicBezTo>
                  <a:pt x="52" y="33"/>
                  <a:pt x="51" y="34"/>
                  <a:pt x="52" y="35"/>
                </a:cubicBezTo>
                <a:cubicBezTo>
                  <a:pt x="52" y="37"/>
                  <a:pt x="54" y="35"/>
                  <a:pt x="54" y="35"/>
                </a:cubicBezTo>
                <a:cubicBezTo>
                  <a:pt x="54" y="34"/>
                  <a:pt x="56" y="35"/>
                  <a:pt x="55" y="34"/>
                </a:cubicBezTo>
                <a:cubicBezTo>
                  <a:pt x="55" y="33"/>
                  <a:pt x="56" y="33"/>
                  <a:pt x="55" y="32"/>
                </a:cubicBezTo>
                <a:cubicBezTo>
                  <a:pt x="55" y="32"/>
                  <a:pt x="56" y="32"/>
                  <a:pt x="57" y="31"/>
                </a:cubicBezTo>
                <a:cubicBezTo>
                  <a:pt x="57" y="31"/>
                  <a:pt x="56" y="31"/>
                  <a:pt x="55" y="30"/>
                </a:cubicBezTo>
                <a:cubicBezTo>
                  <a:pt x="54" y="29"/>
                  <a:pt x="54" y="30"/>
                  <a:pt x="54" y="31"/>
                </a:cubicBezTo>
                <a:cubicBezTo>
                  <a:pt x="54" y="32"/>
                  <a:pt x="52" y="31"/>
                  <a:pt x="51" y="31"/>
                </a:cubicBezTo>
                <a:cubicBezTo>
                  <a:pt x="50" y="30"/>
                  <a:pt x="48" y="32"/>
                  <a:pt x="47" y="33"/>
                </a:cubicBezTo>
                <a:cubicBezTo>
                  <a:pt x="45" y="34"/>
                  <a:pt x="45" y="35"/>
                  <a:pt x="44" y="35"/>
                </a:cubicBezTo>
                <a:cubicBezTo>
                  <a:pt x="42" y="35"/>
                  <a:pt x="40" y="36"/>
                  <a:pt x="41" y="36"/>
                </a:cubicBezTo>
                <a:moveTo>
                  <a:pt x="56" y="36"/>
                </a:moveTo>
                <a:cubicBezTo>
                  <a:pt x="55" y="36"/>
                  <a:pt x="55" y="37"/>
                  <a:pt x="56" y="37"/>
                </a:cubicBezTo>
                <a:cubicBezTo>
                  <a:pt x="58" y="37"/>
                  <a:pt x="58" y="38"/>
                  <a:pt x="56" y="38"/>
                </a:cubicBezTo>
                <a:cubicBezTo>
                  <a:pt x="54" y="38"/>
                  <a:pt x="53" y="40"/>
                  <a:pt x="54" y="39"/>
                </a:cubicBezTo>
                <a:cubicBezTo>
                  <a:pt x="56" y="39"/>
                  <a:pt x="58" y="39"/>
                  <a:pt x="57" y="39"/>
                </a:cubicBezTo>
                <a:cubicBezTo>
                  <a:pt x="55" y="40"/>
                  <a:pt x="52" y="40"/>
                  <a:pt x="53" y="41"/>
                </a:cubicBezTo>
                <a:cubicBezTo>
                  <a:pt x="53" y="41"/>
                  <a:pt x="54" y="41"/>
                  <a:pt x="56" y="41"/>
                </a:cubicBezTo>
                <a:cubicBezTo>
                  <a:pt x="57" y="42"/>
                  <a:pt x="58" y="42"/>
                  <a:pt x="59" y="41"/>
                </a:cubicBezTo>
                <a:cubicBezTo>
                  <a:pt x="60" y="40"/>
                  <a:pt x="61" y="39"/>
                  <a:pt x="60" y="40"/>
                </a:cubicBezTo>
                <a:cubicBezTo>
                  <a:pt x="60" y="42"/>
                  <a:pt x="62" y="41"/>
                  <a:pt x="65" y="41"/>
                </a:cubicBezTo>
                <a:cubicBezTo>
                  <a:pt x="67" y="41"/>
                  <a:pt x="64" y="42"/>
                  <a:pt x="61" y="42"/>
                </a:cubicBezTo>
                <a:cubicBezTo>
                  <a:pt x="59" y="43"/>
                  <a:pt x="59" y="44"/>
                  <a:pt x="61" y="44"/>
                </a:cubicBezTo>
                <a:cubicBezTo>
                  <a:pt x="63" y="45"/>
                  <a:pt x="68" y="43"/>
                  <a:pt x="69" y="42"/>
                </a:cubicBezTo>
                <a:cubicBezTo>
                  <a:pt x="70" y="41"/>
                  <a:pt x="71" y="43"/>
                  <a:pt x="72" y="42"/>
                </a:cubicBezTo>
                <a:cubicBezTo>
                  <a:pt x="73" y="41"/>
                  <a:pt x="75" y="42"/>
                  <a:pt x="77" y="42"/>
                </a:cubicBezTo>
                <a:cubicBezTo>
                  <a:pt x="79" y="41"/>
                  <a:pt x="79" y="38"/>
                  <a:pt x="78" y="37"/>
                </a:cubicBezTo>
                <a:cubicBezTo>
                  <a:pt x="77" y="36"/>
                  <a:pt x="77" y="38"/>
                  <a:pt x="76" y="38"/>
                </a:cubicBezTo>
                <a:cubicBezTo>
                  <a:pt x="74" y="38"/>
                  <a:pt x="74" y="37"/>
                  <a:pt x="73" y="36"/>
                </a:cubicBezTo>
                <a:cubicBezTo>
                  <a:pt x="72" y="35"/>
                  <a:pt x="73" y="33"/>
                  <a:pt x="71" y="33"/>
                </a:cubicBezTo>
                <a:cubicBezTo>
                  <a:pt x="70" y="34"/>
                  <a:pt x="67" y="36"/>
                  <a:pt x="69" y="36"/>
                </a:cubicBezTo>
                <a:cubicBezTo>
                  <a:pt x="71" y="36"/>
                  <a:pt x="70" y="37"/>
                  <a:pt x="69" y="37"/>
                </a:cubicBezTo>
                <a:cubicBezTo>
                  <a:pt x="68" y="38"/>
                  <a:pt x="71" y="38"/>
                  <a:pt x="71" y="39"/>
                </a:cubicBezTo>
                <a:cubicBezTo>
                  <a:pt x="71" y="40"/>
                  <a:pt x="66" y="39"/>
                  <a:pt x="66" y="38"/>
                </a:cubicBezTo>
                <a:cubicBezTo>
                  <a:pt x="66" y="37"/>
                  <a:pt x="62" y="35"/>
                  <a:pt x="61" y="36"/>
                </a:cubicBezTo>
                <a:cubicBezTo>
                  <a:pt x="59" y="36"/>
                  <a:pt x="60" y="35"/>
                  <a:pt x="58" y="35"/>
                </a:cubicBezTo>
                <a:cubicBezTo>
                  <a:pt x="57" y="34"/>
                  <a:pt x="57" y="36"/>
                  <a:pt x="56" y="36"/>
                </a:cubicBezTo>
                <a:moveTo>
                  <a:pt x="61" y="29"/>
                </a:moveTo>
                <a:cubicBezTo>
                  <a:pt x="62" y="28"/>
                  <a:pt x="58" y="28"/>
                  <a:pt x="58" y="28"/>
                </a:cubicBezTo>
                <a:cubicBezTo>
                  <a:pt x="59" y="29"/>
                  <a:pt x="61" y="30"/>
                  <a:pt x="61" y="29"/>
                </a:cubicBezTo>
                <a:moveTo>
                  <a:pt x="69" y="28"/>
                </a:moveTo>
                <a:cubicBezTo>
                  <a:pt x="70" y="28"/>
                  <a:pt x="70" y="27"/>
                  <a:pt x="68" y="28"/>
                </a:cubicBezTo>
                <a:cubicBezTo>
                  <a:pt x="66" y="28"/>
                  <a:pt x="62" y="28"/>
                  <a:pt x="62" y="29"/>
                </a:cubicBezTo>
                <a:cubicBezTo>
                  <a:pt x="62" y="30"/>
                  <a:pt x="63" y="31"/>
                  <a:pt x="65" y="31"/>
                </a:cubicBezTo>
                <a:cubicBezTo>
                  <a:pt x="67" y="31"/>
                  <a:pt x="69" y="29"/>
                  <a:pt x="68" y="29"/>
                </a:cubicBezTo>
                <a:cubicBezTo>
                  <a:pt x="67" y="29"/>
                  <a:pt x="68" y="29"/>
                  <a:pt x="69" y="28"/>
                </a:cubicBezTo>
                <a:moveTo>
                  <a:pt x="64" y="27"/>
                </a:moveTo>
                <a:cubicBezTo>
                  <a:pt x="65" y="27"/>
                  <a:pt x="66" y="26"/>
                  <a:pt x="67" y="26"/>
                </a:cubicBezTo>
                <a:cubicBezTo>
                  <a:pt x="68" y="27"/>
                  <a:pt x="71" y="27"/>
                  <a:pt x="71" y="26"/>
                </a:cubicBezTo>
                <a:cubicBezTo>
                  <a:pt x="71" y="24"/>
                  <a:pt x="67" y="24"/>
                  <a:pt x="66" y="25"/>
                </a:cubicBezTo>
                <a:cubicBezTo>
                  <a:pt x="65" y="25"/>
                  <a:pt x="60" y="25"/>
                  <a:pt x="62" y="26"/>
                </a:cubicBezTo>
                <a:cubicBezTo>
                  <a:pt x="63" y="27"/>
                  <a:pt x="63" y="26"/>
                  <a:pt x="64" y="27"/>
                </a:cubicBezTo>
                <a:moveTo>
                  <a:pt x="81" y="23"/>
                </a:moveTo>
                <a:cubicBezTo>
                  <a:pt x="82" y="23"/>
                  <a:pt x="84" y="24"/>
                  <a:pt x="84" y="25"/>
                </a:cubicBezTo>
                <a:cubicBezTo>
                  <a:pt x="83" y="26"/>
                  <a:pt x="80" y="25"/>
                  <a:pt x="80" y="25"/>
                </a:cubicBezTo>
                <a:cubicBezTo>
                  <a:pt x="80" y="26"/>
                  <a:pt x="81" y="27"/>
                  <a:pt x="83" y="26"/>
                </a:cubicBezTo>
                <a:cubicBezTo>
                  <a:pt x="85" y="26"/>
                  <a:pt x="87" y="26"/>
                  <a:pt x="89" y="27"/>
                </a:cubicBezTo>
                <a:cubicBezTo>
                  <a:pt x="90" y="29"/>
                  <a:pt x="92" y="29"/>
                  <a:pt x="93" y="28"/>
                </a:cubicBezTo>
                <a:cubicBezTo>
                  <a:pt x="94" y="27"/>
                  <a:pt x="92" y="26"/>
                  <a:pt x="92" y="25"/>
                </a:cubicBezTo>
                <a:cubicBezTo>
                  <a:pt x="93" y="24"/>
                  <a:pt x="91" y="24"/>
                  <a:pt x="89" y="24"/>
                </a:cubicBezTo>
                <a:cubicBezTo>
                  <a:pt x="88" y="24"/>
                  <a:pt x="88" y="22"/>
                  <a:pt x="87" y="22"/>
                </a:cubicBezTo>
                <a:cubicBezTo>
                  <a:pt x="86" y="23"/>
                  <a:pt x="86" y="23"/>
                  <a:pt x="86" y="22"/>
                </a:cubicBezTo>
                <a:cubicBezTo>
                  <a:pt x="86" y="21"/>
                  <a:pt x="81" y="21"/>
                  <a:pt x="79" y="21"/>
                </a:cubicBezTo>
                <a:cubicBezTo>
                  <a:pt x="78" y="22"/>
                  <a:pt x="80" y="24"/>
                  <a:pt x="81" y="23"/>
                </a:cubicBezTo>
                <a:moveTo>
                  <a:pt x="81" y="32"/>
                </a:moveTo>
                <a:cubicBezTo>
                  <a:pt x="82" y="31"/>
                  <a:pt x="78" y="28"/>
                  <a:pt x="78" y="29"/>
                </a:cubicBezTo>
                <a:cubicBezTo>
                  <a:pt x="78" y="31"/>
                  <a:pt x="81" y="33"/>
                  <a:pt x="81" y="32"/>
                </a:cubicBezTo>
                <a:moveTo>
                  <a:pt x="94" y="19"/>
                </a:moveTo>
                <a:cubicBezTo>
                  <a:pt x="95" y="18"/>
                  <a:pt x="90" y="17"/>
                  <a:pt x="91" y="18"/>
                </a:cubicBezTo>
                <a:cubicBezTo>
                  <a:pt x="92" y="18"/>
                  <a:pt x="94" y="20"/>
                  <a:pt x="94" y="19"/>
                </a:cubicBezTo>
                <a:moveTo>
                  <a:pt x="83" y="41"/>
                </a:moveTo>
                <a:cubicBezTo>
                  <a:pt x="84" y="40"/>
                  <a:pt x="82" y="39"/>
                  <a:pt x="81" y="40"/>
                </a:cubicBezTo>
                <a:cubicBezTo>
                  <a:pt x="80" y="41"/>
                  <a:pt x="82" y="42"/>
                  <a:pt x="83" y="41"/>
                </a:cubicBezTo>
                <a:moveTo>
                  <a:pt x="94" y="34"/>
                </a:moveTo>
                <a:cubicBezTo>
                  <a:pt x="94" y="35"/>
                  <a:pt x="92" y="34"/>
                  <a:pt x="90" y="33"/>
                </a:cubicBezTo>
                <a:cubicBezTo>
                  <a:pt x="88" y="33"/>
                  <a:pt x="89" y="35"/>
                  <a:pt x="91" y="36"/>
                </a:cubicBezTo>
                <a:cubicBezTo>
                  <a:pt x="92" y="37"/>
                  <a:pt x="90" y="37"/>
                  <a:pt x="88" y="35"/>
                </a:cubicBezTo>
                <a:cubicBezTo>
                  <a:pt x="86" y="34"/>
                  <a:pt x="87" y="36"/>
                  <a:pt x="87" y="37"/>
                </a:cubicBezTo>
                <a:cubicBezTo>
                  <a:pt x="88" y="38"/>
                  <a:pt x="87" y="38"/>
                  <a:pt x="86" y="37"/>
                </a:cubicBezTo>
                <a:cubicBezTo>
                  <a:pt x="85" y="35"/>
                  <a:pt x="84" y="34"/>
                  <a:pt x="82" y="34"/>
                </a:cubicBezTo>
                <a:cubicBezTo>
                  <a:pt x="81" y="33"/>
                  <a:pt x="81" y="35"/>
                  <a:pt x="82" y="36"/>
                </a:cubicBezTo>
                <a:cubicBezTo>
                  <a:pt x="83" y="38"/>
                  <a:pt x="84" y="38"/>
                  <a:pt x="86" y="39"/>
                </a:cubicBezTo>
                <a:cubicBezTo>
                  <a:pt x="87" y="40"/>
                  <a:pt x="90" y="38"/>
                  <a:pt x="91" y="39"/>
                </a:cubicBezTo>
                <a:cubicBezTo>
                  <a:pt x="92" y="39"/>
                  <a:pt x="90" y="40"/>
                  <a:pt x="90" y="41"/>
                </a:cubicBezTo>
                <a:cubicBezTo>
                  <a:pt x="91" y="42"/>
                  <a:pt x="93" y="42"/>
                  <a:pt x="95" y="42"/>
                </a:cubicBezTo>
                <a:cubicBezTo>
                  <a:pt x="97" y="42"/>
                  <a:pt x="96" y="41"/>
                  <a:pt x="97" y="40"/>
                </a:cubicBezTo>
                <a:cubicBezTo>
                  <a:pt x="98" y="39"/>
                  <a:pt x="96" y="39"/>
                  <a:pt x="97" y="38"/>
                </a:cubicBezTo>
                <a:cubicBezTo>
                  <a:pt x="98" y="36"/>
                  <a:pt x="94" y="33"/>
                  <a:pt x="94" y="34"/>
                </a:cubicBezTo>
                <a:moveTo>
                  <a:pt x="98" y="28"/>
                </a:moveTo>
                <a:cubicBezTo>
                  <a:pt x="100" y="28"/>
                  <a:pt x="101" y="28"/>
                  <a:pt x="102" y="28"/>
                </a:cubicBezTo>
                <a:cubicBezTo>
                  <a:pt x="104" y="27"/>
                  <a:pt x="102" y="27"/>
                  <a:pt x="102" y="26"/>
                </a:cubicBezTo>
                <a:cubicBezTo>
                  <a:pt x="103" y="25"/>
                  <a:pt x="100" y="25"/>
                  <a:pt x="100" y="25"/>
                </a:cubicBezTo>
                <a:cubicBezTo>
                  <a:pt x="100" y="26"/>
                  <a:pt x="96" y="23"/>
                  <a:pt x="95" y="24"/>
                </a:cubicBezTo>
                <a:cubicBezTo>
                  <a:pt x="95" y="25"/>
                  <a:pt x="97" y="28"/>
                  <a:pt x="98" y="28"/>
                </a:cubicBezTo>
                <a:moveTo>
                  <a:pt x="106" y="29"/>
                </a:moveTo>
                <a:cubicBezTo>
                  <a:pt x="106" y="28"/>
                  <a:pt x="99" y="29"/>
                  <a:pt x="100" y="30"/>
                </a:cubicBezTo>
                <a:cubicBezTo>
                  <a:pt x="102" y="32"/>
                  <a:pt x="106" y="30"/>
                  <a:pt x="106" y="29"/>
                </a:cubicBezTo>
                <a:moveTo>
                  <a:pt x="105" y="43"/>
                </a:moveTo>
                <a:cubicBezTo>
                  <a:pt x="107" y="43"/>
                  <a:pt x="106" y="41"/>
                  <a:pt x="104" y="40"/>
                </a:cubicBezTo>
                <a:cubicBezTo>
                  <a:pt x="102" y="38"/>
                  <a:pt x="98" y="41"/>
                  <a:pt x="99" y="42"/>
                </a:cubicBezTo>
                <a:cubicBezTo>
                  <a:pt x="99" y="42"/>
                  <a:pt x="103" y="43"/>
                  <a:pt x="105" y="43"/>
                </a:cubicBezTo>
                <a:moveTo>
                  <a:pt x="93" y="57"/>
                </a:moveTo>
                <a:cubicBezTo>
                  <a:pt x="95" y="58"/>
                  <a:pt x="94" y="56"/>
                  <a:pt x="97" y="56"/>
                </a:cubicBezTo>
                <a:cubicBezTo>
                  <a:pt x="99" y="56"/>
                  <a:pt x="99" y="52"/>
                  <a:pt x="99" y="51"/>
                </a:cubicBezTo>
                <a:cubicBezTo>
                  <a:pt x="100" y="49"/>
                  <a:pt x="98" y="49"/>
                  <a:pt x="98" y="50"/>
                </a:cubicBezTo>
                <a:cubicBezTo>
                  <a:pt x="99" y="51"/>
                  <a:pt x="98" y="52"/>
                  <a:pt x="98" y="51"/>
                </a:cubicBezTo>
                <a:cubicBezTo>
                  <a:pt x="98" y="50"/>
                  <a:pt x="96" y="51"/>
                  <a:pt x="95" y="50"/>
                </a:cubicBezTo>
                <a:cubicBezTo>
                  <a:pt x="94" y="49"/>
                  <a:pt x="97" y="49"/>
                  <a:pt x="98" y="48"/>
                </a:cubicBezTo>
                <a:cubicBezTo>
                  <a:pt x="99" y="46"/>
                  <a:pt x="96" y="47"/>
                  <a:pt x="96" y="46"/>
                </a:cubicBezTo>
                <a:cubicBezTo>
                  <a:pt x="97" y="45"/>
                  <a:pt x="92" y="46"/>
                  <a:pt x="94" y="46"/>
                </a:cubicBezTo>
                <a:cubicBezTo>
                  <a:pt x="95" y="47"/>
                  <a:pt x="94" y="48"/>
                  <a:pt x="92" y="47"/>
                </a:cubicBezTo>
                <a:cubicBezTo>
                  <a:pt x="91" y="46"/>
                  <a:pt x="87" y="47"/>
                  <a:pt x="88" y="48"/>
                </a:cubicBezTo>
                <a:cubicBezTo>
                  <a:pt x="89" y="49"/>
                  <a:pt x="93" y="48"/>
                  <a:pt x="91" y="50"/>
                </a:cubicBezTo>
                <a:cubicBezTo>
                  <a:pt x="89" y="53"/>
                  <a:pt x="88" y="50"/>
                  <a:pt x="86" y="50"/>
                </a:cubicBezTo>
                <a:cubicBezTo>
                  <a:pt x="85" y="50"/>
                  <a:pt x="85" y="53"/>
                  <a:pt x="88" y="53"/>
                </a:cubicBezTo>
                <a:cubicBezTo>
                  <a:pt x="91" y="54"/>
                  <a:pt x="90" y="56"/>
                  <a:pt x="93" y="57"/>
                </a:cubicBezTo>
                <a:moveTo>
                  <a:pt x="109" y="41"/>
                </a:moveTo>
                <a:cubicBezTo>
                  <a:pt x="109" y="43"/>
                  <a:pt x="110" y="42"/>
                  <a:pt x="111" y="43"/>
                </a:cubicBezTo>
                <a:cubicBezTo>
                  <a:pt x="112" y="43"/>
                  <a:pt x="114" y="44"/>
                  <a:pt x="115" y="43"/>
                </a:cubicBezTo>
                <a:cubicBezTo>
                  <a:pt x="116" y="42"/>
                  <a:pt x="116" y="42"/>
                  <a:pt x="116" y="43"/>
                </a:cubicBezTo>
                <a:cubicBezTo>
                  <a:pt x="117" y="44"/>
                  <a:pt x="119" y="44"/>
                  <a:pt x="124" y="44"/>
                </a:cubicBezTo>
                <a:cubicBezTo>
                  <a:pt x="128" y="44"/>
                  <a:pt x="127" y="42"/>
                  <a:pt x="129" y="43"/>
                </a:cubicBezTo>
                <a:cubicBezTo>
                  <a:pt x="130" y="43"/>
                  <a:pt x="133" y="43"/>
                  <a:pt x="134" y="43"/>
                </a:cubicBezTo>
                <a:cubicBezTo>
                  <a:pt x="136" y="43"/>
                  <a:pt x="137" y="41"/>
                  <a:pt x="136" y="40"/>
                </a:cubicBezTo>
                <a:cubicBezTo>
                  <a:pt x="136" y="39"/>
                  <a:pt x="126" y="38"/>
                  <a:pt x="124" y="39"/>
                </a:cubicBezTo>
                <a:cubicBezTo>
                  <a:pt x="122" y="40"/>
                  <a:pt x="119" y="38"/>
                  <a:pt x="118" y="39"/>
                </a:cubicBezTo>
                <a:cubicBezTo>
                  <a:pt x="116" y="40"/>
                  <a:pt x="117" y="38"/>
                  <a:pt x="114" y="38"/>
                </a:cubicBezTo>
                <a:cubicBezTo>
                  <a:pt x="111" y="38"/>
                  <a:pt x="114" y="37"/>
                  <a:pt x="115" y="36"/>
                </a:cubicBezTo>
                <a:cubicBezTo>
                  <a:pt x="115" y="35"/>
                  <a:pt x="111" y="34"/>
                  <a:pt x="109" y="34"/>
                </a:cubicBezTo>
                <a:cubicBezTo>
                  <a:pt x="107" y="35"/>
                  <a:pt x="106" y="34"/>
                  <a:pt x="104" y="33"/>
                </a:cubicBezTo>
                <a:cubicBezTo>
                  <a:pt x="102" y="32"/>
                  <a:pt x="98" y="32"/>
                  <a:pt x="99" y="34"/>
                </a:cubicBezTo>
                <a:cubicBezTo>
                  <a:pt x="99" y="35"/>
                  <a:pt x="105" y="37"/>
                  <a:pt x="106" y="36"/>
                </a:cubicBezTo>
                <a:cubicBezTo>
                  <a:pt x="106" y="35"/>
                  <a:pt x="108" y="37"/>
                  <a:pt x="109" y="38"/>
                </a:cubicBezTo>
                <a:cubicBezTo>
                  <a:pt x="109" y="39"/>
                  <a:pt x="108" y="39"/>
                  <a:pt x="109" y="41"/>
                </a:cubicBezTo>
                <a:moveTo>
                  <a:pt x="114" y="30"/>
                </a:moveTo>
                <a:cubicBezTo>
                  <a:pt x="112" y="29"/>
                  <a:pt x="110" y="31"/>
                  <a:pt x="111" y="31"/>
                </a:cubicBezTo>
                <a:cubicBezTo>
                  <a:pt x="113" y="32"/>
                  <a:pt x="115" y="31"/>
                  <a:pt x="114" y="30"/>
                </a:cubicBezTo>
                <a:moveTo>
                  <a:pt x="99" y="19"/>
                </a:moveTo>
                <a:cubicBezTo>
                  <a:pt x="101" y="20"/>
                  <a:pt x="100" y="20"/>
                  <a:pt x="102" y="21"/>
                </a:cubicBezTo>
                <a:cubicBezTo>
                  <a:pt x="103" y="22"/>
                  <a:pt x="108" y="20"/>
                  <a:pt x="108" y="21"/>
                </a:cubicBezTo>
                <a:cubicBezTo>
                  <a:pt x="109" y="22"/>
                  <a:pt x="104" y="23"/>
                  <a:pt x="104" y="23"/>
                </a:cubicBezTo>
                <a:cubicBezTo>
                  <a:pt x="105" y="24"/>
                  <a:pt x="108" y="25"/>
                  <a:pt x="107" y="26"/>
                </a:cubicBezTo>
                <a:cubicBezTo>
                  <a:pt x="107" y="26"/>
                  <a:pt x="112" y="28"/>
                  <a:pt x="113" y="27"/>
                </a:cubicBezTo>
                <a:cubicBezTo>
                  <a:pt x="113" y="26"/>
                  <a:pt x="114" y="26"/>
                  <a:pt x="116" y="27"/>
                </a:cubicBezTo>
                <a:cubicBezTo>
                  <a:pt x="117" y="27"/>
                  <a:pt x="117" y="24"/>
                  <a:pt x="118" y="24"/>
                </a:cubicBezTo>
                <a:cubicBezTo>
                  <a:pt x="119" y="25"/>
                  <a:pt x="119" y="23"/>
                  <a:pt x="120" y="23"/>
                </a:cubicBezTo>
                <a:cubicBezTo>
                  <a:pt x="122" y="22"/>
                  <a:pt x="124" y="22"/>
                  <a:pt x="124" y="21"/>
                </a:cubicBezTo>
                <a:cubicBezTo>
                  <a:pt x="124" y="21"/>
                  <a:pt x="124" y="20"/>
                  <a:pt x="122" y="20"/>
                </a:cubicBezTo>
                <a:cubicBezTo>
                  <a:pt x="120" y="21"/>
                  <a:pt x="119" y="20"/>
                  <a:pt x="120" y="19"/>
                </a:cubicBezTo>
                <a:cubicBezTo>
                  <a:pt x="120" y="18"/>
                  <a:pt x="118" y="18"/>
                  <a:pt x="119" y="17"/>
                </a:cubicBezTo>
                <a:cubicBezTo>
                  <a:pt x="120" y="16"/>
                  <a:pt x="117" y="15"/>
                  <a:pt x="117" y="16"/>
                </a:cubicBezTo>
                <a:cubicBezTo>
                  <a:pt x="117" y="18"/>
                  <a:pt x="115" y="17"/>
                  <a:pt x="115" y="15"/>
                </a:cubicBezTo>
                <a:cubicBezTo>
                  <a:pt x="115" y="14"/>
                  <a:pt x="111" y="14"/>
                  <a:pt x="108" y="12"/>
                </a:cubicBezTo>
                <a:cubicBezTo>
                  <a:pt x="105" y="9"/>
                  <a:pt x="103" y="11"/>
                  <a:pt x="104" y="11"/>
                </a:cubicBezTo>
                <a:cubicBezTo>
                  <a:pt x="106" y="11"/>
                  <a:pt x="106" y="12"/>
                  <a:pt x="104" y="12"/>
                </a:cubicBezTo>
                <a:cubicBezTo>
                  <a:pt x="103" y="12"/>
                  <a:pt x="101" y="12"/>
                  <a:pt x="103" y="13"/>
                </a:cubicBezTo>
                <a:cubicBezTo>
                  <a:pt x="105" y="14"/>
                  <a:pt x="103" y="14"/>
                  <a:pt x="101" y="14"/>
                </a:cubicBezTo>
                <a:cubicBezTo>
                  <a:pt x="99" y="14"/>
                  <a:pt x="99" y="16"/>
                  <a:pt x="101" y="17"/>
                </a:cubicBezTo>
                <a:cubicBezTo>
                  <a:pt x="104" y="17"/>
                  <a:pt x="102" y="18"/>
                  <a:pt x="100" y="18"/>
                </a:cubicBezTo>
                <a:cubicBezTo>
                  <a:pt x="99" y="17"/>
                  <a:pt x="98" y="18"/>
                  <a:pt x="99" y="19"/>
                </a:cubicBezTo>
                <a:moveTo>
                  <a:pt x="111" y="9"/>
                </a:moveTo>
                <a:cubicBezTo>
                  <a:pt x="113" y="8"/>
                  <a:pt x="114" y="9"/>
                  <a:pt x="113" y="9"/>
                </a:cubicBezTo>
                <a:cubicBezTo>
                  <a:pt x="111" y="10"/>
                  <a:pt x="112" y="10"/>
                  <a:pt x="114" y="10"/>
                </a:cubicBezTo>
                <a:cubicBezTo>
                  <a:pt x="115" y="10"/>
                  <a:pt x="113" y="11"/>
                  <a:pt x="113" y="12"/>
                </a:cubicBezTo>
                <a:cubicBezTo>
                  <a:pt x="113" y="13"/>
                  <a:pt x="115" y="12"/>
                  <a:pt x="115" y="13"/>
                </a:cubicBezTo>
                <a:cubicBezTo>
                  <a:pt x="115" y="14"/>
                  <a:pt x="119" y="14"/>
                  <a:pt x="120" y="13"/>
                </a:cubicBezTo>
                <a:cubicBezTo>
                  <a:pt x="122" y="12"/>
                  <a:pt x="121" y="14"/>
                  <a:pt x="121" y="14"/>
                </a:cubicBezTo>
                <a:cubicBezTo>
                  <a:pt x="121" y="15"/>
                  <a:pt x="127" y="16"/>
                  <a:pt x="127" y="15"/>
                </a:cubicBezTo>
                <a:cubicBezTo>
                  <a:pt x="128" y="14"/>
                  <a:pt x="129" y="14"/>
                  <a:pt x="130" y="15"/>
                </a:cubicBezTo>
                <a:cubicBezTo>
                  <a:pt x="131" y="15"/>
                  <a:pt x="137" y="13"/>
                  <a:pt x="137" y="12"/>
                </a:cubicBezTo>
                <a:cubicBezTo>
                  <a:pt x="137" y="11"/>
                  <a:pt x="139" y="13"/>
                  <a:pt x="137" y="14"/>
                </a:cubicBezTo>
                <a:cubicBezTo>
                  <a:pt x="135" y="15"/>
                  <a:pt x="131" y="15"/>
                  <a:pt x="130" y="16"/>
                </a:cubicBezTo>
                <a:cubicBezTo>
                  <a:pt x="128" y="16"/>
                  <a:pt x="131" y="17"/>
                  <a:pt x="132" y="19"/>
                </a:cubicBezTo>
                <a:cubicBezTo>
                  <a:pt x="134" y="20"/>
                  <a:pt x="130" y="19"/>
                  <a:pt x="129" y="18"/>
                </a:cubicBezTo>
                <a:cubicBezTo>
                  <a:pt x="127" y="16"/>
                  <a:pt x="124" y="16"/>
                  <a:pt x="122" y="16"/>
                </a:cubicBezTo>
                <a:cubicBezTo>
                  <a:pt x="120" y="16"/>
                  <a:pt x="120" y="20"/>
                  <a:pt x="122" y="20"/>
                </a:cubicBezTo>
                <a:cubicBezTo>
                  <a:pt x="123" y="20"/>
                  <a:pt x="124" y="20"/>
                  <a:pt x="126" y="22"/>
                </a:cubicBezTo>
                <a:cubicBezTo>
                  <a:pt x="127" y="24"/>
                  <a:pt x="130" y="24"/>
                  <a:pt x="130" y="25"/>
                </a:cubicBezTo>
                <a:cubicBezTo>
                  <a:pt x="130" y="26"/>
                  <a:pt x="126" y="24"/>
                  <a:pt x="124" y="24"/>
                </a:cubicBezTo>
                <a:cubicBezTo>
                  <a:pt x="122" y="23"/>
                  <a:pt x="119" y="25"/>
                  <a:pt x="119" y="26"/>
                </a:cubicBezTo>
                <a:cubicBezTo>
                  <a:pt x="118" y="28"/>
                  <a:pt x="122" y="28"/>
                  <a:pt x="124" y="26"/>
                </a:cubicBezTo>
                <a:cubicBezTo>
                  <a:pt x="126" y="25"/>
                  <a:pt x="124" y="27"/>
                  <a:pt x="123" y="28"/>
                </a:cubicBezTo>
                <a:cubicBezTo>
                  <a:pt x="122" y="29"/>
                  <a:pt x="126" y="29"/>
                  <a:pt x="126" y="31"/>
                </a:cubicBezTo>
                <a:cubicBezTo>
                  <a:pt x="126" y="32"/>
                  <a:pt x="123" y="31"/>
                  <a:pt x="123" y="30"/>
                </a:cubicBezTo>
                <a:cubicBezTo>
                  <a:pt x="123" y="29"/>
                  <a:pt x="122" y="28"/>
                  <a:pt x="119" y="28"/>
                </a:cubicBezTo>
                <a:cubicBezTo>
                  <a:pt x="117" y="29"/>
                  <a:pt x="117" y="30"/>
                  <a:pt x="119" y="31"/>
                </a:cubicBezTo>
                <a:cubicBezTo>
                  <a:pt x="120" y="31"/>
                  <a:pt x="120" y="32"/>
                  <a:pt x="119" y="32"/>
                </a:cubicBezTo>
                <a:cubicBezTo>
                  <a:pt x="117" y="32"/>
                  <a:pt x="113" y="33"/>
                  <a:pt x="114" y="34"/>
                </a:cubicBezTo>
                <a:cubicBezTo>
                  <a:pt x="116" y="35"/>
                  <a:pt x="121" y="34"/>
                  <a:pt x="121" y="35"/>
                </a:cubicBezTo>
                <a:cubicBezTo>
                  <a:pt x="122" y="36"/>
                  <a:pt x="125" y="36"/>
                  <a:pt x="125" y="35"/>
                </a:cubicBezTo>
                <a:cubicBezTo>
                  <a:pt x="126" y="34"/>
                  <a:pt x="128" y="35"/>
                  <a:pt x="130" y="35"/>
                </a:cubicBezTo>
                <a:cubicBezTo>
                  <a:pt x="132" y="35"/>
                  <a:pt x="132" y="35"/>
                  <a:pt x="133" y="36"/>
                </a:cubicBezTo>
                <a:cubicBezTo>
                  <a:pt x="134" y="37"/>
                  <a:pt x="136" y="36"/>
                  <a:pt x="137" y="35"/>
                </a:cubicBezTo>
                <a:cubicBezTo>
                  <a:pt x="138" y="35"/>
                  <a:pt x="138" y="35"/>
                  <a:pt x="139" y="35"/>
                </a:cubicBezTo>
                <a:cubicBezTo>
                  <a:pt x="141" y="35"/>
                  <a:pt x="141" y="34"/>
                  <a:pt x="140" y="33"/>
                </a:cubicBezTo>
                <a:cubicBezTo>
                  <a:pt x="139" y="32"/>
                  <a:pt x="138" y="33"/>
                  <a:pt x="138" y="33"/>
                </a:cubicBezTo>
                <a:cubicBezTo>
                  <a:pt x="137" y="32"/>
                  <a:pt x="136" y="31"/>
                  <a:pt x="133" y="32"/>
                </a:cubicBezTo>
                <a:cubicBezTo>
                  <a:pt x="130" y="32"/>
                  <a:pt x="131" y="30"/>
                  <a:pt x="133" y="31"/>
                </a:cubicBezTo>
                <a:cubicBezTo>
                  <a:pt x="135" y="31"/>
                  <a:pt x="137" y="31"/>
                  <a:pt x="139" y="30"/>
                </a:cubicBezTo>
                <a:cubicBezTo>
                  <a:pt x="141" y="30"/>
                  <a:pt x="139" y="29"/>
                  <a:pt x="139" y="28"/>
                </a:cubicBezTo>
                <a:cubicBezTo>
                  <a:pt x="139" y="27"/>
                  <a:pt x="142" y="28"/>
                  <a:pt x="143" y="28"/>
                </a:cubicBezTo>
                <a:cubicBezTo>
                  <a:pt x="145" y="28"/>
                  <a:pt x="148" y="25"/>
                  <a:pt x="148" y="23"/>
                </a:cubicBezTo>
                <a:cubicBezTo>
                  <a:pt x="148" y="22"/>
                  <a:pt x="144" y="22"/>
                  <a:pt x="142" y="22"/>
                </a:cubicBezTo>
                <a:cubicBezTo>
                  <a:pt x="140" y="22"/>
                  <a:pt x="143" y="21"/>
                  <a:pt x="147" y="21"/>
                </a:cubicBezTo>
                <a:cubicBezTo>
                  <a:pt x="151" y="21"/>
                  <a:pt x="149" y="19"/>
                  <a:pt x="150" y="19"/>
                </a:cubicBezTo>
                <a:cubicBezTo>
                  <a:pt x="150" y="18"/>
                  <a:pt x="152" y="19"/>
                  <a:pt x="154" y="19"/>
                </a:cubicBezTo>
                <a:cubicBezTo>
                  <a:pt x="156" y="19"/>
                  <a:pt x="154" y="17"/>
                  <a:pt x="156" y="17"/>
                </a:cubicBezTo>
                <a:cubicBezTo>
                  <a:pt x="157" y="17"/>
                  <a:pt x="159" y="16"/>
                  <a:pt x="163" y="13"/>
                </a:cubicBezTo>
                <a:cubicBezTo>
                  <a:pt x="167" y="11"/>
                  <a:pt x="170" y="12"/>
                  <a:pt x="170" y="10"/>
                </a:cubicBezTo>
                <a:cubicBezTo>
                  <a:pt x="170" y="9"/>
                  <a:pt x="165" y="10"/>
                  <a:pt x="164" y="10"/>
                </a:cubicBezTo>
                <a:cubicBezTo>
                  <a:pt x="163" y="10"/>
                  <a:pt x="168" y="8"/>
                  <a:pt x="169" y="9"/>
                </a:cubicBezTo>
                <a:cubicBezTo>
                  <a:pt x="170" y="9"/>
                  <a:pt x="171" y="9"/>
                  <a:pt x="175" y="7"/>
                </a:cubicBezTo>
                <a:cubicBezTo>
                  <a:pt x="180" y="5"/>
                  <a:pt x="178" y="4"/>
                  <a:pt x="176" y="5"/>
                </a:cubicBezTo>
                <a:cubicBezTo>
                  <a:pt x="174" y="5"/>
                  <a:pt x="173" y="4"/>
                  <a:pt x="173" y="3"/>
                </a:cubicBezTo>
                <a:cubicBezTo>
                  <a:pt x="173" y="2"/>
                  <a:pt x="170" y="3"/>
                  <a:pt x="170" y="3"/>
                </a:cubicBezTo>
                <a:cubicBezTo>
                  <a:pt x="170" y="2"/>
                  <a:pt x="168" y="2"/>
                  <a:pt x="165" y="3"/>
                </a:cubicBezTo>
                <a:cubicBezTo>
                  <a:pt x="163" y="4"/>
                  <a:pt x="165" y="2"/>
                  <a:pt x="166" y="2"/>
                </a:cubicBezTo>
                <a:cubicBezTo>
                  <a:pt x="167" y="2"/>
                  <a:pt x="159" y="2"/>
                  <a:pt x="158" y="1"/>
                </a:cubicBezTo>
                <a:cubicBezTo>
                  <a:pt x="157" y="0"/>
                  <a:pt x="155" y="3"/>
                  <a:pt x="154" y="1"/>
                </a:cubicBezTo>
                <a:cubicBezTo>
                  <a:pt x="153" y="0"/>
                  <a:pt x="150" y="1"/>
                  <a:pt x="150" y="2"/>
                </a:cubicBezTo>
                <a:cubicBezTo>
                  <a:pt x="151" y="3"/>
                  <a:pt x="150" y="3"/>
                  <a:pt x="149" y="2"/>
                </a:cubicBezTo>
                <a:cubicBezTo>
                  <a:pt x="148" y="1"/>
                  <a:pt x="145" y="2"/>
                  <a:pt x="143" y="2"/>
                </a:cubicBezTo>
                <a:cubicBezTo>
                  <a:pt x="141" y="1"/>
                  <a:pt x="142" y="3"/>
                  <a:pt x="140" y="2"/>
                </a:cubicBezTo>
                <a:cubicBezTo>
                  <a:pt x="138" y="1"/>
                  <a:pt x="135" y="2"/>
                  <a:pt x="136" y="2"/>
                </a:cubicBezTo>
                <a:cubicBezTo>
                  <a:pt x="137" y="3"/>
                  <a:pt x="136" y="3"/>
                  <a:pt x="135" y="3"/>
                </a:cubicBezTo>
                <a:cubicBezTo>
                  <a:pt x="134" y="3"/>
                  <a:pt x="133" y="3"/>
                  <a:pt x="133" y="4"/>
                </a:cubicBezTo>
                <a:cubicBezTo>
                  <a:pt x="134" y="5"/>
                  <a:pt x="130" y="4"/>
                  <a:pt x="130" y="5"/>
                </a:cubicBezTo>
                <a:cubicBezTo>
                  <a:pt x="130" y="6"/>
                  <a:pt x="128" y="6"/>
                  <a:pt x="127" y="5"/>
                </a:cubicBezTo>
                <a:cubicBezTo>
                  <a:pt x="126" y="4"/>
                  <a:pt x="122" y="4"/>
                  <a:pt x="123" y="5"/>
                </a:cubicBezTo>
                <a:cubicBezTo>
                  <a:pt x="124" y="6"/>
                  <a:pt x="120" y="5"/>
                  <a:pt x="121" y="6"/>
                </a:cubicBezTo>
                <a:cubicBezTo>
                  <a:pt x="122" y="7"/>
                  <a:pt x="120" y="8"/>
                  <a:pt x="120" y="7"/>
                </a:cubicBezTo>
                <a:cubicBezTo>
                  <a:pt x="120" y="7"/>
                  <a:pt x="117" y="6"/>
                  <a:pt x="116" y="7"/>
                </a:cubicBezTo>
                <a:cubicBezTo>
                  <a:pt x="115" y="8"/>
                  <a:pt x="115" y="9"/>
                  <a:pt x="114" y="8"/>
                </a:cubicBezTo>
                <a:cubicBezTo>
                  <a:pt x="114" y="8"/>
                  <a:pt x="112" y="8"/>
                  <a:pt x="110" y="9"/>
                </a:cubicBezTo>
                <a:cubicBezTo>
                  <a:pt x="108" y="9"/>
                  <a:pt x="110" y="10"/>
                  <a:pt x="111" y="9"/>
                </a:cubicBezTo>
                <a:moveTo>
                  <a:pt x="136" y="94"/>
                </a:moveTo>
                <a:cubicBezTo>
                  <a:pt x="137" y="94"/>
                  <a:pt x="138" y="91"/>
                  <a:pt x="136" y="91"/>
                </a:cubicBezTo>
                <a:cubicBezTo>
                  <a:pt x="135" y="91"/>
                  <a:pt x="135" y="94"/>
                  <a:pt x="136" y="94"/>
                </a:cubicBezTo>
                <a:moveTo>
                  <a:pt x="127" y="92"/>
                </a:moveTo>
                <a:cubicBezTo>
                  <a:pt x="129" y="93"/>
                  <a:pt x="131" y="90"/>
                  <a:pt x="131" y="89"/>
                </a:cubicBezTo>
                <a:cubicBezTo>
                  <a:pt x="131" y="88"/>
                  <a:pt x="126" y="90"/>
                  <a:pt x="127" y="92"/>
                </a:cubicBezTo>
                <a:moveTo>
                  <a:pt x="134" y="86"/>
                </a:moveTo>
                <a:cubicBezTo>
                  <a:pt x="135" y="85"/>
                  <a:pt x="131" y="85"/>
                  <a:pt x="131" y="84"/>
                </a:cubicBezTo>
                <a:cubicBezTo>
                  <a:pt x="132" y="83"/>
                  <a:pt x="128" y="82"/>
                  <a:pt x="127" y="81"/>
                </a:cubicBezTo>
                <a:cubicBezTo>
                  <a:pt x="126" y="81"/>
                  <a:pt x="124" y="80"/>
                  <a:pt x="124" y="79"/>
                </a:cubicBezTo>
                <a:cubicBezTo>
                  <a:pt x="124" y="78"/>
                  <a:pt x="122" y="79"/>
                  <a:pt x="122" y="81"/>
                </a:cubicBezTo>
                <a:cubicBezTo>
                  <a:pt x="122" y="82"/>
                  <a:pt x="121" y="82"/>
                  <a:pt x="121" y="84"/>
                </a:cubicBezTo>
                <a:cubicBezTo>
                  <a:pt x="122" y="85"/>
                  <a:pt x="119" y="86"/>
                  <a:pt x="119" y="87"/>
                </a:cubicBezTo>
                <a:cubicBezTo>
                  <a:pt x="120" y="87"/>
                  <a:pt x="121" y="86"/>
                  <a:pt x="122" y="86"/>
                </a:cubicBezTo>
                <a:cubicBezTo>
                  <a:pt x="123" y="86"/>
                  <a:pt x="122" y="88"/>
                  <a:pt x="123" y="88"/>
                </a:cubicBezTo>
                <a:cubicBezTo>
                  <a:pt x="125" y="88"/>
                  <a:pt x="127" y="87"/>
                  <a:pt x="127" y="86"/>
                </a:cubicBezTo>
                <a:cubicBezTo>
                  <a:pt x="128" y="85"/>
                  <a:pt x="129" y="85"/>
                  <a:pt x="130" y="86"/>
                </a:cubicBezTo>
                <a:cubicBezTo>
                  <a:pt x="131" y="87"/>
                  <a:pt x="134" y="87"/>
                  <a:pt x="134" y="86"/>
                </a:cubicBezTo>
                <a:moveTo>
                  <a:pt x="167" y="78"/>
                </a:moveTo>
                <a:cubicBezTo>
                  <a:pt x="168" y="78"/>
                  <a:pt x="168" y="79"/>
                  <a:pt x="170" y="81"/>
                </a:cubicBezTo>
                <a:cubicBezTo>
                  <a:pt x="172" y="82"/>
                  <a:pt x="172" y="81"/>
                  <a:pt x="172" y="80"/>
                </a:cubicBezTo>
                <a:cubicBezTo>
                  <a:pt x="172" y="79"/>
                  <a:pt x="175" y="80"/>
                  <a:pt x="174" y="79"/>
                </a:cubicBezTo>
                <a:cubicBezTo>
                  <a:pt x="174" y="78"/>
                  <a:pt x="176" y="76"/>
                  <a:pt x="177" y="76"/>
                </a:cubicBezTo>
                <a:cubicBezTo>
                  <a:pt x="178" y="75"/>
                  <a:pt x="176" y="74"/>
                  <a:pt x="175" y="74"/>
                </a:cubicBezTo>
                <a:cubicBezTo>
                  <a:pt x="173" y="74"/>
                  <a:pt x="173" y="73"/>
                  <a:pt x="173" y="73"/>
                </a:cubicBezTo>
                <a:cubicBezTo>
                  <a:pt x="173" y="72"/>
                  <a:pt x="170" y="70"/>
                  <a:pt x="169" y="71"/>
                </a:cubicBezTo>
                <a:cubicBezTo>
                  <a:pt x="168" y="71"/>
                  <a:pt x="166" y="69"/>
                  <a:pt x="165" y="69"/>
                </a:cubicBezTo>
                <a:cubicBezTo>
                  <a:pt x="164" y="69"/>
                  <a:pt x="162" y="68"/>
                  <a:pt x="162" y="67"/>
                </a:cubicBezTo>
                <a:cubicBezTo>
                  <a:pt x="162" y="65"/>
                  <a:pt x="165" y="67"/>
                  <a:pt x="165" y="66"/>
                </a:cubicBezTo>
                <a:cubicBezTo>
                  <a:pt x="166" y="65"/>
                  <a:pt x="163" y="66"/>
                  <a:pt x="163" y="65"/>
                </a:cubicBezTo>
                <a:cubicBezTo>
                  <a:pt x="162" y="64"/>
                  <a:pt x="163" y="64"/>
                  <a:pt x="164" y="64"/>
                </a:cubicBezTo>
                <a:cubicBezTo>
                  <a:pt x="164" y="63"/>
                  <a:pt x="163" y="62"/>
                  <a:pt x="163" y="62"/>
                </a:cubicBezTo>
                <a:cubicBezTo>
                  <a:pt x="162" y="62"/>
                  <a:pt x="162" y="63"/>
                  <a:pt x="161" y="63"/>
                </a:cubicBezTo>
                <a:cubicBezTo>
                  <a:pt x="160" y="63"/>
                  <a:pt x="161" y="62"/>
                  <a:pt x="161" y="61"/>
                </a:cubicBezTo>
                <a:cubicBezTo>
                  <a:pt x="162" y="60"/>
                  <a:pt x="159" y="60"/>
                  <a:pt x="158" y="60"/>
                </a:cubicBezTo>
                <a:cubicBezTo>
                  <a:pt x="157" y="60"/>
                  <a:pt x="156" y="60"/>
                  <a:pt x="156" y="59"/>
                </a:cubicBezTo>
                <a:cubicBezTo>
                  <a:pt x="156" y="58"/>
                  <a:pt x="154" y="59"/>
                  <a:pt x="154" y="59"/>
                </a:cubicBezTo>
                <a:cubicBezTo>
                  <a:pt x="153" y="60"/>
                  <a:pt x="152" y="59"/>
                  <a:pt x="153" y="59"/>
                </a:cubicBezTo>
                <a:cubicBezTo>
                  <a:pt x="154" y="59"/>
                  <a:pt x="155" y="58"/>
                  <a:pt x="155" y="57"/>
                </a:cubicBezTo>
                <a:cubicBezTo>
                  <a:pt x="154" y="56"/>
                  <a:pt x="152" y="56"/>
                  <a:pt x="151" y="57"/>
                </a:cubicBezTo>
                <a:cubicBezTo>
                  <a:pt x="151" y="58"/>
                  <a:pt x="149" y="56"/>
                  <a:pt x="149" y="55"/>
                </a:cubicBezTo>
                <a:cubicBezTo>
                  <a:pt x="149" y="54"/>
                  <a:pt x="146" y="55"/>
                  <a:pt x="146" y="53"/>
                </a:cubicBezTo>
                <a:cubicBezTo>
                  <a:pt x="146" y="52"/>
                  <a:pt x="142" y="52"/>
                  <a:pt x="141" y="52"/>
                </a:cubicBezTo>
                <a:cubicBezTo>
                  <a:pt x="140" y="52"/>
                  <a:pt x="139" y="53"/>
                  <a:pt x="139" y="53"/>
                </a:cubicBezTo>
                <a:cubicBezTo>
                  <a:pt x="139" y="54"/>
                  <a:pt x="138" y="54"/>
                  <a:pt x="138" y="53"/>
                </a:cubicBezTo>
                <a:cubicBezTo>
                  <a:pt x="137" y="52"/>
                  <a:pt x="135" y="54"/>
                  <a:pt x="134" y="54"/>
                </a:cubicBezTo>
                <a:cubicBezTo>
                  <a:pt x="133" y="54"/>
                  <a:pt x="134" y="51"/>
                  <a:pt x="134" y="50"/>
                </a:cubicBezTo>
                <a:cubicBezTo>
                  <a:pt x="134" y="50"/>
                  <a:pt x="133" y="49"/>
                  <a:pt x="132" y="48"/>
                </a:cubicBezTo>
                <a:cubicBezTo>
                  <a:pt x="132" y="46"/>
                  <a:pt x="129" y="47"/>
                  <a:pt x="128" y="48"/>
                </a:cubicBezTo>
                <a:cubicBezTo>
                  <a:pt x="127" y="49"/>
                  <a:pt x="125" y="48"/>
                  <a:pt x="123" y="50"/>
                </a:cubicBezTo>
                <a:cubicBezTo>
                  <a:pt x="122" y="51"/>
                  <a:pt x="124" y="52"/>
                  <a:pt x="124" y="53"/>
                </a:cubicBezTo>
                <a:cubicBezTo>
                  <a:pt x="125" y="53"/>
                  <a:pt x="122" y="54"/>
                  <a:pt x="123" y="55"/>
                </a:cubicBezTo>
                <a:cubicBezTo>
                  <a:pt x="124" y="56"/>
                  <a:pt x="125" y="55"/>
                  <a:pt x="125" y="57"/>
                </a:cubicBezTo>
                <a:cubicBezTo>
                  <a:pt x="125" y="58"/>
                  <a:pt x="122" y="56"/>
                  <a:pt x="122" y="55"/>
                </a:cubicBezTo>
                <a:cubicBezTo>
                  <a:pt x="121" y="54"/>
                  <a:pt x="122" y="53"/>
                  <a:pt x="121" y="52"/>
                </a:cubicBezTo>
                <a:cubicBezTo>
                  <a:pt x="120" y="52"/>
                  <a:pt x="121" y="51"/>
                  <a:pt x="122" y="49"/>
                </a:cubicBezTo>
                <a:cubicBezTo>
                  <a:pt x="124" y="48"/>
                  <a:pt x="124" y="48"/>
                  <a:pt x="124" y="47"/>
                </a:cubicBezTo>
                <a:cubicBezTo>
                  <a:pt x="124" y="46"/>
                  <a:pt x="119" y="46"/>
                  <a:pt x="116" y="49"/>
                </a:cubicBezTo>
                <a:cubicBezTo>
                  <a:pt x="113" y="52"/>
                  <a:pt x="114" y="56"/>
                  <a:pt x="114" y="57"/>
                </a:cubicBezTo>
                <a:cubicBezTo>
                  <a:pt x="114" y="58"/>
                  <a:pt x="117" y="57"/>
                  <a:pt x="118" y="58"/>
                </a:cubicBezTo>
                <a:cubicBezTo>
                  <a:pt x="120" y="58"/>
                  <a:pt x="119" y="59"/>
                  <a:pt x="118" y="59"/>
                </a:cubicBezTo>
                <a:cubicBezTo>
                  <a:pt x="117" y="59"/>
                  <a:pt x="114" y="58"/>
                  <a:pt x="115" y="59"/>
                </a:cubicBezTo>
                <a:cubicBezTo>
                  <a:pt x="115" y="60"/>
                  <a:pt x="117" y="62"/>
                  <a:pt x="119" y="61"/>
                </a:cubicBezTo>
                <a:cubicBezTo>
                  <a:pt x="120" y="61"/>
                  <a:pt x="120" y="61"/>
                  <a:pt x="121" y="62"/>
                </a:cubicBezTo>
                <a:cubicBezTo>
                  <a:pt x="122" y="63"/>
                  <a:pt x="124" y="62"/>
                  <a:pt x="126" y="63"/>
                </a:cubicBezTo>
                <a:cubicBezTo>
                  <a:pt x="127" y="63"/>
                  <a:pt x="130" y="63"/>
                  <a:pt x="130" y="63"/>
                </a:cubicBezTo>
                <a:cubicBezTo>
                  <a:pt x="131" y="63"/>
                  <a:pt x="132" y="63"/>
                  <a:pt x="133" y="62"/>
                </a:cubicBezTo>
                <a:cubicBezTo>
                  <a:pt x="133" y="62"/>
                  <a:pt x="137" y="63"/>
                  <a:pt x="138" y="63"/>
                </a:cubicBezTo>
                <a:cubicBezTo>
                  <a:pt x="139" y="63"/>
                  <a:pt x="138" y="62"/>
                  <a:pt x="137" y="62"/>
                </a:cubicBezTo>
                <a:cubicBezTo>
                  <a:pt x="137" y="61"/>
                  <a:pt x="137" y="60"/>
                  <a:pt x="138" y="61"/>
                </a:cubicBezTo>
                <a:cubicBezTo>
                  <a:pt x="139" y="61"/>
                  <a:pt x="140" y="61"/>
                  <a:pt x="141" y="62"/>
                </a:cubicBezTo>
                <a:cubicBezTo>
                  <a:pt x="141" y="63"/>
                  <a:pt x="142" y="63"/>
                  <a:pt x="142" y="63"/>
                </a:cubicBezTo>
                <a:cubicBezTo>
                  <a:pt x="142" y="64"/>
                  <a:pt x="145" y="65"/>
                  <a:pt x="145" y="66"/>
                </a:cubicBezTo>
                <a:cubicBezTo>
                  <a:pt x="145" y="66"/>
                  <a:pt x="142" y="67"/>
                  <a:pt x="143" y="68"/>
                </a:cubicBezTo>
                <a:cubicBezTo>
                  <a:pt x="144" y="68"/>
                  <a:pt x="145" y="67"/>
                  <a:pt x="146" y="67"/>
                </a:cubicBezTo>
                <a:cubicBezTo>
                  <a:pt x="148" y="66"/>
                  <a:pt x="148" y="69"/>
                  <a:pt x="148" y="69"/>
                </a:cubicBezTo>
                <a:cubicBezTo>
                  <a:pt x="150" y="68"/>
                  <a:pt x="151" y="69"/>
                  <a:pt x="152" y="71"/>
                </a:cubicBezTo>
                <a:cubicBezTo>
                  <a:pt x="153" y="73"/>
                  <a:pt x="152" y="74"/>
                  <a:pt x="152" y="75"/>
                </a:cubicBezTo>
                <a:cubicBezTo>
                  <a:pt x="152" y="75"/>
                  <a:pt x="154" y="75"/>
                  <a:pt x="155" y="74"/>
                </a:cubicBezTo>
                <a:cubicBezTo>
                  <a:pt x="157" y="74"/>
                  <a:pt x="158" y="75"/>
                  <a:pt x="159" y="76"/>
                </a:cubicBezTo>
                <a:cubicBezTo>
                  <a:pt x="160" y="77"/>
                  <a:pt x="155" y="78"/>
                  <a:pt x="156" y="78"/>
                </a:cubicBezTo>
                <a:cubicBezTo>
                  <a:pt x="156" y="77"/>
                  <a:pt x="153" y="74"/>
                  <a:pt x="150" y="76"/>
                </a:cubicBezTo>
                <a:cubicBezTo>
                  <a:pt x="147" y="77"/>
                  <a:pt x="149" y="78"/>
                  <a:pt x="149" y="79"/>
                </a:cubicBezTo>
                <a:cubicBezTo>
                  <a:pt x="150" y="80"/>
                  <a:pt x="147" y="81"/>
                  <a:pt x="144" y="80"/>
                </a:cubicBezTo>
                <a:cubicBezTo>
                  <a:pt x="142" y="79"/>
                  <a:pt x="142" y="81"/>
                  <a:pt x="141" y="81"/>
                </a:cubicBezTo>
                <a:cubicBezTo>
                  <a:pt x="140" y="81"/>
                  <a:pt x="139" y="83"/>
                  <a:pt x="140" y="84"/>
                </a:cubicBezTo>
                <a:cubicBezTo>
                  <a:pt x="141" y="85"/>
                  <a:pt x="143" y="84"/>
                  <a:pt x="145" y="84"/>
                </a:cubicBezTo>
                <a:cubicBezTo>
                  <a:pt x="147" y="84"/>
                  <a:pt x="147" y="84"/>
                  <a:pt x="147" y="83"/>
                </a:cubicBezTo>
                <a:cubicBezTo>
                  <a:pt x="147" y="83"/>
                  <a:pt x="149" y="83"/>
                  <a:pt x="150" y="83"/>
                </a:cubicBezTo>
                <a:cubicBezTo>
                  <a:pt x="152" y="84"/>
                  <a:pt x="151" y="85"/>
                  <a:pt x="153" y="86"/>
                </a:cubicBezTo>
                <a:cubicBezTo>
                  <a:pt x="154" y="86"/>
                  <a:pt x="153" y="87"/>
                  <a:pt x="154" y="88"/>
                </a:cubicBezTo>
                <a:cubicBezTo>
                  <a:pt x="155" y="89"/>
                  <a:pt x="158" y="89"/>
                  <a:pt x="159" y="90"/>
                </a:cubicBezTo>
                <a:cubicBezTo>
                  <a:pt x="161" y="91"/>
                  <a:pt x="166" y="94"/>
                  <a:pt x="166" y="93"/>
                </a:cubicBezTo>
                <a:cubicBezTo>
                  <a:pt x="167" y="92"/>
                  <a:pt x="162" y="87"/>
                  <a:pt x="161" y="87"/>
                </a:cubicBezTo>
                <a:cubicBezTo>
                  <a:pt x="159" y="86"/>
                  <a:pt x="162" y="86"/>
                  <a:pt x="164" y="87"/>
                </a:cubicBezTo>
                <a:cubicBezTo>
                  <a:pt x="166" y="89"/>
                  <a:pt x="169" y="90"/>
                  <a:pt x="170" y="88"/>
                </a:cubicBezTo>
                <a:cubicBezTo>
                  <a:pt x="171" y="86"/>
                  <a:pt x="169" y="87"/>
                  <a:pt x="169" y="85"/>
                </a:cubicBezTo>
                <a:cubicBezTo>
                  <a:pt x="169" y="84"/>
                  <a:pt x="168" y="82"/>
                  <a:pt x="166" y="82"/>
                </a:cubicBezTo>
                <a:cubicBezTo>
                  <a:pt x="165" y="82"/>
                  <a:pt x="162" y="79"/>
                  <a:pt x="163" y="79"/>
                </a:cubicBezTo>
                <a:cubicBezTo>
                  <a:pt x="164" y="78"/>
                  <a:pt x="162" y="78"/>
                  <a:pt x="163" y="76"/>
                </a:cubicBezTo>
                <a:cubicBezTo>
                  <a:pt x="164" y="75"/>
                  <a:pt x="165" y="77"/>
                  <a:pt x="167" y="78"/>
                </a:cubicBezTo>
                <a:moveTo>
                  <a:pt x="146" y="73"/>
                </a:moveTo>
                <a:cubicBezTo>
                  <a:pt x="147" y="73"/>
                  <a:pt x="147" y="71"/>
                  <a:pt x="146" y="70"/>
                </a:cubicBezTo>
                <a:cubicBezTo>
                  <a:pt x="146" y="69"/>
                  <a:pt x="144" y="69"/>
                  <a:pt x="143" y="69"/>
                </a:cubicBezTo>
                <a:cubicBezTo>
                  <a:pt x="142" y="69"/>
                  <a:pt x="140" y="71"/>
                  <a:pt x="141" y="73"/>
                </a:cubicBezTo>
                <a:cubicBezTo>
                  <a:pt x="142" y="74"/>
                  <a:pt x="145" y="73"/>
                  <a:pt x="146" y="73"/>
                </a:cubicBezTo>
                <a:moveTo>
                  <a:pt x="134" y="47"/>
                </a:moveTo>
                <a:cubicBezTo>
                  <a:pt x="133" y="49"/>
                  <a:pt x="135" y="49"/>
                  <a:pt x="135" y="50"/>
                </a:cubicBezTo>
                <a:cubicBezTo>
                  <a:pt x="135" y="52"/>
                  <a:pt x="137" y="52"/>
                  <a:pt x="138" y="51"/>
                </a:cubicBezTo>
                <a:cubicBezTo>
                  <a:pt x="140" y="50"/>
                  <a:pt x="144" y="51"/>
                  <a:pt x="144" y="50"/>
                </a:cubicBezTo>
                <a:cubicBezTo>
                  <a:pt x="144" y="49"/>
                  <a:pt x="139" y="47"/>
                  <a:pt x="138" y="48"/>
                </a:cubicBezTo>
                <a:cubicBezTo>
                  <a:pt x="137" y="48"/>
                  <a:pt x="134" y="46"/>
                  <a:pt x="134" y="47"/>
                </a:cubicBezTo>
                <a:moveTo>
                  <a:pt x="170" y="131"/>
                </a:moveTo>
                <a:cubicBezTo>
                  <a:pt x="171" y="132"/>
                  <a:pt x="176" y="134"/>
                  <a:pt x="176" y="133"/>
                </a:cubicBezTo>
                <a:cubicBezTo>
                  <a:pt x="177" y="132"/>
                  <a:pt x="170" y="130"/>
                  <a:pt x="170" y="131"/>
                </a:cubicBezTo>
                <a:moveTo>
                  <a:pt x="195" y="137"/>
                </a:moveTo>
                <a:cubicBezTo>
                  <a:pt x="195" y="137"/>
                  <a:pt x="194" y="136"/>
                  <a:pt x="195" y="135"/>
                </a:cubicBezTo>
                <a:cubicBezTo>
                  <a:pt x="196" y="135"/>
                  <a:pt x="195" y="135"/>
                  <a:pt x="194" y="135"/>
                </a:cubicBezTo>
                <a:cubicBezTo>
                  <a:pt x="193" y="135"/>
                  <a:pt x="194" y="133"/>
                  <a:pt x="194" y="133"/>
                </a:cubicBezTo>
                <a:cubicBezTo>
                  <a:pt x="195" y="132"/>
                  <a:pt x="193" y="132"/>
                  <a:pt x="193" y="132"/>
                </a:cubicBezTo>
                <a:cubicBezTo>
                  <a:pt x="193" y="133"/>
                  <a:pt x="191" y="133"/>
                  <a:pt x="191" y="132"/>
                </a:cubicBezTo>
                <a:cubicBezTo>
                  <a:pt x="190" y="131"/>
                  <a:pt x="189" y="131"/>
                  <a:pt x="190" y="131"/>
                </a:cubicBezTo>
                <a:cubicBezTo>
                  <a:pt x="190" y="130"/>
                  <a:pt x="188" y="130"/>
                  <a:pt x="188" y="131"/>
                </a:cubicBezTo>
                <a:cubicBezTo>
                  <a:pt x="188" y="131"/>
                  <a:pt x="187" y="130"/>
                  <a:pt x="188" y="129"/>
                </a:cubicBezTo>
                <a:cubicBezTo>
                  <a:pt x="189" y="128"/>
                  <a:pt x="189" y="127"/>
                  <a:pt x="190" y="127"/>
                </a:cubicBezTo>
                <a:cubicBezTo>
                  <a:pt x="191" y="126"/>
                  <a:pt x="190" y="125"/>
                  <a:pt x="189" y="126"/>
                </a:cubicBezTo>
                <a:cubicBezTo>
                  <a:pt x="188" y="126"/>
                  <a:pt x="185" y="130"/>
                  <a:pt x="185" y="131"/>
                </a:cubicBezTo>
                <a:cubicBezTo>
                  <a:pt x="185" y="132"/>
                  <a:pt x="185" y="133"/>
                  <a:pt x="184" y="133"/>
                </a:cubicBezTo>
                <a:cubicBezTo>
                  <a:pt x="183" y="133"/>
                  <a:pt x="182" y="134"/>
                  <a:pt x="183" y="134"/>
                </a:cubicBezTo>
                <a:cubicBezTo>
                  <a:pt x="184" y="135"/>
                  <a:pt x="181" y="136"/>
                  <a:pt x="182" y="137"/>
                </a:cubicBezTo>
                <a:cubicBezTo>
                  <a:pt x="183" y="137"/>
                  <a:pt x="184" y="137"/>
                  <a:pt x="186" y="137"/>
                </a:cubicBezTo>
                <a:cubicBezTo>
                  <a:pt x="187" y="137"/>
                  <a:pt x="188" y="137"/>
                  <a:pt x="189" y="136"/>
                </a:cubicBezTo>
                <a:cubicBezTo>
                  <a:pt x="190" y="136"/>
                  <a:pt x="190" y="137"/>
                  <a:pt x="191" y="137"/>
                </a:cubicBezTo>
                <a:cubicBezTo>
                  <a:pt x="192" y="137"/>
                  <a:pt x="190" y="138"/>
                  <a:pt x="190" y="138"/>
                </a:cubicBezTo>
                <a:cubicBezTo>
                  <a:pt x="190" y="139"/>
                  <a:pt x="191" y="138"/>
                  <a:pt x="192" y="138"/>
                </a:cubicBezTo>
                <a:cubicBezTo>
                  <a:pt x="193" y="137"/>
                  <a:pt x="194" y="138"/>
                  <a:pt x="193" y="138"/>
                </a:cubicBezTo>
                <a:cubicBezTo>
                  <a:pt x="193" y="139"/>
                  <a:pt x="196" y="140"/>
                  <a:pt x="196" y="139"/>
                </a:cubicBezTo>
                <a:cubicBezTo>
                  <a:pt x="197" y="138"/>
                  <a:pt x="196" y="136"/>
                  <a:pt x="195" y="137"/>
                </a:cubicBezTo>
                <a:moveTo>
                  <a:pt x="18" y="119"/>
                </a:moveTo>
                <a:cubicBezTo>
                  <a:pt x="16" y="120"/>
                  <a:pt x="21" y="124"/>
                  <a:pt x="21" y="123"/>
                </a:cubicBezTo>
                <a:cubicBezTo>
                  <a:pt x="22" y="123"/>
                  <a:pt x="20" y="121"/>
                  <a:pt x="20" y="120"/>
                </a:cubicBezTo>
                <a:cubicBezTo>
                  <a:pt x="20" y="119"/>
                  <a:pt x="20" y="118"/>
                  <a:pt x="18" y="119"/>
                </a:cubicBezTo>
                <a:moveTo>
                  <a:pt x="180" y="141"/>
                </a:moveTo>
                <a:cubicBezTo>
                  <a:pt x="179" y="141"/>
                  <a:pt x="179" y="140"/>
                  <a:pt x="180" y="139"/>
                </a:cubicBezTo>
                <a:cubicBezTo>
                  <a:pt x="180" y="139"/>
                  <a:pt x="178" y="140"/>
                  <a:pt x="178" y="140"/>
                </a:cubicBezTo>
                <a:cubicBezTo>
                  <a:pt x="178" y="141"/>
                  <a:pt x="177" y="141"/>
                  <a:pt x="177" y="142"/>
                </a:cubicBezTo>
                <a:cubicBezTo>
                  <a:pt x="177" y="143"/>
                  <a:pt x="177" y="142"/>
                  <a:pt x="176" y="143"/>
                </a:cubicBezTo>
                <a:cubicBezTo>
                  <a:pt x="175" y="143"/>
                  <a:pt x="172" y="143"/>
                  <a:pt x="172" y="142"/>
                </a:cubicBezTo>
                <a:cubicBezTo>
                  <a:pt x="172" y="141"/>
                  <a:pt x="170" y="141"/>
                  <a:pt x="170" y="140"/>
                </a:cubicBezTo>
                <a:cubicBezTo>
                  <a:pt x="170" y="139"/>
                  <a:pt x="168" y="139"/>
                  <a:pt x="169" y="138"/>
                </a:cubicBezTo>
                <a:cubicBezTo>
                  <a:pt x="170" y="137"/>
                  <a:pt x="169" y="136"/>
                  <a:pt x="168" y="137"/>
                </a:cubicBezTo>
                <a:cubicBezTo>
                  <a:pt x="168" y="138"/>
                  <a:pt x="167" y="136"/>
                  <a:pt x="168" y="136"/>
                </a:cubicBezTo>
                <a:cubicBezTo>
                  <a:pt x="169" y="136"/>
                  <a:pt x="171" y="135"/>
                  <a:pt x="170" y="133"/>
                </a:cubicBezTo>
                <a:cubicBezTo>
                  <a:pt x="169" y="131"/>
                  <a:pt x="162" y="134"/>
                  <a:pt x="161" y="135"/>
                </a:cubicBezTo>
                <a:cubicBezTo>
                  <a:pt x="159" y="136"/>
                  <a:pt x="157" y="139"/>
                  <a:pt x="156" y="139"/>
                </a:cubicBezTo>
                <a:cubicBezTo>
                  <a:pt x="155" y="139"/>
                  <a:pt x="158" y="137"/>
                  <a:pt x="158" y="137"/>
                </a:cubicBezTo>
                <a:cubicBezTo>
                  <a:pt x="158" y="136"/>
                  <a:pt x="158" y="135"/>
                  <a:pt x="158" y="136"/>
                </a:cubicBezTo>
                <a:cubicBezTo>
                  <a:pt x="159" y="136"/>
                  <a:pt x="160" y="133"/>
                  <a:pt x="162" y="133"/>
                </a:cubicBezTo>
                <a:cubicBezTo>
                  <a:pt x="163" y="132"/>
                  <a:pt x="164" y="133"/>
                  <a:pt x="164" y="132"/>
                </a:cubicBezTo>
                <a:cubicBezTo>
                  <a:pt x="164" y="131"/>
                  <a:pt x="164" y="131"/>
                  <a:pt x="165" y="130"/>
                </a:cubicBezTo>
                <a:cubicBezTo>
                  <a:pt x="166" y="129"/>
                  <a:pt x="178" y="129"/>
                  <a:pt x="179" y="129"/>
                </a:cubicBezTo>
                <a:cubicBezTo>
                  <a:pt x="180" y="129"/>
                  <a:pt x="183" y="128"/>
                  <a:pt x="183" y="127"/>
                </a:cubicBezTo>
                <a:cubicBezTo>
                  <a:pt x="184" y="126"/>
                  <a:pt x="185" y="126"/>
                  <a:pt x="186" y="126"/>
                </a:cubicBezTo>
                <a:cubicBezTo>
                  <a:pt x="188" y="126"/>
                  <a:pt x="189" y="125"/>
                  <a:pt x="189" y="124"/>
                </a:cubicBezTo>
                <a:cubicBezTo>
                  <a:pt x="190" y="124"/>
                  <a:pt x="190" y="123"/>
                  <a:pt x="189" y="123"/>
                </a:cubicBezTo>
                <a:cubicBezTo>
                  <a:pt x="188" y="123"/>
                  <a:pt x="188" y="123"/>
                  <a:pt x="189" y="123"/>
                </a:cubicBezTo>
                <a:cubicBezTo>
                  <a:pt x="189" y="122"/>
                  <a:pt x="190" y="122"/>
                  <a:pt x="190" y="121"/>
                </a:cubicBezTo>
                <a:cubicBezTo>
                  <a:pt x="190" y="120"/>
                  <a:pt x="190" y="121"/>
                  <a:pt x="189" y="119"/>
                </a:cubicBezTo>
                <a:cubicBezTo>
                  <a:pt x="188" y="118"/>
                  <a:pt x="187" y="120"/>
                  <a:pt x="186" y="120"/>
                </a:cubicBezTo>
                <a:cubicBezTo>
                  <a:pt x="185" y="120"/>
                  <a:pt x="187" y="118"/>
                  <a:pt x="186" y="118"/>
                </a:cubicBezTo>
                <a:cubicBezTo>
                  <a:pt x="185" y="118"/>
                  <a:pt x="184" y="118"/>
                  <a:pt x="183" y="119"/>
                </a:cubicBezTo>
                <a:cubicBezTo>
                  <a:pt x="182" y="120"/>
                  <a:pt x="182" y="119"/>
                  <a:pt x="181" y="120"/>
                </a:cubicBezTo>
                <a:cubicBezTo>
                  <a:pt x="180" y="121"/>
                  <a:pt x="180" y="119"/>
                  <a:pt x="180" y="119"/>
                </a:cubicBezTo>
                <a:cubicBezTo>
                  <a:pt x="181" y="118"/>
                  <a:pt x="181" y="119"/>
                  <a:pt x="181" y="118"/>
                </a:cubicBezTo>
                <a:cubicBezTo>
                  <a:pt x="182" y="118"/>
                  <a:pt x="182" y="118"/>
                  <a:pt x="183" y="118"/>
                </a:cubicBezTo>
                <a:cubicBezTo>
                  <a:pt x="185" y="117"/>
                  <a:pt x="185" y="117"/>
                  <a:pt x="186" y="117"/>
                </a:cubicBezTo>
                <a:cubicBezTo>
                  <a:pt x="186" y="116"/>
                  <a:pt x="185" y="115"/>
                  <a:pt x="184" y="116"/>
                </a:cubicBezTo>
                <a:cubicBezTo>
                  <a:pt x="183" y="116"/>
                  <a:pt x="182" y="114"/>
                  <a:pt x="182" y="115"/>
                </a:cubicBezTo>
                <a:cubicBezTo>
                  <a:pt x="181" y="115"/>
                  <a:pt x="181" y="114"/>
                  <a:pt x="180" y="114"/>
                </a:cubicBezTo>
                <a:cubicBezTo>
                  <a:pt x="180" y="115"/>
                  <a:pt x="179" y="114"/>
                  <a:pt x="179" y="113"/>
                </a:cubicBezTo>
                <a:cubicBezTo>
                  <a:pt x="178" y="112"/>
                  <a:pt x="176" y="111"/>
                  <a:pt x="175" y="111"/>
                </a:cubicBezTo>
                <a:cubicBezTo>
                  <a:pt x="174" y="110"/>
                  <a:pt x="175" y="109"/>
                  <a:pt x="175" y="110"/>
                </a:cubicBezTo>
                <a:cubicBezTo>
                  <a:pt x="176" y="110"/>
                  <a:pt x="177" y="109"/>
                  <a:pt x="177" y="109"/>
                </a:cubicBezTo>
                <a:cubicBezTo>
                  <a:pt x="177" y="108"/>
                  <a:pt x="177" y="108"/>
                  <a:pt x="176" y="108"/>
                </a:cubicBezTo>
                <a:cubicBezTo>
                  <a:pt x="176" y="108"/>
                  <a:pt x="176" y="107"/>
                  <a:pt x="176" y="107"/>
                </a:cubicBezTo>
                <a:cubicBezTo>
                  <a:pt x="176" y="106"/>
                  <a:pt x="175" y="106"/>
                  <a:pt x="175" y="105"/>
                </a:cubicBezTo>
                <a:cubicBezTo>
                  <a:pt x="174" y="105"/>
                  <a:pt x="174" y="104"/>
                  <a:pt x="174" y="104"/>
                </a:cubicBezTo>
                <a:cubicBezTo>
                  <a:pt x="174" y="103"/>
                  <a:pt x="173" y="103"/>
                  <a:pt x="173" y="102"/>
                </a:cubicBezTo>
                <a:cubicBezTo>
                  <a:pt x="173" y="102"/>
                  <a:pt x="171" y="100"/>
                  <a:pt x="171" y="100"/>
                </a:cubicBezTo>
                <a:cubicBezTo>
                  <a:pt x="171" y="99"/>
                  <a:pt x="170" y="99"/>
                  <a:pt x="170" y="98"/>
                </a:cubicBezTo>
                <a:cubicBezTo>
                  <a:pt x="170" y="97"/>
                  <a:pt x="170" y="97"/>
                  <a:pt x="169" y="98"/>
                </a:cubicBezTo>
                <a:cubicBezTo>
                  <a:pt x="169" y="100"/>
                  <a:pt x="168" y="100"/>
                  <a:pt x="168" y="100"/>
                </a:cubicBezTo>
                <a:cubicBezTo>
                  <a:pt x="169" y="101"/>
                  <a:pt x="168" y="101"/>
                  <a:pt x="168" y="101"/>
                </a:cubicBezTo>
                <a:cubicBezTo>
                  <a:pt x="167" y="102"/>
                  <a:pt x="168" y="103"/>
                  <a:pt x="167" y="103"/>
                </a:cubicBezTo>
                <a:cubicBezTo>
                  <a:pt x="167" y="103"/>
                  <a:pt x="167" y="104"/>
                  <a:pt x="167" y="103"/>
                </a:cubicBezTo>
                <a:cubicBezTo>
                  <a:pt x="166" y="103"/>
                  <a:pt x="165" y="103"/>
                  <a:pt x="165" y="104"/>
                </a:cubicBezTo>
                <a:cubicBezTo>
                  <a:pt x="165" y="104"/>
                  <a:pt x="164" y="105"/>
                  <a:pt x="163" y="105"/>
                </a:cubicBezTo>
                <a:cubicBezTo>
                  <a:pt x="162" y="105"/>
                  <a:pt x="162" y="103"/>
                  <a:pt x="162" y="104"/>
                </a:cubicBezTo>
                <a:cubicBezTo>
                  <a:pt x="161" y="104"/>
                  <a:pt x="162" y="103"/>
                  <a:pt x="161" y="103"/>
                </a:cubicBezTo>
                <a:cubicBezTo>
                  <a:pt x="160" y="103"/>
                  <a:pt x="159" y="103"/>
                  <a:pt x="159" y="102"/>
                </a:cubicBezTo>
                <a:cubicBezTo>
                  <a:pt x="160" y="101"/>
                  <a:pt x="158" y="101"/>
                  <a:pt x="159" y="101"/>
                </a:cubicBezTo>
                <a:cubicBezTo>
                  <a:pt x="159" y="100"/>
                  <a:pt x="158" y="99"/>
                  <a:pt x="158" y="98"/>
                </a:cubicBezTo>
                <a:cubicBezTo>
                  <a:pt x="158" y="97"/>
                  <a:pt x="159" y="97"/>
                  <a:pt x="159" y="96"/>
                </a:cubicBezTo>
                <a:cubicBezTo>
                  <a:pt x="159" y="96"/>
                  <a:pt x="159" y="96"/>
                  <a:pt x="158" y="96"/>
                </a:cubicBezTo>
                <a:cubicBezTo>
                  <a:pt x="157" y="96"/>
                  <a:pt x="157" y="96"/>
                  <a:pt x="157" y="96"/>
                </a:cubicBezTo>
                <a:cubicBezTo>
                  <a:pt x="156" y="96"/>
                  <a:pt x="154" y="96"/>
                  <a:pt x="154" y="95"/>
                </a:cubicBezTo>
                <a:cubicBezTo>
                  <a:pt x="154" y="94"/>
                  <a:pt x="153" y="94"/>
                  <a:pt x="153" y="93"/>
                </a:cubicBezTo>
                <a:cubicBezTo>
                  <a:pt x="153" y="93"/>
                  <a:pt x="152" y="93"/>
                  <a:pt x="152" y="93"/>
                </a:cubicBezTo>
                <a:cubicBezTo>
                  <a:pt x="152" y="92"/>
                  <a:pt x="152" y="92"/>
                  <a:pt x="151" y="92"/>
                </a:cubicBezTo>
                <a:cubicBezTo>
                  <a:pt x="150" y="92"/>
                  <a:pt x="150" y="91"/>
                  <a:pt x="149" y="91"/>
                </a:cubicBezTo>
                <a:cubicBezTo>
                  <a:pt x="149" y="91"/>
                  <a:pt x="148" y="91"/>
                  <a:pt x="147" y="92"/>
                </a:cubicBezTo>
                <a:cubicBezTo>
                  <a:pt x="147" y="92"/>
                  <a:pt x="146" y="91"/>
                  <a:pt x="145" y="91"/>
                </a:cubicBezTo>
                <a:cubicBezTo>
                  <a:pt x="145" y="92"/>
                  <a:pt x="145" y="91"/>
                  <a:pt x="143" y="91"/>
                </a:cubicBezTo>
                <a:cubicBezTo>
                  <a:pt x="142" y="90"/>
                  <a:pt x="141" y="90"/>
                  <a:pt x="141" y="91"/>
                </a:cubicBezTo>
                <a:cubicBezTo>
                  <a:pt x="140" y="91"/>
                  <a:pt x="139" y="91"/>
                  <a:pt x="140" y="92"/>
                </a:cubicBezTo>
                <a:cubicBezTo>
                  <a:pt x="140" y="93"/>
                  <a:pt x="141" y="93"/>
                  <a:pt x="141" y="94"/>
                </a:cubicBezTo>
                <a:cubicBezTo>
                  <a:pt x="141" y="95"/>
                  <a:pt x="141" y="94"/>
                  <a:pt x="140" y="95"/>
                </a:cubicBezTo>
                <a:cubicBezTo>
                  <a:pt x="140" y="96"/>
                  <a:pt x="140" y="96"/>
                  <a:pt x="140" y="96"/>
                </a:cubicBezTo>
                <a:cubicBezTo>
                  <a:pt x="140" y="96"/>
                  <a:pt x="140" y="96"/>
                  <a:pt x="140" y="97"/>
                </a:cubicBezTo>
                <a:cubicBezTo>
                  <a:pt x="141" y="98"/>
                  <a:pt x="141" y="98"/>
                  <a:pt x="141" y="99"/>
                </a:cubicBezTo>
                <a:cubicBezTo>
                  <a:pt x="142" y="100"/>
                  <a:pt x="141" y="100"/>
                  <a:pt x="140" y="100"/>
                </a:cubicBezTo>
                <a:cubicBezTo>
                  <a:pt x="140" y="100"/>
                  <a:pt x="141" y="101"/>
                  <a:pt x="140" y="102"/>
                </a:cubicBezTo>
                <a:cubicBezTo>
                  <a:pt x="139" y="103"/>
                  <a:pt x="139" y="103"/>
                  <a:pt x="139" y="104"/>
                </a:cubicBezTo>
                <a:cubicBezTo>
                  <a:pt x="140" y="104"/>
                  <a:pt x="142" y="105"/>
                  <a:pt x="142" y="107"/>
                </a:cubicBezTo>
                <a:cubicBezTo>
                  <a:pt x="143" y="108"/>
                  <a:pt x="143" y="110"/>
                  <a:pt x="143" y="111"/>
                </a:cubicBezTo>
                <a:cubicBezTo>
                  <a:pt x="143" y="113"/>
                  <a:pt x="141" y="113"/>
                  <a:pt x="140" y="114"/>
                </a:cubicBezTo>
                <a:cubicBezTo>
                  <a:pt x="139" y="116"/>
                  <a:pt x="137" y="116"/>
                  <a:pt x="137" y="116"/>
                </a:cubicBezTo>
                <a:cubicBezTo>
                  <a:pt x="136" y="116"/>
                  <a:pt x="136" y="117"/>
                  <a:pt x="137" y="118"/>
                </a:cubicBezTo>
                <a:cubicBezTo>
                  <a:pt x="138" y="119"/>
                  <a:pt x="137" y="119"/>
                  <a:pt x="138" y="120"/>
                </a:cubicBezTo>
                <a:cubicBezTo>
                  <a:pt x="138" y="121"/>
                  <a:pt x="138" y="122"/>
                  <a:pt x="139" y="123"/>
                </a:cubicBezTo>
                <a:cubicBezTo>
                  <a:pt x="139" y="123"/>
                  <a:pt x="139" y="124"/>
                  <a:pt x="138" y="124"/>
                </a:cubicBezTo>
                <a:cubicBezTo>
                  <a:pt x="137" y="125"/>
                  <a:pt x="138" y="125"/>
                  <a:pt x="138" y="126"/>
                </a:cubicBezTo>
                <a:cubicBezTo>
                  <a:pt x="138" y="126"/>
                  <a:pt x="138" y="126"/>
                  <a:pt x="137" y="126"/>
                </a:cubicBezTo>
                <a:cubicBezTo>
                  <a:pt x="137" y="125"/>
                  <a:pt x="136" y="126"/>
                  <a:pt x="136" y="127"/>
                </a:cubicBezTo>
                <a:cubicBezTo>
                  <a:pt x="136" y="127"/>
                  <a:pt x="135" y="126"/>
                  <a:pt x="134" y="126"/>
                </a:cubicBezTo>
                <a:cubicBezTo>
                  <a:pt x="134" y="126"/>
                  <a:pt x="134" y="125"/>
                  <a:pt x="134" y="125"/>
                </a:cubicBezTo>
                <a:cubicBezTo>
                  <a:pt x="133" y="124"/>
                  <a:pt x="132" y="124"/>
                  <a:pt x="132" y="123"/>
                </a:cubicBezTo>
                <a:cubicBezTo>
                  <a:pt x="132" y="122"/>
                  <a:pt x="130" y="122"/>
                  <a:pt x="130" y="121"/>
                </a:cubicBezTo>
                <a:cubicBezTo>
                  <a:pt x="130" y="120"/>
                  <a:pt x="131" y="118"/>
                  <a:pt x="130" y="118"/>
                </a:cubicBezTo>
                <a:cubicBezTo>
                  <a:pt x="130" y="117"/>
                  <a:pt x="130" y="117"/>
                  <a:pt x="131" y="116"/>
                </a:cubicBezTo>
                <a:cubicBezTo>
                  <a:pt x="131" y="116"/>
                  <a:pt x="130" y="115"/>
                  <a:pt x="129" y="115"/>
                </a:cubicBezTo>
                <a:cubicBezTo>
                  <a:pt x="128" y="115"/>
                  <a:pt x="127" y="114"/>
                  <a:pt x="126" y="114"/>
                </a:cubicBezTo>
                <a:cubicBezTo>
                  <a:pt x="125" y="115"/>
                  <a:pt x="124" y="114"/>
                  <a:pt x="124" y="114"/>
                </a:cubicBezTo>
                <a:cubicBezTo>
                  <a:pt x="123" y="114"/>
                  <a:pt x="122" y="113"/>
                  <a:pt x="121" y="113"/>
                </a:cubicBezTo>
                <a:cubicBezTo>
                  <a:pt x="119" y="112"/>
                  <a:pt x="118" y="111"/>
                  <a:pt x="118" y="111"/>
                </a:cubicBezTo>
                <a:cubicBezTo>
                  <a:pt x="118" y="111"/>
                  <a:pt x="117" y="110"/>
                  <a:pt x="116" y="110"/>
                </a:cubicBezTo>
                <a:cubicBezTo>
                  <a:pt x="116" y="109"/>
                  <a:pt x="114" y="109"/>
                  <a:pt x="114" y="109"/>
                </a:cubicBezTo>
                <a:cubicBezTo>
                  <a:pt x="113" y="109"/>
                  <a:pt x="112" y="108"/>
                  <a:pt x="111" y="108"/>
                </a:cubicBezTo>
                <a:cubicBezTo>
                  <a:pt x="110" y="108"/>
                  <a:pt x="108" y="109"/>
                  <a:pt x="108" y="109"/>
                </a:cubicBezTo>
                <a:cubicBezTo>
                  <a:pt x="107" y="109"/>
                  <a:pt x="108" y="108"/>
                  <a:pt x="108" y="108"/>
                </a:cubicBezTo>
                <a:cubicBezTo>
                  <a:pt x="108" y="108"/>
                  <a:pt x="107" y="106"/>
                  <a:pt x="107" y="105"/>
                </a:cubicBezTo>
                <a:cubicBezTo>
                  <a:pt x="107" y="104"/>
                  <a:pt x="106" y="103"/>
                  <a:pt x="105" y="103"/>
                </a:cubicBezTo>
                <a:cubicBezTo>
                  <a:pt x="104" y="103"/>
                  <a:pt x="103" y="103"/>
                  <a:pt x="103" y="103"/>
                </a:cubicBezTo>
                <a:cubicBezTo>
                  <a:pt x="103" y="102"/>
                  <a:pt x="103" y="100"/>
                  <a:pt x="103" y="98"/>
                </a:cubicBezTo>
                <a:cubicBezTo>
                  <a:pt x="103" y="97"/>
                  <a:pt x="104" y="95"/>
                  <a:pt x="104" y="95"/>
                </a:cubicBezTo>
                <a:cubicBezTo>
                  <a:pt x="104" y="94"/>
                  <a:pt x="105" y="94"/>
                  <a:pt x="106" y="93"/>
                </a:cubicBezTo>
                <a:cubicBezTo>
                  <a:pt x="107" y="93"/>
                  <a:pt x="106" y="92"/>
                  <a:pt x="107" y="92"/>
                </a:cubicBezTo>
                <a:cubicBezTo>
                  <a:pt x="107" y="92"/>
                  <a:pt x="108" y="91"/>
                  <a:pt x="108" y="91"/>
                </a:cubicBezTo>
                <a:cubicBezTo>
                  <a:pt x="108" y="90"/>
                  <a:pt x="109" y="91"/>
                  <a:pt x="108" y="90"/>
                </a:cubicBezTo>
                <a:cubicBezTo>
                  <a:pt x="108" y="90"/>
                  <a:pt x="108" y="89"/>
                  <a:pt x="109" y="89"/>
                </a:cubicBezTo>
                <a:cubicBezTo>
                  <a:pt x="110" y="89"/>
                  <a:pt x="112" y="89"/>
                  <a:pt x="112" y="88"/>
                </a:cubicBezTo>
                <a:cubicBezTo>
                  <a:pt x="112" y="87"/>
                  <a:pt x="109" y="88"/>
                  <a:pt x="109" y="87"/>
                </a:cubicBezTo>
                <a:cubicBezTo>
                  <a:pt x="109" y="86"/>
                  <a:pt x="105" y="86"/>
                  <a:pt x="105" y="85"/>
                </a:cubicBezTo>
                <a:cubicBezTo>
                  <a:pt x="105" y="85"/>
                  <a:pt x="109" y="86"/>
                  <a:pt x="110" y="86"/>
                </a:cubicBezTo>
                <a:cubicBezTo>
                  <a:pt x="111" y="87"/>
                  <a:pt x="112" y="86"/>
                  <a:pt x="113" y="86"/>
                </a:cubicBezTo>
                <a:cubicBezTo>
                  <a:pt x="114" y="86"/>
                  <a:pt x="113" y="85"/>
                  <a:pt x="113" y="85"/>
                </a:cubicBezTo>
                <a:cubicBezTo>
                  <a:pt x="114" y="84"/>
                  <a:pt x="115" y="85"/>
                  <a:pt x="117" y="85"/>
                </a:cubicBezTo>
                <a:cubicBezTo>
                  <a:pt x="118" y="85"/>
                  <a:pt x="119" y="82"/>
                  <a:pt x="120" y="82"/>
                </a:cubicBezTo>
                <a:cubicBezTo>
                  <a:pt x="121" y="81"/>
                  <a:pt x="120" y="81"/>
                  <a:pt x="118" y="81"/>
                </a:cubicBezTo>
                <a:cubicBezTo>
                  <a:pt x="116" y="81"/>
                  <a:pt x="115" y="80"/>
                  <a:pt x="114" y="79"/>
                </a:cubicBezTo>
                <a:cubicBezTo>
                  <a:pt x="113" y="79"/>
                  <a:pt x="113" y="78"/>
                  <a:pt x="114" y="78"/>
                </a:cubicBezTo>
                <a:cubicBezTo>
                  <a:pt x="115" y="78"/>
                  <a:pt x="118" y="80"/>
                  <a:pt x="119" y="80"/>
                </a:cubicBezTo>
                <a:cubicBezTo>
                  <a:pt x="120" y="80"/>
                  <a:pt x="121" y="79"/>
                  <a:pt x="122" y="78"/>
                </a:cubicBezTo>
                <a:cubicBezTo>
                  <a:pt x="123" y="77"/>
                  <a:pt x="121" y="77"/>
                  <a:pt x="121" y="77"/>
                </a:cubicBezTo>
                <a:cubicBezTo>
                  <a:pt x="120" y="76"/>
                  <a:pt x="122" y="76"/>
                  <a:pt x="123" y="76"/>
                </a:cubicBezTo>
                <a:cubicBezTo>
                  <a:pt x="123" y="76"/>
                  <a:pt x="124" y="77"/>
                  <a:pt x="124" y="77"/>
                </a:cubicBezTo>
                <a:cubicBezTo>
                  <a:pt x="124" y="77"/>
                  <a:pt x="126" y="77"/>
                  <a:pt x="126" y="77"/>
                </a:cubicBezTo>
                <a:cubicBezTo>
                  <a:pt x="127" y="77"/>
                  <a:pt x="126" y="76"/>
                  <a:pt x="125" y="75"/>
                </a:cubicBezTo>
                <a:cubicBezTo>
                  <a:pt x="124" y="75"/>
                  <a:pt x="125" y="74"/>
                  <a:pt x="125" y="75"/>
                </a:cubicBezTo>
                <a:cubicBezTo>
                  <a:pt x="126" y="75"/>
                  <a:pt x="127" y="75"/>
                  <a:pt x="127" y="76"/>
                </a:cubicBezTo>
                <a:cubicBezTo>
                  <a:pt x="128" y="77"/>
                  <a:pt x="128" y="76"/>
                  <a:pt x="129" y="76"/>
                </a:cubicBezTo>
                <a:cubicBezTo>
                  <a:pt x="130" y="76"/>
                  <a:pt x="130" y="75"/>
                  <a:pt x="131" y="74"/>
                </a:cubicBezTo>
                <a:cubicBezTo>
                  <a:pt x="131" y="74"/>
                  <a:pt x="132" y="75"/>
                  <a:pt x="132" y="74"/>
                </a:cubicBezTo>
                <a:cubicBezTo>
                  <a:pt x="133" y="73"/>
                  <a:pt x="132" y="72"/>
                  <a:pt x="131" y="71"/>
                </a:cubicBezTo>
                <a:cubicBezTo>
                  <a:pt x="130" y="71"/>
                  <a:pt x="131" y="70"/>
                  <a:pt x="130" y="70"/>
                </a:cubicBezTo>
                <a:cubicBezTo>
                  <a:pt x="130" y="69"/>
                  <a:pt x="129" y="69"/>
                  <a:pt x="130" y="69"/>
                </a:cubicBezTo>
                <a:cubicBezTo>
                  <a:pt x="131" y="69"/>
                  <a:pt x="132" y="69"/>
                  <a:pt x="133" y="68"/>
                </a:cubicBezTo>
                <a:cubicBezTo>
                  <a:pt x="133" y="67"/>
                  <a:pt x="131" y="67"/>
                  <a:pt x="132" y="67"/>
                </a:cubicBezTo>
                <a:cubicBezTo>
                  <a:pt x="133" y="66"/>
                  <a:pt x="132" y="66"/>
                  <a:pt x="131" y="66"/>
                </a:cubicBezTo>
                <a:cubicBezTo>
                  <a:pt x="130" y="66"/>
                  <a:pt x="130" y="65"/>
                  <a:pt x="130" y="64"/>
                </a:cubicBezTo>
                <a:cubicBezTo>
                  <a:pt x="130" y="64"/>
                  <a:pt x="128" y="64"/>
                  <a:pt x="127" y="64"/>
                </a:cubicBezTo>
                <a:cubicBezTo>
                  <a:pt x="126" y="63"/>
                  <a:pt x="124" y="63"/>
                  <a:pt x="124" y="63"/>
                </a:cubicBezTo>
                <a:cubicBezTo>
                  <a:pt x="123" y="64"/>
                  <a:pt x="123" y="66"/>
                  <a:pt x="124" y="66"/>
                </a:cubicBezTo>
                <a:cubicBezTo>
                  <a:pt x="125" y="66"/>
                  <a:pt x="125" y="66"/>
                  <a:pt x="125" y="67"/>
                </a:cubicBezTo>
                <a:cubicBezTo>
                  <a:pt x="124" y="67"/>
                  <a:pt x="125" y="68"/>
                  <a:pt x="124" y="68"/>
                </a:cubicBezTo>
                <a:cubicBezTo>
                  <a:pt x="124" y="68"/>
                  <a:pt x="123" y="67"/>
                  <a:pt x="123" y="69"/>
                </a:cubicBezTo>
                <a:cubicBezTo>
                  <a:pt x="123" y="70"/>
                  <a:pt x="122" y="70"/>
                  <a:pt x="122" y="71"/>
                </a:cubicBezTo>
                <a:cubicBezTo>
                  <a:pt x="121" y="71"/>
                  <a:pt x="121" y="69"/>
                  <a:pt x="121" y="69"/>
                </a:cubicBezTo>
                <a:cubicBezTo>
                  <a:pt x="120" y="70"/>
                  <a:pt x="120" y="71"/>
                  <a:pt x="120" y="71"/>
                </a:cubicBezTo>
                <a:cubicBezTo>
                  <a:pt x="121" y="71"/>
                  <a:pt x="121" y="72"/>
                  <a:pt x="121" y="73"/>
                </a:cubicBezTo>
                <a:cubicBezTo>
                  <a:pt x="121" y="73"/>
                  <a:pt x="120" y="73"/>
                  <a:pt x="120" y="74"/>
                </a:cubicBezTo>
                <a:cubicBezTo>
                  <a:pt x="119" y="75"/>
                  <a:pt x="119" y="73"/>
                  <a:pt x="118" y="73"/>
                </a:cubicBezTo>
                <a:cubicBezTo>
                  <a:pt x="118" y="72"/>
                  <a:pt x="117" y="71"/>
                  <a:pt x="117" y="70"/>
                </a:cubicBezTo>
                <a:cubicBezTo>
                  <a:pt x="117" y="70"/>
                  <a:pt x="117" y="69"/>
                  <a:pt x="118" y="69"/>
                </a:cubicBezTo>
                <a:cubicBezTo>
                  <a:pt x="118" y="69"/>
                  <a:pt x="118" y="69"/>
                  <a:pt x="118" y="68"/>
                </a:cubicBezTo>
                <a:cubicBezTo>
                  <a:pt x="118" y="67"/>
                  <a:pt x="117" y="67"/>
                  <a:pt x="116" y="66"/>
                </a:cubicBezTo>
                <a:cubicBezTo>
                  <a:pt x="116" y="65"/>
                  <a:pt x="115" y="65"/>
                  <a:pt x="114" y="66"/>
                </a:cubicBezTo>
                <a:cubicBezTo>
                  <a:pt x="114" y="66"/>
                  <a:pt x="114" y="67"/>
                  <a:pt x="113" y="67"/>
                </a:cubicBezTo>
                <a:cubicBezTo>
                  <a:pt x="113" y="68"/>
                  <a:pt x="113" y="69"/>
                  <a:pt x="112" y="69"/>
                </a:cubicBezTo>
                <a:cubicBezTo>
                  <a:pt x="112" y="69"/>
                  <a:pt x="112" y="67"/>
                  <a:pt x="112" y="67"/>
                </a:cubicBezTo>
                <a:cubicBezTo>
                  <a:pt x="111" y="66"/>
                  <a:pt x="111" y="66"/>
                  <a:pt x="112" y="66"/>
                </a:cubicBezTo>
                <a:cubicBezTo>
                  <a:pt x="113" y="66"/>
                  <a:pt x="113" y="65"/>
                  <a:pt x="113" y="65"/>
                </a:cubicBezTo>
                <a:cubicBezTo>
                  <a:pt x="112" y="65"/>
                  <a:pt x="111" y="64"/>
                  <a:pt x="110" y="64"/>
                </a:cubicBezTo>
                <a:cubicBezTo>
                  <a:pt x="110" y="64"/>
                  <a:pt x="109" y="65"/>
                  <a:pt x="109" y="64"/>
                </a:cubicBezTo>
                <a:cubicBezTo>
                  <a:pt x="108" y="64"/>
                  <a:pt x="109" y="63"/>
                  <a:pt x="109" y="62"/>
                </a:cubicBezTo>
                <a:cubicBezTo>
                  <a:pt x="109" y="62"/>
                  <a:pt x="110" y="63"/>
                  <a:pt x="110" y="62"/>
                </a:cubicBezTo>
                <a:cubicBezTo>
                  <a:pt x="111" y="61"/>
                  <a:pt x="109" y="61"/>
                  <a:pt x="109" y="61"/>
                </a:cubicBezTo>
                <a:cubicBezTo>
                  <a:pt x="109" y="60"/>
                  <a:pt x="107" y="60"/>
                  <a:pt x="107" y="59"/>
                </a:cubicBezTo>
                <a:cubicBezTo>
                  <a:pt x="106" y="59"/>
                  <a:pt x="107" y="58"/>
                  <a:pt x="107" y="57"/>
                </a:cubicBezTo>
                <a:cubicBezTo>
                  <a:pt x="107" y="57"/>
                  <a:pt x="105" y="55"/>
                  <a:pt x="104" y="55"/>
                </a:cubicBezTo>
                <a:cubicBezTo>
                  <a:pt x="103" y="56"/>
                  <a:pt x="103" y="54"/>
                  <a:pt x="103" y="54"/>
                </a:cubicBezTo>
                <a:cubicBezTo>
                  <a:pt x="104" y="55"/>
                  <a:pt x="104" y="54"/>
                  <a:pt x="105" y="53"/>
                </a:cubicBezTo>
                <a:cubicBezTo>
                  <a:pt x="106" y="52"/>
                  <a:pt x="106" y="52"/>
                  <a:pt x="105" y="52"/>
                </a:cubicBezTo>
                <a:cubicBezTo>
                  <a:pt x="105" y="52"/>
                  <a:pt x="105" y="51"/>
                  <a:pt x="106" y="51"/>
                </a:cubicBezTo>
                <a:cubicBezTo>
                  <a:pt x="107" y="51"/>
                  <a:pt x="108" y="52"/>
                  <a:pt x="109" y="51"/>
                </a:cubicBezTo>
                <a:cubicBezTo>
                  <a:pt x="110" y="51"/>
                  <a:pt x="111" y="48"/>
                  <a:pt x="112" y="47"/>
                </a:cubicBezTo>
                <a:cubicBezTo>
                  <a:pt x="113" y="46"/>
                  <a:pt x="112" y="46"/>
                  <a:pt x="110" y="46"/>
                </a:cubicBezTo>
                <a:cubicBezTo>
                  <a:pt x="108" y="46"/>
                  <a:pt x="108" y="45"/>
                  <a:pt x="106" y="45"/>
                </a:cubicBezTo>
                <a:cubicBezTo>
                  <a:pt x="105" y="45"/>
                  <a:pt x="102" y="46"/>
                  <a:pt x="102" y="46"/>
                </a:cubicBezTo>
                <a:cubicBezTo>
                  <a:pt x="101" y="46"/>
                  <a:pt x="102" y="47"/>
                  <a:pt x="102" y="47"/>
                </a:cubicBezTo>
                <a:cubicBezTo>
                  <a:pt x="102" y="48"/>
                  <a:pt x="101" y="47"/>
                  <a:pt x="101" y="47"/>
                </a:cubicBezTo>
                <a:cubicBezTo>
                  <a:pt x="100" y="47"/>
                  <a:pt x="101" y="48"/>
                  <a:pt x="101" y="50"/>
                </a:cubicBezTo>
                <a:cubicBezTo>
                  <a:pt x="101" y="51"/>
                  <a:pt x="101" y="52"/>
                  <a:pt x="102" y="52"/>
                </a:cubicBezTo>
                <a:cubicBezTo>
                  <a:pt x="102" y="53"/>
                  <a:pt x="102" y="54"/>
                  <a:pt x="102" y="55"/>
                </a:cubicBezTo>
                <a:cubicBezTo>
                  <a:pt x="102" y="56"/>
                  <a:pt x="101" y="56"/>
                  <a:pt x="101" y="56"/>
                </a:cubicBezTo>
                <a:cubicBezTo>
                  <a:pt x="100" y="56"/>
                  <a:pt x="102" y="57"/>
                  <a:pt x="101" y="57"/>
                </a:cubicBezTo>
                <a:cubicBezTo>
                  <a:pt x="101" y="58"/>
                  <a:pt x="100" y="57"/>
                  <a:pt x="100" y="57"/>
                </a:cubicBezTo>
                <a:cubicBezTo>
                  <a:pt x="99" y="57"/>
                  <a:pt x="98" y="59"/>
                  <a:pt x="99" y="60"/>
                </a:cubicBezTo>
                <a:cubicBezTo>
                  <a:pt x="100" y="60"/>
                  <a:pt x="100" y="60"/>
                  <a:pt x="99" y="61"/>
                </a:cubicBezTo>
                <a:cubicBezTo>
                  <a:pt x="99" y="61"/>
                  <a:pt x="98" y="62"/>
                  <a:pt x="100" y="63"/>
                </a:cubicBezTo>
                <a:cubicBezTo>
                  <a:pt x="101" y="64"/>
                  <a:pt x="103" y="64"/>
                  <a:pt x="104" y="65"/>
                </a:cubicBezTo>
                <a:cubicBezTo>
                  <a:pt x="105" y="65"/>
                  <a:pt x="104" y="65"/>
                  <a:pt x="104" y="66"/>
                </a:cubicBezTo>
                <a:cubicBezTo>
                  <a:pt x="104" y="67"/>
                  <a:pt x="103" y="67"/>
                  <a:pt x="103" y="68"/>
                </a:cubicBezTo>
                <a:cubicBezTo>
                  <a:pt x="103" y="68"/>
                  <a:pt x="104" y="68"/>
                  <a:pt x="104" y="67"/>
                </a:cubicBezTo>
                <a:cubicBezTo>
                  <a:pt x="105" y="66"/>
                  <a:pt x="105" y="67"/>
                  <a:pt x="105" y="68"/>
                </a:cubicBezTo>
                <a:cubicBezTo>
                  <a:pt x="105" y="69"/>
                  <a:pt x="105" y="68"/>
                  <a:pt x="104" y="69"/>
                </a:cubicBezTo>
                <a:cubicBezTo>
                  <a:pt x="103" y="70"/>
                  <a:pt x="103" y="70"/>
                  <a:pt x="102" y="70"/>
                </a:cubicBezTo>
                <a:cubicBezTo>
                  <a:pt x="101" y="70"/>
                  <a:pt x="101" y="72"/>
                  <a:pt x="102" y="72"/>
                </a:cubicBezTo>
                <a:cubicBezTo>
                  <a:pt x="102" y="73"/>
                  <a:pt x="102" y="74"/>
                  <a:pt x="101" y="73"/>
                </a:cubicBezTo>
                <a:cubicBezTo>
                  <a:pt x="99" y="73"/>
                  <a:pt x="99" y="72"/>
                  <a:pt x="99" y="71"/>
                </a:cubicBezTo>
                <a:cubicBezTo>
                  <a:pt x="100" y="71"/>
                  <a:pt x="100" y="70"/>
                  <a:pt x="100" y="70"/>
                </a:cubicBezTo>
                <a:cubicBezTo>
                  <a:pt x="99" y="70"/>
                  <a:pt x="98" y="70"/>
                  <a:pt x="97" y="69"/>
                </a:cubicBezTo>
                <a:cubicBezTo>
                  <a:pt x="97" y="68"/>
                  <a:pt x="97" y="69"/>
                  <a:pt x="99" y="69"/>
                </a:cubicBezTo>
                <a:cubicBezTo>
                  <a:pt x="100" y="69"/>
                  <a:pt x="99" y="68"/>
                  <a:pt x="100" y="68"/>
                </a:cubicBezTo>
                <a:cubicBezTo>
                  <a:pt x="101" y="68"/>
                  <a:pt x="102" y="68"/>
                  <a:pt x="102" y="68"/>
                </a:cubicBezTo>
                <a:cubicBezTo>
                  <a:pt x="103" y="67"/>
                  <a:pt x="102" y="65"/>
                  <a:pt x="101" y="66"/>
                </a:cubicBezTo>
                <a:cubicBezTo>
                  <a:pt x="101" y="66"/>
                  <a:pt x="99" y="66"/>
                  <a:pt x="99" y="66"/>
                </a:cubicBezTo>
                <a:cubicBezTo>
                  <a:pt x="99" y="65"/>
                  <a:pt x="101" y="65"/>
                  <a:pt x="101" y="65"/>
                </a:cubicBezTo>
                <a:cubicBezTo>
                  <a:pt x="102" y="65"/>
                  <a:pt x="101" y="64"/>
                  <a:pt x="100" y="64"/>
                </a:cubicBezTo>
                <a:cubicBezTo>
                  <a:pt x="99" y="65"/>
                  <a:pt x="98" y="65"/>
                  <a:pt x="98" y="64"/>
                </a:cubicBezTo>
                <a:cubicBezTo>
                  <a:pt x="97" y="63"/>
                  <a:pt x="95" y="63"/>
                  <a:pt x="95" y="65"/>
                </a:cubicBezTo>
                <a:cubicBezTo>
                  <a:pt x="95" y="66"/>
                  <a:pt x="93" y="65"/>
                  <a:pt x="93" y="66"/>
                </a:cubicBezTo>
                <a:cubicBezTo>
                  <a:pt x="92" y="67"/>
                  <a:pt x="93" y="67"/>
                  <a:pt x="95" y="67"/>
                </a:cubicBezTo>
                <a:cubicBezTo>
                  <a:pt x="96" y="67"/>
                  <a:pt x="97" y="68"/>
                  <a:pt x="96" y="68"/>
                </a:cubicBezTo>
                <a:cubicBezTo>
                  <a:pt x="96" y="68"/>
                  <a:pt x="96" y="69"/>
                  <a:pt x="95" y="69"/>
                </a:cubicBezTo>
                <a:cubicBezTo>
                  <a:pt x="95" y="69"/>
                  <a:pt x="94" y="69"/>
                  <a:pt x="94" y="70"/>
                </a:cubicBezTo>
                <a:cubicBezTo>
                  <a:pt x="95" y="70"/>
                  <a:pt x="94" y="70"/>
                  <a:pt x="94" y="71"/>
                </a:cubicBezTo>
                <a:cubicBezTo>
                  <a:pt x="94" y="72"/>
                  <a:pt x="93" y="71"/>
                  <a:pt x="92" y="71"/>
                </a:cubicBezTo>
                <a:cubicBezTo>
                  <a:pt x="91" y="71"/>
                  <a:pt x="89" y="71"/>
                  <a:pt x="88" y="72"/>
                </a:cubicBezTo>
                <a:cubicBezTo>
                  <a:pt x="87" y="72"/>
                  <a:pt x="85" y="71"/>
                  <a:pt x="84" y="71"/>
                </a:cubicBezTo>
                <a:cubicBezTo>
                  <a:pt x="84" y="70"/>
                  <a:pt x="83" y="70"/>
                  <a:pt x="82" y="70"/>
                </a:cubicBezTo>
                <a:cubicBezTo>
                  <a:pt x="81" y="70"/>
                  <a:pt x="81" y="69"/>
                  <a:pt x="80" y="69"/>
                </a:cubicBezTo>
                <a:cubicBezTo>
                  <a:pt x="79" y="69"/>
                  <a:pt x="79" y="68"/>
                  <a:pt x="79" y="67"/>
                </a:cubicBezTo>
                <a:cubicBezTo>
                  <a:pt x="79" y="67"/>
                  <a:pt x="76" y="67"/>
                  <a:pt x="75" y="68"/>
                </a:cubicBezTo>
                <a:cubicBezTo>
                  <a:pt x="74" y="68"/>
                  <a:pt x="73" y="68"/>
                  <a:pt x="72" y="69"/>
                </a:cubicBezTo>
                <a:cubicBezTo>
                  <a:pt x="72" y="70"/>
                  <a:pt x="73" y="70"/>
                  <a:pt x="73" y="70"/>
                </a:cubicBezTo>
                <a:cubicBezTo>
                  <a:pt x="74" y="70"/>
                  <a:pt x="74" y="69"/>
                  <a:pt x="75" y="69"/>
                </a:cubicBezTo>
                <a:cubicBezTo>
                  <a:pt x="77" y="69"/>
                  <a:pt x="78" y="68"/>
                  <a:pt x="78" y="68"/>
                </a:cubicBezTo>
                <a:cubicBezTo>
                  <a:pt x="79" y="69"/>
                  <a:pt x="76" y="70"/>
                  <a:pt x="74" y="70"/>
                </a:cubicBezTo>
                <a:cubicBezTo>
                  <a:pt x="73" y="70"/>
                  <a:pt x="74" y="72"/>
                  <a:pt x="75" y="73"/>
                </a:cubicBezTo>
                <a:cubicBezTo>
                  <a:pt x="76" y="75"/>
                  <a:pt x="74" y="74"/>
                  <a:pt x="74" y="75"/>
                </a:cubicBezTo>
                <a:cubicBezTo>
                  <a:pt x="74" y="76"/>
                  <a:pt x="72" y="75"/>
                  <a:pt x="73" y="74"/>
                </a:cubicBezTo>
                <a:cubicBezTo>
                  <a:pt x="74" y="74"/>
                  <a:pt x="73" y="73"/>
                  <a:pt x="73" y="73"/>
                </a:cubicBezTo>
                <a:cubicBezTo>
                  <a:pt x="72" y="72"/>
                  <a:pt x="71" y="73"/>
                  <a:pt x="71" y="72"/>
                </a:cubicBezTo>
                <a:cubicBezTo>
                  <a:pt x="72" y="71"/>
                  <a:pt x="71" y="72"/>
                  <a:pt x="70" y="71"/>
                </a:cubicBezTo>
                <a:cubicBezTo>
                  <a:pt x="69" y="71"/>
                  <a:pt x="69" y="70"/>
                  <a:pt x="68" y="71"/>
                </a:cubicBezTo>
                <a:cubicBezTo>
                  <a:pt x="67" y="71"/>
                  <a:pt x="66" y="71"/>
                  <a:pt x="64" y="72"/>
                </a:cubicBezTo>
                <a:cubicBezTo>
                  <a:pt x="62" y="72"/>
                  <a:pt x="58" y="72"/>
                  <a:pt x="57" y="71"/>
                </a:cubicBezTo>
                <a:cubicBezTo>
                  <a:pt x="57" y="71"/>
                  <a:pt x="59" y="69"/>
                  <a:pt x="60" y="70"/>
                </a:cubicBezTo>
                <a:cubicBezTo>
                  <a:pt x="61" y="70"/>
                  <a:pt x="60" y="69"/>
                  <a:pt x="59" y="68"/>
                </a:cubicBezTo>
                <a:cubicBezTo>
                  <a:pt x="58" y="67"/>
                  <a:pt x="55" y="66"/>
                  <a:pt x="56" y="67"/>
                </a:cubicBezTo>
                <a:cubicBezTo>
                  <a:pt x="56" y="68"/>
                  <a:pt x="54" y="67"/>
                  <a:pt x="52" y="67"/>
                </a:cubicBezTo>
                <a:cubicBezTo>
                  <a:pt x="50" y="66"/>
                  <a:pt x="50" y="66"/>
                  <a:pt x="49" y="66"/>
                </a:cubicBezTo>
                <a:cubicBezTo>
                  <a:pt x="48" y="66"/>
                  <a:pt x="46" y="65"/>
                  <a:pt x="45" y="64"/>
                </a:cubicBezTo>
                <a:cubicBezTo>
                  <a:pt x="43" y="63"/>
                  <a:pt x="40" y="63"/>
                  <a:pt x="40" y="64"/>
                </a:cubicBezTo>
                <a:cubicBezTo>
                  <a:pt x="39" y="65"/>
                  <a:pt x="38" y="65"/>
                  <a:pt x="37" y="65"/>
                </a:cubicBezTo>
                <a:cubicBezTo>
                  <a:pt x="36" y="65"/>
                  <a:pt x="38" y="64"/>
                  <a:pt x="37" y="64"/>
                </a:cubicBezTo>
                <a:cubicBezTo>
                  <a:pt x="37" y="64"/>
                  <a:pt x="37" y="62"/>
                  <a:pt x="37" y="62"/>
                </a:cubicBezTo>
                <a:cubicBezTo>
                  <a:pt x="36" y="62"/>
                  <a:pt x="35" y="65"/>
                  <a:pt x="34" y="65"/>
                </a:cubicBezTo>
                <a:cubicBezTo>
                  <a:pt x="32" y="65"/>
                  <a:pt x="31" y="62"/>
                  <a:pt x="30" y="61"/>
                </a:cubicBezTo>
                <a:cubicBezTo>
                  <a:pt x="29" y="60"/>
                  <a:pt x="28" y="60"/>
                  <a:pt x="29" y="61"/>
                </a:cubicBezTo>
                <a:cubicBezTo>
                  <a:pt x="30" y="63"/>
                  <a:pt x="28" y="62"/>
                  <a:pt x="28" y="63"/>
                </a:cubicBezTo>
                <a:cubicBezTo>
                  <a:pt x="28" y="63"/>
                  <a:pt x="26" y="64"/>
                  <a:pt x="26" y="64"/>
                </a:cubicBezTo>
                <a:cubicBezTo>
                  <a:pt x="27" y="63"/>
                  <a:pt x="26" y="63"/>
                  <a:pt x="24" y="64"/>
                </a:cubicBezTo>
                <a:cubicBezTo>
                  <a:pt x="23" y="66"/>
                  <a:pt x="22" y="65"/>
                  <a:pt x="22" y="65"/>
                </a:cubicBezTo>
                <a:cubicBezTo>
                  <a:pt x="22" y="65"/>
                  <a:pt x="19" y="66"/>
                  <a:pt x="19" y="67"/>
                </a:cubicBezTo>
                <a:cubicBezTo>
                  <a:pt x="19" y="67"/>
                  <a:pt x="18" y="68"/>
                  <a:pt x="17" y="68"/>
                </a:cubicBezTo>
                <a:cubicBezTo>
                  <a:pt x="16" y="68"/>
                  <a:pt x="17" y="67"/>
                  <a:pt x="18" y="67"/>
                </a:cubicBezTo>
                <a:cubicBezTo>
                  <a:pt x="19" y="66"/>
                  <a:pt x="21" y="64"/>
                  <a:pt x="22" y="64"/>
                </a:cubicBezTo>
                <a:cubicBezTo>
                  <a:pt x="23" y="64"/>
                  <a:pt x="26" y="63"/>
                  <a:pt x="26" y="63"/>
                </a:cubicBezTo>
                <a:cubicBezTo>
                  <a:pt x="26" y="62"/>
                  <a:pt x="24" y="62"/>
                  <a:pt x="24" y="62"/>
                </a:cubicBezTo>
                <a:cubicBezTo>
                  <a:pt x="23" y="62"/>
                  <a:pt x="22" y="63"/>
                  <a:pt x="20" y="64"/>
                </a:cubicBezTo>
                <a:cubicBezTo>
                  <a:pt x="19" y="64"/>
                  <a:pt x="17" y="64"/>
                  <a:pt x="18" y="65"/>
                </a:cubicBezTo>
                <a:cubicBezTo>
                  <a:pt x="18" y="66"/>
                  <a:pt x="17" y="65"/>
                  <a:pt x="16" y="65"/>
                </a:cubicBezTo>
                <a:cubicBezTo>
                  <a:pt x="16" y="66"/>
                  <a:pt x="15" y="65"/>
                  <a:pt x="16" y="65"/>
                </a:cubicBezTo>
                <a:cubicBezTo>
                  <a:pt x="16" y="65"/>
                  <a:pt x="15" y="64"/>
                  <a:pt x="15" y="64"/>
                </a:cubicBezTo>
                <a:cubicBezTo>
                  <a:pt x="15" y="65"/>
                  <a:pt x="14" y="65"/>
                  <a:pt x="13" y="65"/>
                </a:cubicBezTo>
                <a:cubicBezTo>
                  <a:pt x="12" y="65"/>
                  <a:pt x="11" y="66"/>
                  <a:pt x="11" y="67"/>
                </a:cubicBezTo>
                <a:cubicBezTo>
                  <a:pt x="12" y="67"/>
                  <a:pt x="13" y="67"/>
                  <a:pt x="12" y="68"/>
                </a:cubicBezTo>
                <a:cubicBezTo>
                  <a:pt x="12" y="68"/>
                  <a:pt x="11" y="67"/>
                  <a:pt x="9" y="67"/>
                </a:cubicBezTo>
                <a:cubicBezTo>
                  <a:pt x="7" y="67"/>
                  <a:pt x="4" y="65"/>
                  <a:pt x="4" y="65"/>
                </a:cubicBezTo>
                <a:cubicBezTo>
                  <a:pt x="4" y="64"/>
                  <a:pt x="1" y="64"/>
                  <a:pt x="0" y="64"/>
                </a:cubicBezTo>
                <a:cubicBezTo>
                  <a:pt x="0" y="98"/>
                  <a:pt x="0" y="98"/>
                  <a:pt x="0" y="98"/>
                </a:cubicBezTo>
                <a:cubicBezTo>
                  <a:pt x="0" y="98"/>
                  <a:pt x="1" y="99"/>
                  <a:pt x="1" y="98"/>
                </a:cubicBezTo>
                <a:cubicBezTo>
                  <a:pt x="1" y="98"/>
                  <a:pt x="2" y="98"/>
                  <a:pt x="3" y="98"/>
                </a:cubicBezTo>
                <a:cubicBezTo>
                  <a:pt x="4" y="97"/>
                  <a:pt x="5" y="99"/>
                  <a:pt x="5" y="99"/>
                </a:cubicBezTo>
                <a:cubicBezTo>
                  <a:pt x="5" y="100"/>
                  <a:pt x="6" y="100"/>
                  <a:pt x="7" y="101"/>
                </a:cubicBezTo>
                <a:cubicBezTo>
                  <a:pt x="7" y="102"/>
                  <a:pt x="8" y="103"/>
                  <a:pt x="8" y="102"/>
                </a:cubicBezTo>
                <a:cubicBezTo>
                  <a:pt x="9" y="102"/>
                  <a:pt x="10" y="102"/>
                  <a:pt x="10" y="101"/>
                </a:cubicBezTo>
                <a:cubicBezTo>
                  <a:pt x="10" y="100"/>
                  <a:pt x="13" y="100"/>
                  <a:pt x="13" y="101"/>
                </a:cubicBezTo>
                <a:cubicBezTo>
                  <a:pt x="13" y="102"/>
                  <a:pt x="17" y="103"/>
                  <a:pt x="18" y="106"/>
                </a:cubicBezTo>
                <a:cubicBezTo>
                  <a:pt x="20" y="109"/>
                  <a:pt x="20" y="110"/>
                  <a:pt x="22" y="111"/>
                </a:cubicBezTo>
                <a:cubicBezTo>
                  <a:pt x="25" y="112"/>
                  <a:pt x="25" y="113"/>
                  <a:pt x="24" y="113"/>
                </a:cubicBezTo>
                <a:cubicBezTo>
                  <a:pt x="24" y="114"/>
                  <a:pt x="26" y="115"/>
                  <a:pt x="25" y="115"/>
                </a:cubicBezTo>
                <a:cubicBezTo>
                  <a:pt x="24" y="116"/>
                  <a:pt x="24" y="116"/>
                  <a:pt x="23" y="116"/>
                </a:cubicBezTo>
                <a:cubicBezTo>
                  <a:pt x="23" y="117"/>
                  <a:pt x="24" y="117"/>
                  <a:pt x="24" y="118"/>
                </a:cubicBezTo>
                <a:cubicBezTo>
                  <a:pt x="25" y="118"/>
                  <a:pt x="23" y="118"/>
                  <a:pt x="24" y="119"/>
                </a:cubicBezTo>
                <a:cubicBezTo>
                  <a:pt x="24" y="119"/>
                  <a:pt x="23" y="120"/>
                  <a:pt x="24" y="120"/>
                </a:cubicBezTo>
                <a:cubicBezTo>
                  <a:pt x="24" y="121"/>
                  <a:pt x="25" y="121"/>
                  <a:pt x="26" y="120"/>
                </a:cubicBezTo>
                <a:cubicBezTo>
                  <a:pt x="26" y="120"/>
                  <a:pt x="27" y="121"/>
                  <a:pt x="26" y="121"/>
                </a:cubicBezTo>
                <a:cubicBezTo>
                  <a:pt x="26" y="122"/>
                  <a:pt x="27" y="123"/>
                  <a:pt x="27" y="122"/>
                </a:cubicBezTo>
                <a:cubicBezTo>
                  <a:pt x="28" y="122"/>
                  <a:pt x="29" y="123"/>
                  <a:pt x="29" y="123"/>
                </a:cubicBezTo>
                <a:cubicBezTo>
                  <a:pt x="30" y="123"/>
                  <a:pt x="30" y="124"/>
                  <a:pt x="29" y="124"/>
                </a:cubicBezTo>
                <a:cubicBezTo>
                  <a:pt x="29" y="124"/>
                  <a:pt x="29" y="126"/>
                  <a:pt x="29" y="126"/>
                </a:cubicBezTo>
                <a:cubicBezTo>
                  <a:pt x="30" y="126"/>
                  <a:pt x="30" y="126"/>
                  <a:pt x="30" y="127"/>
                </a:cubicBezTo>
                <a:cubicBezTo>
                  <a:pt x="30" y="127"/>
                  <a:pt x="31" y="128"/>
                  <a:pt x="32" y="128"/>
                </a:cubicBezTo>
                <a:cubicBezTo>
                  <a:pt x="33" y="127"/>
                  <a:pt x="33" y="128"/>
                  <a:pt x="34" y="129"/>
                </a:cubicBezTo>
                <a:cubicBezTo>
                  <a:pt x="34" y="129"/>
                  <a:pt x="35" y="129"/>
                  <a:pt x="35" y="129"/>
                </a:cubicBezTo>
                <a:cubicBezTo>
                  <a:pt x="36" y="129"/>
                  <a:pt x="36" y="130"/>
                  <a:pt x="36" y="130"/>
                </a:cubicBezTo>
                <a:cubicBezTo>
                  <a:pt x="36" y="131"/>
                  <a:pt x="37" y="131"/>
                  <a:pt x="38" y="131"/>
                </a:cubicBezTo>
                <a:cubicBezTo>
                  <a:pt x="39" y="131"/>
                  <a:pt x="39" y="131"/>
                  <a:pt x="39" y="131"/>
                </a:cubicBezTo>
                <a:cubicBezTo>
                  <a:pt x="40" y="131"/>
                  <a:pt x="40" y="133"/>
                  <a:pt x="41" y="133"/>
                </a:cubicBezTo>
                <a:cubicBezTo>
                  <a:pt x="102" y="133"/>
                  <a:pt x="102" y="133"/>
                  <a:pt x="102" y="133"/>
                </a:cubicBezTo>
                <a:cubicBezTo>
                  <a:pt x="102" y="133"/>
                  <a:pt x="102" y="132"/>
                  <a:pt x="103" y="132"/>
                </a:cubicBezTo>
                <a:cubicBezTo>
                  <a:pt x="103" y="133"/>
                  <a:pt x="103" y="133"/>
                  <a:pt x="104" y="134"/>
                </a:cubicBezTo>
                <a:cubicBezTo>
                  <a:pt x="104" y="134"/>
                  <a:pt x="105" y="135"/>
                  <a:pt x="105" y="134"/>
                </a:cubicBezTo>
                <a:cubicBezTo>
                  <a:pt x="106" y="134"/>
                  <a:pt x="107" y="134"/>
                  <a:pt x="107" y="135"/>
                </a:cubicBezTo>
                <a:cubicBezTo>
                  <a:pt x="108" y="135"/>
                  <a:pt x="109" y="135"/>
                  <a:pt x="109" y="135"/>
                </a:cubicBezTo>
                <a:cubicBezTo>
                  <a:pt x="110" y="136"/>
                  <a:pt x="111" y="136"/>
                  <a:pt x="111" y="136"/>
                </a:cubicBezTo>
                <a:cubicBezTo>
                  <a:pt x="112" y="135"/>
                  <a:pt x="113" y="136"/>
                  <a:pt x="114" y="136"/>
                </a:cubicBezTo>
                <a:cubicBezTo>
                  <a:pt x="115" y="135"/>
                  <a:pt x="116" y="133"/>
                  <a:pt x="117" y="133"/>
                </a:cubicBezTo>
                <a:cubicBezTo>
                  <a:pt x="119" y="133"/>
                  <a:pt x="122" y="134"/>
                  <a:pt x="122" y="135"/>
                </a:cubicBezTo>
                <a:cubicBezTo>
                  <a:pt x="122" y="137"/>
                  <a:pt x="124" y="135"/>
                  <a:pt x="124" y="137"/>
                </a:cubicBezTo>
                <a:cubicBezTo>
                  <a:pt x="124" y="138"/>
                  <a:pt x="126" y="139"/>
                  <a:pt x="126" y="140"/>
                </a:cubicBezTo>
                <a:cubicBezTo>
                  <a:pt x="126" y="140"/>
                  <a:pt x="126" y="141"/>
                  <a:pt x="127" y="141"/>
                </a:cubicBezTo>
                <a:cubicBezTo>
                  <a:pt x="127" y="141"/>
                  <a:pt x="129" y="141"/>
                  <a:pt x="130" y="141"/>
                </a:cubicBezTo>
                <a:cubicBezTo>
                  <a:pt x="132" y="142"/>
                  <a:pt x="134" y="141"/>
                  <a:pt x="134" y="142"/>
                </a:cubicBezTo>
                <a:cubicBezTo>
                  <a:pt x="135" y="144"/>
                  <a:pt x="137" y="145"/>
                  <a:pt x="135" y="145"/>
                </a:cubicBezTo>
                <a:cubicBezTo>
                  <a:pt x="134" y="146"/>
                  <a:pt x="132" y="144"/>
                  <a:pt x="132" y="145"/>
                </a:cubicBezTo>
                <a:cubicBezTo>
                  <a:pt x="132" y="146"/>
                  <a:pt x="132" y="145"/>
                  <a:pt x="132" y="147"/>
                </a:cubicBezTo>
                <a:cubicBezTo>
                  <a:pt x="132" y="148"/>
                  <a:pt x="131" y="150"/>
                  <a:pt x="130" y="150"/>
                </a:cubicBezTo>
                <a:cubicBezTo>
                  <a:pt x="130" y="150"/>
                  <a:pt x="130" y="150"/>
                  <a:pt x="130" y="150"/>
                </a:cubicBezTo>
                <a:cubicBezTo>
                  <a:pt x="130" y="151"/>
                  <a:pt x="130" y="151"/>
                  <a:pt x="130" y="152"/>
                </a:cubicBezTo>
                <a:cubicBezTo>
                  <a:pt x="131" y="151"/>
                  <a:pt x="132" y="150"/>
                  <a:pt x="133" y="150"/>
                </a:cubicBezTo>
                <a:cubicBezTo>
                  <a:pt x="134" y="151"/>
                  <a:pt x="135" y="151"/>
                  <a:pt x="136" y="151"/>
                </a:cubicBezTo>
                <a:cubicBezTo>
                  <a:pt x="137" y="150"/>
                  <a:pt x="137" y="150"/>
                  <a:pt x="137" y="150"/>
                </a:cubicBezTo>
                <a:cubicBezTo>
                  <a:pt x="137" y="150"/>
                  <a:pt x="137" y="150"/>
                  <a:pt x="137" y="150"/>
                </a:cubicBezTo>
                <a:cubicBezTo>
                  <a:pt x="138" y="150"/>
                  <a:pt x="138" y="150"/>
                  <a:pt x="138" y="150"/>
                </a:cubicBezTo>
                <a:cubicBezTo>
                  <a:pt x="138" y="150"/>
                  <a:pt x="138" y="149"/>
                  <a:pt x="138" y="149"/>
                </a:cubicBezTo>
                <a:cubicBezTo>
                  <a:pt x="137" y="149"/>
                  <a:pt x="136" y="149"/>
                  <a:pt x="136" y="149"/>
                </a:cubicBezTo>
                <a:cubicBezTo>
                  <a:pt x="136" y="148"/>
                  <a:pt x="139" y="147"/>
                  <a:pt x="141" y="147"/>
                </a:cubicBezTo>
                <a:cubicBezTo>
                  <a:pt x="142" y="147"/>
                  <a:pt x="143" y="146"/>
                  <a:pt x="144" y="147"/>
                </a:cubicBezTo>
                <a:cubicBezTo>
                  <a:pt x="145" y="146"/>
                  <a:pt x="146" y="144"/>
                  <a:pt x="147" y="144"/>
                </a:cubicBezTo>
                <a:cubicBezTo>
                  <a:pt x="147" y="144"/>
                  <a:pt x="154" y="144"/>
                  <a:pt x="154" y="144"/>
                </a:cubicBezTo>
                <a:cubicBezTo>
                  <a:pt x="154" y="144"/>
                  <a:pt x="157" y="143"/>
                  <a:pt x="157" y="141"/>
                </a:cubicBezTo>
                <a:cubicBezTo>
                  <a:pt x="157" y="140"/>
                  <a:pt x="159" y="137"/>
                  <a:pt x="160" y="138"/>
                </a:cubicBezTo>
                <a:cubicBezTo>
                  <a:pt x="161" y="138"/>
                  <a:pt x="163" y="138"/>
                  <a:pt x="163" y="138"/>
                </a:cubicBezTo>
                <a:cubicBezTo>
                  <a:pt x="163" y="139"/>
                  <a:pt x="162" y="141"/>
                  <a:pt x="165" y="145"/>
                </a:cubicBezTo>
                <a:cubicBezTo>
                  <a:pt x="166" y="144"/>
                  <a:pt x="166" y="144"/>
                  <a:pt x="167" y="144"/>
                </a:cubicBezTo>
                <a:cubicBezTo>
                  <a:pt x="168" y="144"/>
                  <a:pt x="169" y="142"/>
                  <a:pt x="170" y="142"/>
                </a:cubicBezTo>
                <a:cubicBezTo>
                  <a:pt x="170" y="141"/>
                  <a:pt x="170" y="142"/>
                  <a:pt x="170" y="143"/>
                </a:cubicBezTo>
                <a:cubicBezTo>
                  <a:pt x="169" y="143"/>
                  <a:pt x="170" y="143"/>
                  <a:pt x="172" y="143"/>
                </a:cubicBezTo>
                <a:cubicBezTo>
                  <a:pt x="173" y="143"/>
                  <a:pt x="171" y="144"/>
                  <a:pt x="170" y="144"/>
                </a:cubicBezTo>
                <a:cubicBezTo>
                  <a:pt x="169" y="144"/>
                  <a:pt x="169" y="144"/>
                  <a:pt x="167" y="145"/>
                </a:cubicBezTo>
                <a:cubicBezTo>
                  <a:pt x="166" y="147"/>
                  <a:pt x="166" y="147"/>
                  <a:pt x="167" y="148"/>
                </a:cubicBezTo>
                <a:cubicBezTo>
                  <a:pt x="168" y="148"/>
                  <a:pt x="169" y="148"/>
                  <a:pt x="170" y="147"/>
                </a:cubicBezTo>
                <a:cubicBezTo>
                  <a:pt x="171" y="146"/>
                  <a:pt x="171" y="145"/>
                  <a:pt x="172" y="145"/>
                </a:cubicBezTo>
                <a:cubicBezTo>
                  <a:pt x="173" y="145"/>
                  <a:pt x="176" y="144"/>
                  <a:pt x="177" y="144"/>
                </a:cubicBezTo>
                <a:cubicBezTo>
                  <a:pt x="178" y="144"/>
                  <a:pt x="177" y="143"/>
                  <a:pt x="177" y="143"/>
                </a:cubicBezTo>
                <a:cubicBezTo>
                  <a:pt x="177" y="142"/>
                  <a:pt x="180" y="142"/>
                  <a:pt x="180" y="142"/>
                </a:cubicBezTo>
                <a:cubicBezTo>
                  <a:pt x="181" y="141"/>
                  <a:pt x="180" y="141"/>
                  <a:pt x="180" y="141"/>
                </a:cubicBezTo>
                <a:moveTo>
                  <a:pt x="52" y="77"/>
                </a:moveTo>
                <a:cubicBezTo>
                  <a:pt x="51" y="79"/>
                  <a:pt x="50" y="79"/>
                  <a:pt x="49" y="79"/>
                </a:cubicBezTo>
                <a:cubicBezTo>
                  <a:pt x="48" y="79"/>
                  <a:pt x="47" y="79"/>
                  <a:pt x="47" y="80"/>
                </a:cubicBezTo>
                <a:cubicBezTo>
                  <a:pt x="48" y="80"/>
                  <a:pt x="48" y="81"/>
                  <a:pt x="47" y="81"/>
                </a:cubicBezTo>
                <a:cubicBezTo>
                  <a:pt x="45" y="81"/>
                  <a:pt x="45" y="82"/>
                  <a:pt x="44" y="82"/>
                </a:cubicBezTo>
                <a:cubicBezTo>
                  <a:pt x="43" y="82"/>
                  <a:pt x="46" y="80"/>
                  <a:pt x="46" y="80"/>
                </a:cubicBezTo>
                <a:cubicBezTo>
                  <a:pt x="45" y="79"/>
                  <a:pt x="43" y="81"/>
                  <a:pt x="43" y="81"/>
                </a:cubicBezTo>
                <a:cubicBezTo>
                  <a:pt x="43" y="82"/>
                  <a:pt x="42" y="82"/>
                  <a:pt x="41" y="82"/>
                </a:cubicBezTo>
                <a:cubicBezTo>
                  <a:pt x="40" y="82"/>
                  <a:pt x="39" y="81"/>
                  <a:pt x="40" y="81"/>
                </a:cubicBezTo>
                <a:cubicBezTo>
                  <a:pt x="41" y="81"/>
                  <a:pt x="40" y="80"/>
                  <a:pt x="41" y="80"/>
                </a:cubicBezTo>
                <a:cubicBezTo>
                  <a:pt x="42" y="79"/>
                  <a:pt x="41" y="79"/>
                  <a:pt x="41" y="78"/>
                </a:cubicBezTo>
                <a:cubicBezTo>
                  <a:pt x="42" y="78"/>
                  <a:pt x="44" y="79"/>
                  <a:pt x="44" y="78"/>
                </a:cubicBezTo>
                <a:cubicBezTo>
                  <a:pt x="44" y="77"/>
                  <a:pt x="42" y="77"/>
                  <a:pt x="41" y="77"/>
                </a:cubicBezTo>
                <a:cubicBezTo>
                  <a:pt x="40" y="77"/>
                  <a:pt x="39" y="79"/>
                  <a:pt x="37" y="78"/>
                </a:cubicBezTo>
                <a:cubicBezTo>
                  <a:pt x="36" y="77"/>
                  <a:pt x="42" y="77"/>
                  <a:pt x="43" y="76"/>
                </a:cubicBezTo>
                <a:cubicBezTo>
                  <a:pt x="44" y="75"/>
                  <a:pt x="48" y="74"/>
                  <a:pt x="48" y="75"/>
                </a:cubicBezTo>
                <a:cubicBezTo>
                  <a:pt x="48" y="76"/>
                  <a:pt x="46" y="76"/>
                  <a:pt x="47" y="77"/>
                </a:cubicBezTo>
                <a:cubicBezTo>
                  <a:pt x="48" y="78"/>
                  <a:pt x="50" y="77"/>
                  <a:pt x="51" y="76"/>
                </a:cubicBezTo>
                <a:cubicBezTo>
                  <a:pt x="51" y="76"/>
                  <a:pt x="53" y="76"/>
                  <a:pt x="52" y="77"/>
                </a:cubicBezTo>
                <a:moveTo>
                  <a:pt x="64" y="93"/>
                </a:moveTo>
                <a:cubicBezTo>
                  <a:pt x="63" y="94"/>
                  <a:pt x="63" y="94"/>
                  <a:pt x="62" y="94"/>
                </a:cubicBezTo>
                <a:cubicBezTo>
                  <a:pt x="60" y="95"/>
                  <a:pt x="61" y="96"/>
                  <a:pt x="60" y="96"/>
                </a:cubicBezTo>
                <a:cubicBezTo>
                  <a:pt x="58" y="96"/>
                  <a:pt x="54" y="96"/>
                  <a:pt x="54" y="95"/>
                </a:cubicBezTo>
                <a:cubicBezTo>
                  <a:pt x="54" y="95"/>
                  <a:pt x="56" y="95"/>
                  <a:pt x="56" y="95"/>
                </a:cubicBezTo>
                <a:cubicBezTo>
                  <a:pt x="56" y="94"/>
                  <a:pt x="57" y="93"/>
                  <a:pt x="58" y="93"/>
                </a:cubicBezTo>
                <a:cubicBezTo>
                  <a:pt x="59" y="93"/>
                  <a:pt x="59" y="92"/>
                  <a:pt x="57" y="91"/>
                </a:cubicBezTo>
                <a:cubicBezTo>
                  <a:pt x="56" y="90"/>
                  <a:pt x="59" y="90"/>
                  <a:pt x="60" y="91"/>
                </a:cubicBezTo>
                <a:cubicBezTo>
                  <a:pt x="61" y="92"/>
                  <a:pt x="63" y="93"/>
                  <a:pt x="64" y="92"/>
                </a:cubicBezTo>
                <a:cubicBezTo>
                  <a:pt x="65" y="91"/>
                  <a:pt x="70" y="89"/>
                  <a:pt x="70" y="90"/>
                </a:cubicBezTo>
                <a:cubicBezTo>
                  <a:pt x="70" y="91"/>
                  <a:pt x="66" y="92"/>
                  <a:pt x="64" y="93"/>
                </a:cubicBezTo>
                <a:moveTo>
                  <a:pt x="99" y="129"/>
                </a:moveTo>
                <a:cubicBezTo>
                  <a:pt x="97" y="129"/>
                  <a:pt x="99" y="126"/>
                  <a:pt x="97" y="125"/>
                </a:cubicBezTo>
                <a:cubicBezTo>
                  <a:pt x="94" y="124"/>
                  <a:pt x="93" y="121"/>
                  <a:pt x="93" y="120"/>
                </a:cubicBezTo>
                <a:cubicBezTo>
                  <a:pt x="93" y="119"/>
                  <a:pt x="95" y="118"/>
                  <a:pt x="96" y="119"/>
                </a:cubicBezTo>
                <a:cubicBezTo>
                  <a:pt x="97" y="120"/>
                  <a:pt x="98" y="124"/>
                  <a:pt x="99" y="125"/>
                </a:cubicBezTo>
                <a:cubicBezTo>
                  <a:pt x="99" y="127"/>
                  <a:pt x="99" y="129"/>
                  <a:pt x="99" y="1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60"/>
          <p:cNvSpPr>
            <a:spLocks noEditPoints="1"/>
          </p:cNvSpPr>
          <p:nvPr/>
        </p:nvSpPr>
        <p:spPr bwMode="auto">
          <a:xfrm>
            <a:off x="396243" y="2338765"/>
            <a:ext cx="1086754" cy="672071"/>
          </a:xfrm>
          <a:custGeom>
            <a:avLst/>
            <a:gdLst>
              <a:gd name="T0" fmla="*/ 68 w 225"/>
              <a:gd name="T1" fmla="*/ 45 h 139"/>
              <a:gd name="T2" fmla="*/ 60 w 225"/>
              <a:gd name="T3" fmla="*/ 7 h 139"/>
              <a:gd name="T4" fmla="*/ 36 w 225"/>
              <a:gd name="T5" fmla="*/ 4 h 139"/>
              <a:gd name="T6" fmla="*/ 26 w 225"/>
              <a:gd name="T7" fmla="*/ 2 h 139"/>
              <a:gd name="T8" fmla="*/ 18 w 225"/>
              <a:gd name="T9" fmla="*/ 5 h 139"/>
              <a:gd name="T10" fmla="*/ 4 w 225"/>
              <a:gd name="T11" fmla="*/ 12 h 139"/>
              <a:gd name="T12" fmla="*/ 14 w 225"/>
              <a:gd name="T13" fmla="*/ 21 h 139"/>
              <a:gd name="T14" fmla="*/ 3 w 225"/>
              <a:gd name="T15" fmla="*/ 21 h 139"/>
              <a:gd name="T16" fmla="*/ 11 w 225"/>
              <a:gd name="T17" fmla="*/ 27 h 139"/>
              <a:gd name="T18" fmla="*/ 8 w 225"/>
              <a:gd name="T19" fmla="*/ 31 h 139"/>
              <a:gd name="T20" fmla="*/ 9 w 225"/>
              <a:gd name="T21" fmla="*/ 43 h 139"/>
              <a:gd name="T22" fmla="*/ 19 w 225"/>
              <a:gd name="T23" fmla="*/ 47 h 139"/>
              <a:gd name="T24" fmla="*/ 20 w 225"/>
              <a:gd name="T25" fmla="*/ 53 h 139"/>
              <a:gd name="T26" fmla="*/ 16 w 225"/>
              <a:gd name="T27" fmla="*/ 57 h 139"/>
              <a:gd name="T28" fmla="*/ 29 w 225"/>
              <a:gd name="T29" fmla="*/ 49 h 139"/>
              <a:gd name="T30" fmla="*/ 34 w 225"/>
              <a:gd name="T31" fmla="*/ 42 h 139"/>
              <a:gd name="T32" fmla="*/ 37 w 225"/>
              <a:gd name="T33" fmla="*/ 40 h 139"/>
              <a:gd name="T34" fmla="*/ 44 w 225"/>
              <a:gd name="T35" fmla="*/ 43 h 139"/>
              <a:gd name="T36" fmla="*/ 49 w 225"/>
              <a:gd name="T37" fmla="*/ 40 h 139"/>
              <a:gd name="T38" fmla="*/ 54 w 225"/>
              <a:gd name="T39" fmla="*/ 42 h 139"/>
              <a:gd name="T40" fmla="*/ 67 w 225"/>
              <a:gd name="T41" fmla="*/ 46 h 139"/>
              <a:gd name="T42" fmla="*/ 73 w 225"/>
              <a:gd name="T43" fmla="*/ 49 h 139"/>
              <a:gd name="T44" fmla="*/ 74 w 225"/>
              <a:gd name="T45" fmla="*/ 52 h 139"/>
              <a:gd name="T46" fmla="*/ 76 w 225"/>
              <a:gd name="T47" fmla="*/ 52 h 139"/>
              <a:gd name="T48" fmla="*/ 78 w 225"/>
              <a:gd name="T49" fmla="*/ 54 h 139"/>
              <a:gd name="T50" fmla="*/ 77 w 225"/>
              <a:gd name="T51" fmla="*/ 59 h 139"/>
              <a:gd name="T52" fmla="*/ 82 w 225"/>
              <a:gd name="T53" fmla="*/ 59 h 139"/>
              <a:gd name="T54" fmla="*/ 2 w 225"/>
              <a:gd name="T55" fmla="*/ 63 h 139"/>
              <a:gd name="T56" fmla="*/ 9 w 225"/>
              <a:gd name="T57" fmla="*/ 60 h 139"/>
              <a:gd name="T58" fmla="*/ 30 w 225"/>
              <a:gd name="T59" fmla="*/ 53 h 139"/>
              <a:gd name="T60" fmla="*/ 4 w 225"/>
              <a:gd name="T61" fmla="*/ 42 h 139"/>
              <a:gd name="T62" fmla="*/ 220 w 225"/>
              <a:gd name="T63" fmla="*/ 81 h 139"/>
              <a:gd name="T64" fmla="*/ 199 w 225"/>
              <a:gd name="T65" fmla="*/ 92 h 139"/>
              <a:gd name="T66" fmla="*/ 189 w 225"/>
              <a:gd name="T67" fmla="*/ 95 h 139"/>
              <a:gd name="T68" fmla="*/ 184 w 225"/>
              <a:gd name="T69" fmla="*/ 86 h 139"/>
              <a:gd name="T70" fmla="*/ 182 w 225"/>
              <a:gd name="T71" fmla="*/ 85 h 139"/>
              <a:gd name="T72" fmla="*/ 179 w 225"/>
              <a:gd name="T73" fmla="*/ 83 h 139"/>
              <a:gd name="T74" fmla="*/ 174 w 225"/>
              <a:gd name="T75" fmla="*/ 79 h 139"/>
              <a:gd name="T76" fmla="*/ 163 w 225"/>
              <a:gd name="T77" fmla="*/ 75 h 139"/>
              <a:gd name="T78" fmla="*/ 101 w 225"/>
              <a:gd name="T79" fmla="*/ 80 h 139"/>
              <a:gd name="T80" fmla="*/ 99 w 225"/>
              <a:gd name="T81" fmla="*/ 83 h 139"/>
              <a:gd name="T82" fmla="*/ 98 w 225"/>
              <a:gd name="T83" fmla="*/ 101 h 139"/>
              <a:gd name="T84" fmla="*/ 105 w 225"/>
              <a:gd name="T85" fmla="*/ 113 h 139"/>
              <a:gd name="T86" fmla="*/ 118 w 225"/>
              <a:gd name="T87" fmla="*/ 120 h 139"/>
              <a:gd name="T88" fmla="*/ 140 w 225"/>
              <a:gd name="T89" fmla="*/ 124 h 139"/>
              <a:gd name="T90" fmla="*/ 152 w 225"/>
              <a:gd name="T91" fmla="*/ 132 h 139"/>
              <a:gd name="T92" fmla="*/ 157 w 225"/>
              <a:gd name="T93" fmla="*/ 131 h 139"/>
              <a:gd name="T94" fmla="*/ 166 w 225"/>
              <a:gd name="T95" fmla="*/ 126 h 139"/>
              <a:gd name="T96" fmla="*/ 175 w 225"/>
              <a:gd name="T97" fmla="*/ 129 h 139"/>
              <a:gd name="T98" fmla="*/ 181 w 225"/>
              <a:gd name="T99" fmla="*/ 125 h 139"/>
              <a:gd name="T100" fmla="*/ 190 w 225"/>
              <a:gd name="T101" fmla="*/ 133 h 139"/>
              <a:gd name="T102" fmla="*/ 193 w 225"/>
              <a:gd name="T103" fmla="*/ 129 h 139"/>
              <a:gd name="T104" fmla="*/ 202 w 225"/>
              <a:gd name="T105" fmla="*/ 115 h 139"/>
              <a:gd name="T106" fmla="*/ 204 w 225"/>
              <a:gd name="T107" fmla="*/ 109 h 139"/>
              <a:gd name="T108" fmla="*/ 204 w 225"/>
              <a:gd name="T109" fmla="*/ 104 h 139"/>
              <a:gd name="T110" fmla="*/ 209 w 225"/>
              <a:gd name="T111" fmla="*/ 100 h 139"/>
              <a:gd name="T112" fmla="*/ 216 w 225"/>
              <a:gd name="T113" fmla="*/ 96 h 139"/>
              <a:gd name="T114" fmla="*/ 223 w 225"/>
              <a:gd name="T11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39">
                <a:moveTo>
                  <a:pt x="84" y="56"/>
                </a:moveTo>
                <a:cubicBezTo>
                  <a:pt x="85" y="56"/>
                  <a:pt x="85" y="55"/>
                  <a:pt x="82" y="54"/>
                </a:cubicBezTo>
                <a:cubicBezTo>
                  <a:pt x="80" y="53"/>
                  <a:pt x="80" y="52"/>
                  <a:pt x="78" y="49"/>
                </a:cubicBezTo>
                <a:cubicBezTo>
                  <a:pt x="77" y="46"/>
                  <a:pt x="73" y="45"/>
                  <a:pt x="73" y="44"/>
                </a:cubicBezTo>
                <a:cubicBezTo>
                  <a:pt x="73" y="43"/>
                  <a:pt x="70" y="43"/>
                  <a:pt x="70" y="44"/>
                </a:cubicBezTo>
                <a:cubicBezTo>
                  <a:pt x="70" y="45"/>
                  <a:pt x="69" y="45"/>
                  <a:pt x="68" y="45"/>
                </a:cubicBezTo>
                <a:cubicBezTo>
                  <a:pt x="68" y="46"/>
                  <a:pt x="67" y="45"/>
                  <a:pt x="67" y="44"/>
                </a:cubicBezTo>
                <a:cubicBezTo>
                  <a:pt x="66" y="43"/>
                  <a:pt x="65" y="43"/>
                  <a:pt x="65" y="42"/>
                </a:cubicBezTo>
                <a:cubicBezTo>
                  <a:pt x="65" y="42"/>
                  <a:pt x="64" y="40"/>
                  <a:pt x="63" y="41"/>
                </a:cubicBezTo>
                <a:cubicBezTo>
                  <a:pt x="62" y="41"/>
                  <a:pt x="61" y="41"/>
                  <a:pt x="61" y="41"/>
                </a:cubicBezTo>
                <a:cubicBezTo>
                  <a:pt x="61" y="42"/>
                  <a:pt x="60" y="41"/>
                  <a:pt x="60" y="41"/>
                </a:cubicBezTo>
                <a:cubicBezTo>
                  <a:pt x="60" y="7"/>
                  <a:pt x="60" y="7"/>
                  <a:pt x="60" y="7"/>
                </a:cubicBezTo>
                <a:cubicBezTo>
                  <a:pt x="59" y="7"/>
                  <a:pt x="59" y="7"/>
                  <a:pt x="59" y="7"/>
                </a:cubicBezTo>
                <a:cubicBezTo>
                  <a:pt x="57" y="6"/>
                  <a:pt x="55" y="6"/>
                  <a:pt x="54" y="6"/>
                </a:cubicBezTo>
                <a:cubicBezTo>
                  <a:pt x="53" y="6"/>
                  <a:pt x="51" y="6"/>
                  <a:pt x="50" y="6"/>
                </a:cubicBezTo>
                <a:cubicBezTo>
                  <a:pt x="49" y="6"/>
                  <a:pt x="48" y="5"/>
                  <a:pt x="46" y="5"/>
                </a:cubicBezTo>
                <a:cubicBezTo>
                  <a:pt x="45" y="6"/>
                  <a:pt x="44" y="5"/>
                  <a:pt x="42" y="4"/>
                </a:cubicBezTo>
                <a:cubicBezTo>
                  <a:pt x="40" y="4"/>
                  <a:pt x="37" y="4"/>
                  <a:pt x="36" y="4"/>
                </a:cubicBezTo>
                <a:cubicBezTo>
                  <a:pt x="35" y="5"/>
                  <a:pt x="36" y="4"/>
                  <a:pt x="35" y="4"/>
                </a:cubicBezTo>
                <a:cubicBezTo>
                  <a:pt x="34" y="4"/>
                  <a:pt x="35" y="3"/>
                  <a:pt x="34" y="3"/>
                </a:cubicBezTo>
                <a:cubicBezTo>
                  <a:pt x="34" y="2"/>
                  <a:pt x="31" y="3"/>
                  <a:pt x="30" y="3"/>
                </a:cubicBezTo>
                <a:cubicBezTo>
                  <a:pt x="29" y="3"/>
                  <a:pt x="29" y="2"/>
                  <a:pt x="29" y="2"/>
                </a:cubicBezTo>
                <a:cubicBezTo>
                  <a:pt x="29" y="1"/>
                  <a:pt x="28" y="2"/>
                  <a:pt x="28" y="2"/>
                </a:cubicBezTo>
                <a:cubicBezTo>
                  <a:pt x="28" y="3"/>
                  <a:pt x="27" y="3"/>
                  <a:pt x="26" y="2"/>
                </a:cubicBezTo>
                <a:cubicBezTo>
                  <a:pt x="26" y="2"/>
                  <a:pt x="27" y="2"/>
                  <a:pt x="27" y="1"/>
                </a:cubicBezTo>
                <a:cubicBezTo>
                  <a:pt x="27" y="1"/>
                  <a:pt x="26" y="1"/>
                  <a:pt x="25" y="1"/>
                </a:cubicBezTo>
                <a:cubicBezTo>
                  <a:pt x="25" y="0"/>
                  <a:pt x="24" y="1"/>
                  <a:pt x="23" y="2"/>
                </a:cubicBezTo>
                <a:cubicBezTo>
                  <a:pt x="22" y="3"/>
                  <a:pt x="21" y="3"/>
                  <a:pt x="20" y="3"/>
                </a:cubicBezTo>
                <a:cubicBezTo>
                  <a:pt x="19" y="3"/>
                  <a:pt x="18" y="3"/>
                  <a:pt x="18" y="3"/>
                </a:cubicBezTo>
                <a:cubicBezTo>
                  <a:pt x="18" y="4"/>
                  <a:pt x="19" y="4"/>
                  <a:pt x="18" y="5"/>
                </a:cubicBezTo>
                <a:cubicBezTo>
                  <a:pt x="17" y="5"/>
                  <a:pt x="17" y="4"/>
                  <a:pt x="16" y="4"/>
                </a:cubicBezTo>
                <a:cubicBezTo>
                  <a:pt x="16" y="5"/>
                  <a:pt x="14" y="5"/>
                  <a:pt x="13" y="5"/>
                </a:cubicBezTo>
                <a:cubicBezTo>
                  <a:pt x="13" y="5"/>
                  <a:pt x="11" y="7"/>
                  <a:pt x="11" y="7"/>
                </a:cubicBezTo>
                <a:cubicBezTo>
                  <a:pt x="10" y="8"/>
                  <a:pt x="11" y="8"/>
                  <a:pt x="10" y="9"/>
                </a:cubicBezTo>
                <a:cubicBezTo>
                  <a:pt x="8" y="11"/>
                  <a:pt x="5" y="11"/>
                  <a:pt x="4" y="11"/>
                </a:cubicBezTo>
                <a:cubicBezTo>
                  <a:pt x="3" y="11"/>
                  <a:pt x="4" y="11"/>
                  <a:pt x="4" y="12"/>
                </a:cubicBezTo>
                <a:cubicBezTo>
                  <a:pt x="3" y="13"/>
                  <a:pt x="4" y="13"/>
                  <a:pt x="6" y="14"/>
                </a:cubicBezTo>
                <a:cubicBezTo>
                  <a:pt x="8" y="14"/>
                  <a:pt x="9" y="17"/>
                  <a:pt x="10" y="17"/>
                </a:cubicBezTo>
                <a:cubicBezTo>
                  <a:pt x="10" y="18"/>
                  <a:pt x="12" y="17"/>
                  <a:pt x="13" y="17"/>
                </a:cubicBezTo>
                <a:cubicBezTo>
                  <a:pt x="14" y="18"/>
                  <a:pt x="13" y="19"/>
                  <a:pt x="14" y="19"/>
                </a:cubicBezTo>
                <a:cubicBezTo>
                  <a:pt x="15" y="20"/>
                  <a:pt x="16" y="19"/>
                  <a:pt x="16" y="20"/>
                </a:cubicBezTo>
                <a:cubicBezTo>
                  <a:pt x="17" y="21"/>
                  <a:pt x="15" y="20"/>
                  <a:pt x="14" y="21"/>
                </a:cubicBezTo>
                <a:cubicBezTo>
                  <a:pt x="13" y="21"/>
                  <a:pt x="12" y="22"/>
                  <a:pt x="12" y="21"/>
                </a:cubicBezTo>
                <a:cubicBezTo>
                  <a:pt x="11" y="21"/>
                  <a:pt x="10" y="21"/>
                  <a:pt x="9" y="21"/>
                </a:cubicBezTo>
                <a:cubicBezTo>
                  <a:pt x="8" y="21"/>
                  <a:pt x="9" y="20"/>
                  <a:pt x="9" y="20"/>
                </a:cubicBezTo>
                <a:cubicBezTo>
                  <a:pt x="9" y="19"/>
                  <a:pt x="8" y="19"/>
                  <a:pt x="6" y="20"/>
                </a:cubicBezTo>
                <a:cubicBezTo>
                  <a:pt x="5" y="21"/>
                  <a:pt x="5" y="20"/>
                  <a:pt x="5" y="21"/>
                </a:cubicBezTo>
                <a:cubicBezTo>
                  <a:pt x="5" y="22"/>
                  <a:pt x="4" y="21"/>
                  <a:pt x="3" y="21"/>
                </a:cubicBezTo>
                <a:cubicBezTo>
                  <a:pt x="2" y="22"/>
                  <a:pt x="0" y="22"/>
                  <a:pt x="0" y="23"/>
                </a:cubicBezTo>
                <a:cubicBezTo>
                  <a:pt x="0" y="23"/>
                  <a:pt x="2" y="24"/>
                  <a:pt x="3" y="24"/>
                </a:cubicBezTo>
                <a:cubicBezTo>
                  <a:pt x="4" y="24"/>
                  <a:pt x="2" y="25"/>
                  <a:pt x="3" y="25"/>
                </a:cubicBezTo>
                <a:cubicBezTo>
                  <a:pt x="4" y="25"/>
                  <a:pt x="3" y="26"/>
                  <a:pt x="5" y="27"/>
                </a:cubicBezTo>
                <a:cubicBezTo>
                  <a:pt x="6" y="27"/>
                  <a:pt x="9" y="27"/>
                  <a:pt x="9" y="27"/>
                </a:cubicBezTo>
                <a:cubicBezTo>
                  <a:pt x="10" y="27"/>
                  <a:pt x="11" y="28"/>
                  <a:pt x="11" y="27"/>
                </a:cubicBezTo>
                <a:cubicBezTo>
                  <a:pt x="12" y="26"/>
                  <a:pt x="14" y="25"/>
                  <a:pt x="15" y="26"/>
                </a:cubicBezTo>
                <a:cubicBezTo>
                  <a:pt x="16" y="27"/>
                  <a:pt x="14" y="27"/>
                  <a:pt x="15" y="27"/>
                </a:cubicBezTo>
                <a:cubicBezTo>
                  <a:pt x="15" y="28"/>
                  <a:pt x="16" y="29"/>
                  <a:pt x="15" y="30"/>
                </a:cubicBezTo>
                <a:cubicBezTo>
                  <a:pt x="14" y="31"/>
                  <a:pt x="13" y="30"/>
                  <a:pt x="12" y="30"/>
                </a:cubicBezTo>
                <a:cubicBezTo>
                  <a:pt x="12" y="30"/>
                  <a:pt x="12" y="31"/>
                  <a:pt x="11" y="32"/>
                </a:cubicBezTo>
                <a:cubicBezTo>
                  <a:pt x="10" y="33"/>
                  <a:pt x="9" y="31"/>
                  <a:pt x="8" y="31"/>
                </a:cubicBezTo>
                <a:cubicBezTo>
                  <a:pt x="7" y="31"/>
                  <a:pt x="7" y="33"/>
                  <a:pt x="7" y="34"/>
                </a:cubicBezTo>
                <a:cubicBezTo>
                  <a:pt x="7" y="34"/>
                  <a:pt x="6" y="34"/>
                  <a:pt x="5" y="35"/>
                </a:cubicBezTo>
                <a:cubicBezTo>
                  <a:pt x="5" y="37"/>
                  <a:pt x="3" y="36"/>
                  <a:pt x="4" y="37"/>
                </a:cubicBezTo>
                <a:cubicBezTo>
                  <a:pt x="5" y="39"/>
                  <a:pt x="5" y="38"/>
                  <a:pt x="6" y="39"/>
                </a:cubicBezTo>
                <a:cubicBezTo>
                  <a:pt x="7" y="39"/>
                  <a:pt x="5" y="40"/>
                  <a:pt x="6" y="41"/>
                </a:cubicBezTo>
                <a:cubicBezTo>
                  <a:pt x="7" y="41"/>
                  <a:pt x="8" y="43"/>
                  <a:pt x="9" y="43"/>
                </a:cubicBezTo>
                <a:cubicBezTo>
                  <a:pt x="9" y="44"/>
                  <a:pt x="10" y="43"/>
                  <a:pt x="11" y="43"/>
                </a:cubicBezTo>
                <a:cubicBezTo>
                  <a:pt x="12" y="43"/>
                  <a:pt x="12" y="41"/>
                  <a:pt x="12" y="42"/>
                </a:cubicBezTo>
                <a:cubicBezTo>
                  <a:pt x="13" y="42"/>
                  <a:pt x="14" y="44"/>
                  <a:pt x="13" y="44"/>
                </a:cubicBezTo>
                <a:cubicBezTo>
                  <a:pt x="13" y="45"/>
                  <a:pt x="13" y="46"/>
                  <a:pt x="13" y="47"/>
                </a:cubicBezTo>
                <a:cubicBezTo>
                  <a:pt x="13" y="47"/>
                  <a:pt x="15" y="47"/>
                  <a:pt x="16" y="46"/>
                </a:cubicBezTo>
                <a:cubicBezTo>
                  <a:pt x="16" y="46"/>
                  <a:pt x="18" y="45"/>
                  <a:pt x="19" y="47"/>
                </a:cubicBezTo>
                <a:cubicBezTo>
                  <a:pt x="20" y="48"/>
                  <a:pt x="20" y="48"/>
                  <a:pt x="20" y="47"/>
                </a:cubicBezTo>
                <a:cubicBezTo>
                  <a:pt x="20" y="46"/>
                  <a:pt x="21" y="45"/>
                  <a:pt x="21" y="46"/>
                </a:cubicBezTo>
                <a:cubicBezTo>
                  <a:pt x="21" y="47"/>
                  <a:pt x="22" y="47"/>
                  <a:pt x="23" y="46"/>
                </a:cubicBezTo>
                <a:cubicBezTo>
                  <a:pt x="25" y="45"/>
                  <a:pt x="24" y="46"/>
                  <a:pt x="23" y="47"/>
                </a:cubicBezTo>
                <a:cubicBezTo>
                  <a:pt x="22" y="49"/>
                  <a:pt x="23" y="51"/>
                  <a:pt x="23" y="51"/>
                </a:cubicBezTo>
                <a:cubicBezTo>
                  <a:pt x="22" y="51"/>
                  <a:pt x="21" y="53"/>
                  <a:pt x="20" y="53"/>
                </a:cubicBezTo>
                <a:cubicBezTo>
                  <a:pt x="19" y="53"/>
                  <a:pt x="16" y="56"/>
                  <a:pt x="16" y="56"/>
                </a:cubicBezTo>
                <a:cubicBezTo>
                  <a:pt x="16" y="56"/>
                  <a:pt x="13" y="55"/>
                  <a:pt x="13" y="56"/>
                </a:cubicBezTo>
                <a:cubicBezTo>
                  <a:pt x="12" y="57"/>
                  <a:pt x="11" y="58"/>
                  <a:pt x="11" y="59"/>
                </a:cubicBezTo>
                <a:cubicBezTo>
                  <a:pt x="11" y="59"/>
                  <a:pt x="14" y="58"/>
                  <a:pt x="14" y="57"/>
                </a:cubicBezTo>
                <a:cubicBezTo>
                  <a:pt x="14" y="57"/>
                  <a:pt x="14" y="57"/>
                  <a:pt x="14" y="57"/>
                </a:cubicBezTo>
                <a:cubicBezTo>
                  <a:pt x="15" y="58"/>
                  <a:pt x="16" y="57"/>
                  <a:pt x="16" y="57"/>
                </a:cubicBezTo>
                <a:cubicBezTo>
                  <a:pt x="17" y="56"/>
                  <a:pt x="17" y="56"/>
                  <a:pt x="18" y="56"/>
                </a:cubicBezTo>
                <a:cubicBezTo>
                  <a:pt x="18" y="57"/>
                  <a:pt x="19" y="56"/>
                  <a:pt x="20" y="56"/>
                </a:cubicBezTo>
                <a:cubicBezTo>
                  <a:pt x="21" y="55"/>
                  <a:pt x="21" y="55"/>
                  <a:pt x="21" y="54"/>
                </a:cubicBezTo>
                <a:cubicBezTo>
                  <a:pt x="21" y="54"/>
                  <a:pt x="25" y="52"/>
                  <a:pt x="25" y="52"/>
                </a:cubicBezTo>
                <a:cubicBezTo>
                  <a:pt x="26" y="52"/>
                  <a:pt x="25" y="51"/>
                  <a:pt x="26" y="51"/>
                </a:cubicBezTo>
                <a:cubicBezTo>
                  <a:pt x="27" y="51"/>
                  <a:pt x="28" y="50"/>
                  <a:pt x="29" y="49"/>
                </a:cubicBezTo>
                <a:cubicBezTo>
                  <a:pt x="29" y="49"/>
                  <a:pt x="30" y="49"/>
                  <a:pt x="30" y="49"/>
                </a:cubicBezTo>
                <a:cubicBezTo>
                  <a:pt x="31" y="49"/>
                  <a:pt x="30" y="47"/>
                  <a:pt x="31" y="47"/>
                </a:cubicBezTo>
                <a:cubicBezTo>
                  <a:pt x="32" y="47"/>
                  <a:pt x="32" y="47"/>
                  <a:pt x="32" y="46"/>
                </a:cubicBezTo>
                <a:cubicBezTo>
                  <a:pt x="32" y="45"/>
                  <a:pt x="31" y="45"/>
                  <a:pt x="30" y="45"/>
                </a:cubicBezTo>
                <a:cubicBezTo>
                  <a:pt x="30" y="45"/>
                  <a:pt x="32" y="44"/>
                  <a:pt x="32" y="44"/>
                </a:cubicBezTo>
                <a:cubicBezTo>
                  <a:pt x="33" y="44"/>
                  <a:pt x="34" y="43"/>
                  <a:pt x="34" y="42"/>
                </a:cubicBezTo>
                <a:cubicBezTo>
                  <a:pt x="34" y="41"/>
                  <a:pt x="34" y="41"/>
                  <a:pt x="35" y="41"/>
                </a:cubicBezTo>
                <a:cubicBezTo>
                  <a:pt x="36" y="40"/>
                  <a:pt x="36" y="39"/>
                  <a:pt x="36" y="39"/>
                </a:cubicBezTo>
                <a:cubicBezTo>
                  <a:pt x="37" y="39"/>
                  <a:pt x="37" y="38"/>
                  <a:pt x="38" y="38"/>
                </a:cubicBezTo>
                <a:cubicBezTo>
                  <a:pt x="39" y="38"/>
                  <a:pt x="38" y="38"/>
                  <a:pt x="39" y="39"/>
                </a:cubicBezTo>
                <a:cubicBezTo>
                  <a:pt x="41" y="39"/>
                  <a:pt x="41" y="40"/>
                  <a:pt x="40" y="39"/>
                </a:cubicBezTo>
                <a:cubicBezTo>
                  <a:pt x="39" y="39"/>
                  <a:pt x="38" y="39"/>
                  <a:pt x="37" y="40"/>
                </a:cubicBezTo>
                <a:cubicBezTo>
                  <a:pt x="36" y="41"/>
                  <a:pt x="37" y="41"/>
                  <a:pt x="36" y="42"/>
                </a:cubicBezTo>
                <a:cubicBezTo>
                  <a:pt x="36" y="43"/>
                  <a:pt x="36" y="43"/>
                  <a:pt x="36" y="43"/>
                </a:cubicBezTo>
                <a:cubicBezTo>
                  <a:pt x="37" y="44"/>
                  <a:pt x="37" y="44"/>
                  <a:pt x="36" y="44"/>
                </a:cubicBezTo>
                <a:cubicBezTo>
                  <a:pt x="35" y="45"/>
                  <a:pt x="35" y="45"/>
                  <a:pt x="37" y="45"/>
                </a:cubicBezTo>
                <a:cubicBezTo>
                  <a:pt x="38" y="45"/>
                  <a:pt x="39" y="44"/>
                  <a:pt x="41" y="43"/>
                </a:cubicBezTo>
                <a:cubicBezTo>
                  <a:pt x="43" y="42"/>
                  <a:pt x="44" y="43"/>
                  <a:pt x="44" y="43"/>
                </a:cubicBezTo>
                <a:cubicBezTo>
                  <a:pt x="45" y="42"/>
                  <a:pt x="44" y="42"/>
                  <a:pt x="44" y="41"/>
                </a:cubicBezTo>
                <a:cubicBezTo>
                  <a:pt x="45" y="41"/>
                  <a:pt x="44" y="41"/>
                  <a:pt x="43" y="40"/>
                </a:cubicBezTo>
                <a:cubicBezTo>
                  <a:pt x="43" y="39"/>
                  <a:pt x="44" y="40"/>
                  <a:pt x="44" y="39"/>
                </a:cubicBezTo>
                <a:cubicBezTo>
                  <a:pt x="44" y="38"/>
                  <a:pt x="45" y="39"/>
                  <a:pt x="45" y="39"/>
                </a:cubicBezTo>
                <a:cubicBezTo>
                  <a:pt x="46" y="39"/>
                  <a:pt x="46" y="39"/>
                  <a:pt x="47" y="40"/>
                </a:cubicBezTo>
                <a:cubicBezTo>
                  <a:pt x="47" y="40"/>
                  <a:pt x="48" y="39"/>
                  <a:pt x="49" y="40"/>
                </a:cubicBezTo>
                <a:cubicBezTo>
                  <a:pt x="49" y="41"/>
                  <a:pt x="48" y="40"/>
                  <a:pt x="48" y="41"/>
                </a:cubicBezTo>
                <a:cubicBezTo>
                  <a:pt x="47" y="41"/>
                  <a:pt x="47" y="42"/>
                  <a:pt x="48" y="41"/>
                </a:cubicBezTo>
                <a:cubicBezTo>
                  <a:pt x="48" y="41"/>
                  <a:pt x="49" y="41"/>
                  <a:pt x="50" y="41"/>
                </a:cubicBezTo>
                <a:cubicBezTo>
                  <a:pt x="50" y="42"/>
                  <a:pt x="50" y="41"/>
                  <a:pt x="51" y="41"/>
                </a:cubicBezTo>
                <a:cubicBezTo>
                  <a:pt x="51" y="40"/>
                  <a:pt x="51" y="41"/>
                  <a:pt x="51" y="41"/>
                </a:cubicBezTo>
                <a:cubicBezTo>
                  <a:pt x="51" y="42"/>
                  <a:pt x="52" y="42"/>
                  <a:pt x="54" y="42"/>
                </a:cubicBezTo>
                <a:cubicBezTo>
                  <a:pt x="55" y="42"/>
                  <a:pt x="58" y="42"/>
                  <a:pt x="59" y="42"/>
                </a:cubicBezTo>
                <a:cubicBezTo>
                  <a:pt x="59" y="42"/>
                  <a:pt x="59" y="43"/>
                  <a:pt x="61" y="43"/>
                </a:cubicBezTo>
                <a:cubicBezTo>
                  <a:pt x="62" y="44"/>
                  <a:pt x="63" y="42"/>
                  <a:pt x="63" y="42"/>
                </a:cubicBezTo>
                <a:cubicBezTo>
                  <a:pt x="64" y="43"/>
                  <a:pt x="63" y="43"/>
                  <a:pt x="63" y="44"/>
                </a:cubicBezTo>
                <a:cubicBezTo>
                  <a:pt x="62" y="44"/>
                  <a:pt x="63" y="44"/>
                  <a:pt x="64" y="45"/>
                </a:cubicBezTo>
                <a:cubicBezTo>
                  <a:pt x="65" y="45"/>
                  <a:pt x="66" y="45"/>
                  <a:pt x="67" y="46"/>
                </a:cubicBezTo>
                <a:cubicBezTo>
                  <a:pt x="67" y="46"/>
                  <a:pt x="68" y="47"/>
                  <a:pt x="69" y="48"/>
                </a:cubicBezTo>
                <a:cubicBezTo>
                  <a:pt x="71" y="49"/>
                  <a:pt x="69" y="46"/>
                  <a:pt x="70" y="47"/>
                </a:cubicBezTo>
                <a:cubicBezTo>
                  <a:pt x="72" y="48"/>
                  <a:pt x="71" y="47"/>
                  <a:pt x="72" y="48"/>
                </a:cubicBezTo>
                <a:cubicBezTo>
                  <a:pt x="73" y="49"/>
                  <a:pt x="73" y="47"/>
                  <a:pt x="72" y="46"/>
                </a:cubicBezTo>
                <a:cubicBezTo>
                  <a:pt x="72" y="44"/>
                  <a:pt x="73" y="45"/>
                  <a:pt x="73" y="46"/>
                </a:cubicBezTo>
                <a:cubicBezTo>
                  <a:pt x="74" y="47"/>
                  <a:pt x="74" y="48"/>
                  <a:pt x="73" y="49"/>
                </a:cubicBezTo>
                <a:cubicBezTo>
                  <a:pt x="73" y="50"/>
                  <a:pt x="72" y="49"/>
                  <a:pt x="72" y="49"/>
                </a:cubicBezTo>
                <a:cubicBezTo>
                  <a:pt x="72" y="48"/>
                  <a:pt x="70" y="48"/>
                  <a:pt x="70" y="49"/>
                </a:cubicBezTo>
                <a:cubicBezTo>
                  <a:pt x="70" y="50"/>
                  <a:pt x="71" y="51"/>
                  <a:pt x="72" y="51"/>
                </a:cubicBezTo>
                <a:cubicBezTo>
                  <a:pt x="73" y="51"/>
                  <a:pt x="72" y="53"/>
                  <a:pt x="73" y="53"/>
                </a:cubicBezTo>
                <a:cubicBezTo>
                  <a:pt x="73" y="53"/>
                  <a:pt x="73" y="54"/>
                  <a:pt x="74" y="54"/>
                </a:cubicBezTo>
                <a:cubicBezTo>
                  <a:pt x="74" y="54"/>
                  <a:pt x="74" y="52"/>
                  <a:pt x="74" y="52"/>
                </a:cubicBezTo>
                <a:cubicBezTo>
                  <a:pt x="73" y="51"/>
                  <a:pt x="73" y="50"/>
                  <a:pt x="74" y="50"/>
                </a:cubicBezTo>
                <a:cubicBezTo>
                  <a:pt x="75" y="50"/>
                  <a:pt x="74" y="51"/>
                  <a:pt x="74" y="52"/>
                </a:cubicBezTo>
                <a:cubicBezTo>
                  <a:pt x="75" y="52"/>
                  <a:pt x="75" y="51"/>
                  <a:pt x="76" y="51"/>
                </a:cubicBezTo>
                <a:cubicBezTo>
                  <a:pt x="76" y="51"/>
                  <a:pt x="75" y="49"/>
                  <a:pt x="76" y="49"/>
                </a:cubicBezTo>
                <a:cubicBezTo>
                  <a:pt x="76" y="48"/>
                  <a:pt x="77" y="49"/>
                  <a:pt x="77" y="50"/>
                </a:cubicBezTo>
                <a:cubicBezTo>
                  <a:pt x="77" y="51"/>
                  <a:pt x="76" y="51"/>
                  <a:pt x="76" y="52"/>
                </a:cubicBezTo>
                <a:cubicBezTo>
                  <a:pt x="76" y="52"/>
                  <a:pt x="75" y="52"/>
                  <a:pt x="75" y="53"/>
                </a:cubicBezTo>
                <a:cubicBezTo>
                  <a:pt x="75" y="53"/>
                  <a:pt x="75" y="55"/>
                  <a:pt x="75" y="55"/>
                </a:cubicBezTo>
                <a:cubicBezTo>
                  <a:pt x="76" y="55"/>
                  <a:pt x="76" y="53"/>
                  <a:pt x="76" y="54"/>
                </a:cubicBezTo>
                <a:cubicBezTo>
                  <a:pt x="76" y="55"/>
                  <a:pt x="77" y="53"/>
                  <a:pt x="77" y="54"/>
                </a:cubicBezTo>
                <a:cubicBezTo>
                  <a:pt x="78" y="55"/>
                  <a:pt x="79" y="55"/>
                  <a:pt x="79" y="55"/>
                </a:cubicBezTo>
                <a:cubicBezTo>
                  <a:pt x="80" y="55"/>
                  <a:pt x="79" y="54"/>
                  <a:pt x="78" y="54"/>
                </a:cubicBezTo>
                <a:cubicBezTo>
                  <a:pt x="78" y="54"/>
                  <a:pt x="78" y="53"/>
                  <a:pt x="78" y="53"/>
                </a:cubicBezTo>
                <a:cubicBezTo>
                  <a:pt x="79" y="53"/>
                  <a:pt x="80" y="55"/>
                  <a:pt x="80" y="55"/>
                </a:cubicBezTo>
                <a:cubicBezTo>
                  <a:pt x="80" y="56"/>
                  <a:pt x="80" y="56"/>
                  <a:pt x="79" y="56"/>
                </a:cubicBezTo>
                <a:cubicBezTo>
                  <a:pt x="79" y="57"/>
                  <a:pt x="78" y="55"/>
                  <a:pt x="77" y="55"/>
                </a:cubicBezTo>
                <a:cubicBezTo>
                  <a:pt x="76" y="55"/>
                  <a:pt x="77" y="56"/>
                  <a:pt x="77" y="57"/>
                </a:cubicBezTo>
                <a:cubicBezTo>
                  <a:pt x="78" y="58"/>
                  <a:pt x="77" y="59"/>
                  <a:pt x="77" y="59"/>
                </a:cubicBezTo>
                <a:cubicBezTo>
                  <a:pt x="78" y="60"/>
                  <a:pt x="78" y="59"/>
                  <a:pt x="78" y="58"/>
                </a:cubicBezTo>
                <a:cubicBezTo>
                  <a:pt x="78" y="58"/>
                  <a:pt x="79" y="59"/>
                  <a:pt x="79" y="59"/>
                </a:cubicBezTo>
                <a:cubicBezTo>
                  <a:pt x="80" y="59"/>
                  <a:pt x="80" y="58"/>
                  <a:pt x="80" y="58"/>
                </a:cubicBezTo>
                <a:cubicBezTo>
                  <a:pt x="80" y="57"/>
                  <a:pt x="81" y="57"/>
                  <a:pt x="81" y="58"/>
                </a:cubicBezTo>
                <a:cubicBezTo>
                  <a:pt x="81" y="59"/>
                  <a:pt x="81" y="57"/>
                  <a:pt x="82" y="58"/>
                </a:cubicBezTo>
                <a:cubicBezTo>
                  <a:pt x="83" y="58"/>
                  <a:pt x="82" y="59"/>
                  <a:pt x="82" y="59"/>
                </a:cubicBezTo>
                <a:cubicBezTo>
                  <a:pt x="82" y="60"/>
                  <a:pt x="83" y="59"/>
                  <a:pt x="83" y="59"/>
                </a:cubicBezTo>
                <a:cubicBezTo>
                  <a:pt x="83" y="59"/>
                  <a:pt x="83" y="59"/>
                  <a:pt x="83" y="59"/>
                </a:cubicBezTo>
                <a:cubicBezTo>
                  <a:pt x="84" y="59"/>
                  <a:pt x="84" y="59"/>
                  <a:pt x="85" y="58"/>
                </a:cubicBezTo>
                <a:cubicBezTo>
                  <a:pt x="86" y="58"/>
                  <a:pt x="84" y="57"/>
                  <a:pt x="84" y="56"/>
                </a:cubicBezTo>
                <a:moveTo>
                  <a:pt x="2" y="63"/>
                </a:moveTo>
                <a:cubicBezTo>
                  <a:pt x="2" y="63"/>
                  <a:pt x="2" y="63"/>
                  <a:pt x="2" y="63"/>
                </a:cubicBezTo>
                <a:cubicBezTo>
                  <a:pt x="3" y="63"/>
                  <a:pt x="3" y="63"/>
                  <a:pt x="3" y="62"/>
                </a:cubicBezTo>
                <a:cubicBezTo>
                  <a:pt x="3" y="62"/>
                  <a:pt x="1" y="62"/>
                  <a:pt x="1" y="63"/>
                </a:cubicBezTo>
                <a:cubicBezTo>
                  <a:pt x="1" y="63"/>
                  <a:pt x="1" y="64"/>
                  <a:pt x="2" y="63"/>
                </a:cubicBezTo>
                <a:moveTo>
                  <a:pt x="10" y="59"/>
                </a:moveTo>
                <a:cubicBezTo>
                  <a:pt x="9" y="59"/>
                  <a:pt x="6" y="60"/>
                  <a:pt x="7" y="60"/>
                </a:cubicBezTo>
                <a:cubicBezTo>
                  <a:pt x="8" y="61"/>
                  <a:pt x="8" y="60"/>
                  <a:pt x="9" y="60"/>
                </a:cubicBezTo>
                <a:cubicBezTo>
                  <a:pt x="9" y="60"/>
                  <a:pt x="11" y="59"/>
                  <a:pt x="10" y="59"/>
                </a:cubicBezTo>
                <a:moveTo>
                  <a:pt x="35" y="47"/>
                </a:moveTo>
                <a:cubicBezTo>
                  <a:pt x="35" y="47"/>
                  <a:pt x="34" y="47"/>
                  <a:pt x="33" y="48"/>
                </a:cubicBezTo>
                <a:cubicBezTo>
                  <a:pt x="32" y="49"/>
                  <a:pt x="31" y="50"/>
                  <a:pt x="31" y="50"/>
                </a:cubicBezTo>
                <a:cubicBezTo>
                  <a:pt x="31" y="51"/>
                  <a:pt x="30" y="50"/>
                  <a:pt x="29" y="51"/>
                </a:cubicBezTo>
                <a:cubicBezTo>
                  <a:pt x="29" y="52"/>
                  <a:pt x="30" y="53"/>
                  <a:pt x="30" y="53"/>
                </a:cubicBezTo>
                <a:cubicBezTo>
                  <a:pt x="31" y="52"/>
                  <a:pt x="31" y="53"/>
                  <a:pt x="32" y="53"/>
                </a:cubicBezTo>
                <a:cubicBezTo>
                  <a:pt x="32" y="53"/>
                  <a:pt x="34" y="51"/>
                  <a:pt x="34" y="51"/>
                </a:cubicBezTo>
                <a:cubicBezTo>
                  <a:pt x="35" y="50"/>
                  <a:pt x="34" y="50"/>
                  <a:pt x="34" y="49"/>
                </a:cubicBezTo>
                <a:cubicBezTo>
                  <a:pt x="34" y="49"/>
                  <a:pt x="35" y="49"/>
                  <a:pt x="35" y="49"/>
                </a:cubicBezTo>
                <a:cubicBezTo>
                  <a:pt x="36" y="48"/>
                  <a:pt x="35" y="48"/>
                  <a:pt x="35" y="47"/>
                </a:cubicBezTo>
                <a:moveTo>
                  <a:pt x="4" y="42"/>
                </a:moveTo>
                <a:cubicBezTo>
                  <a:pt x="3" y="41"/>
                  <a:pt x="1" y="42"/>
                  <a:pt x="2" y="42"/>
                </a:cubicBezTo>
                <a:cubicBezTo>
                  <a:pt x="2" y="43"/>
                  <a:pt x="4" y="44"/>
                  <a:pt x="5" y="43"/>
                </a:cubicBezTo>
                <a:cubicBezTo>
                  <a:pt x="5" y="43"/>
                  <a:pt x="6" y="42"/>
                  <a:pt x="5" y="42"/>
                </a:cubicBezTo>
                <a:cubicBezTo>
                  <a:pt x="5" y="41"/>
                  <a:pt x="4" y="42"/>
                  <a:pt x="4" y="42"/>
                </a:cubicBezTo>
                <a:moveTo>
                  <a:pt x="223" y="81"/>
                </a:moveTo>
                <a:cubicBezTo>
                  <a:pt x="223" y="81"/>
                  <a:pt x="221" y="81"/>
                  <a:pt x="220" y="81"/>
                </a:cubicBezTo>
                <a:cubicBezTo>
                  <a:pt x="219" y="80"/>
                  <a:pt x="217" y="83"/>
                  <a:pt x="217" y="84"/>
                </a:cubicBezTo>
                <a:cubicBezTo>
                  <a:pt x="217" y="86"/>
                  <a:pt x="214" y="87"/>
                  <a:pt x="214" y="87"/>
                </a:cubicBezTo>
                <a:cubicBezTo>
                  <a:pt x="214" y="87"/>
                  <a:pt x="207" y="87"/>
                  <a:pt x="207" y="87"/>
                </a:cubicBezTo>
                <a:cubicBezTo>
                  <a:pt x="206" y="87"/>
                  <a:pt x="205" y="89"/>
                  <a:pt x="204" y="90"/>
                </a:cubicBezTo>
                <a:cubicBezTo>
                  <a:pt x="204" y="90"/>
                  <a:pt x="204" y="90"/>
                  <a:pt x="204" y="90"/>
                </a:cubicBezTo>
                <a:cubicBezTo>
                  <a:pt x="205" y="91"/>
                  <a:pt x="202" y="92"/>
                  <a:pt x="199" y="92"/>
                </a:cubicBezTo>
                <a:cubicBezTo>
                  <a:pt x="199" y="92"/>
                  <a:pt x="198" y="92"/>
                  <a:pt x="198" y="92"/>
                </a:cubicBezTo>
                <a:cubicBezTo>
                  <a:pt x="198" y="92"/>
                  <a:pt x="198" y="93"/>
                  <a:pt x="198" y="93"/>
                </a:cubicBezTo>
                <a:cubicBezTo>
                  <a:pt x="198" y="93"/>
                  <a:pt x="198" y="93"/>
                  <a:pt x="197" y="93"/>
                </a:cubicBezTo>
                <a:cubicBezTo>
                  <a:pt x="197" y="94"/>
                  <a:pt x="194" y="96"/>
                  <a:pt x="192" y="97"/>
                </a:cubicBezTo>
                <a:cubicBezTo>
                  <a:pt x="190" y="98"/>
                  <a:pt x="188" y="97"/>
                  <a:pt x="188" y="96"/>
                </a:cubicBezTo>
                <a:cubicBezTo>
                  <a:pt x="188" y="94"/>
                  <a:pt x="189" y="94"/>
                  <a:pt x="189" y="95"/>
                </a:cubicBezTo>
                <a:cubicBezTo>
                  <a:pt x="190" y="95"/>
                  <a:pt x="190" y="95"/>
                  <a:pt x="190" y="95"/>
                </a:cubicBezTo>
                <a:cubicBezTo>
                  <a:pt x="190" y="94"/>
                  <a:pt x="190" y="94"/>
                  <a:pt x="190" y="93"/>
                </a:cubicBezTo>
                <a:cubicBezTo>
                  <a:pt x="189" y="93"/>
                  <a:pt x="190" y="91"/>
                  <a:pt x="189" y="90"/>
                </a:cubicBezTo>
                <a:cubicBezTo>
                  <a:pt x="188" y="90"/>
                  <a:pt x="187" y="92"/>
                  <a:pt x="187" y="91"/>
                </a:cubicBezTo>
                <a:cubicBezTo>
                  <a:pt x="187" y="89"/>
                  <a:pt x="189" y="88"/>
                  <a:pt x="188" y="87"/>
                </a:cubicBezTo>
                <a:cubicBezTo>
                  <a:pt x="187" y="85"/>
                  <a:pt x="185" y="85"/>
                  <a:pt x="184" y="86"/>
                </a:cubicBezTo>
                <a:cubicBezTo>
                  <a:pt x="184" y="88"/>
                  <a:pt x="182" y="87"/>
                  <a:pt x="182" y="88"/>
                </a:cubicBezTo>
                <a:cubicBezTo>
                  <a:pt x="181" y="89"/>
                  <a:pt x="181" y="91"/>
                  <a:pt x="181" y="93"/>
                </a:cubicBezTo>
                <a:cubicBezTo>
                  <a:pt x="182" y="94"/>
                  <a:pt x="181" y="95"/>
                  <a:pt x="180" y="96"/>
                </a:cubicBezTo>
                <a:cubicBezTo>
                  <a:pt x="178" y="97"/>
                  <a:pt x="178" y="95"/>
                  <a:pt x="178" y="92"/>
                </a:cubicBezTo>
                <a:cubicBezTo>
                  <a:pt x="179" y="90"/>
                  <a:pt x="180" y="88"/>
                  <a:pt x="179" y="88"/>
                </a:cubicBezTo>
                <a:cubicBezTo>
                  <a:pt x="178" y="88"/>
                  <a:pt x="180" y="86"/>
                  <a:pt x="182" y="85"/>
                </a:cubicBezTo>
                <a:cubicBezTo>
                  <a:pt x="184" y="85"/>
                  <a:pt x="187" y="85"/>
                  <a:pt x="187" y="84"/>
                </a:cubicBezTo>
                <a:cubicBezTo>
                  <a:pt x="187" y="84"/>
                  <a:pt x="187" y="84"/>
                  <a:pt x="187" y="84"/>
                </a:cubicBezTo>
                <a:cubicBezTo>
                  <a:pt x="186" y="84"/>
                  <a:pt x="186" y="83"/>
                  <a:pt x="186" y="83"/>
                </a:cubicBezTo>
                <a:cubicBezTo>
                  <a:pt x="186" y="83"/>
                  <a:pt x="185" y="83"/>
                  <a:pt x="185" y="83"/>
                </a:cubicBezTo>
                <a:cubicBezTo>
                  <a:pt x="184" y="84"/>
                  <a:pt x="185" y="82"/>
                  <a:pt x="183" y="82"/>
                </a:cubicBezTo>
                <a:cubicBezTo>
                  <a:pt x="182" y="82"/>
                  <a:pt x="180" y="84"/>
                  <a:pt x="179" y="83"/>
                </a:cubicBezTo>
                <a:cubicBezTo>
                  <a:pt x="178" y="83"/>
                  <a:pt x="179" y="82"/>
                  <a:pt x="177" y="82"/>
                </a:cubicBezTo>
                <a:cubicBezTo>
                  <a:pt x="176" y="82"/>
                  <a:pt x="178" y="80"/>
                  <a:pt x="177" y="81"/>
                </a:cubicBezTo>
                <a:cubicBezTo>
                  <a:pt x="175" y="82"/>
                  <a:pt x="173" y="84"/>
                  <a:pt x="172" y="83"/>
                </a:cubicBezTo>
                <a:cubicBezTo>
                  <a:pt x="171" y="82"/>
                  <a:pt x="170" y="83"/>
                  <a:pt x="169" y="82"/>
                </a:cubicBezTo>
                <a:cubicBezTo>
                  <a:pt x="168" y="81"/>
                  <a:pt x="172" y="79"/>
                  <a:pt x="173" y="79"/>
                </a:cubicBezTo>
                <a:cubicBezTo>
                  <a:pt x="174" y="79"/>
                  <a:pt x="174" y="79"/>
                  <a:pt x="174" y="79"/>
                </a:cubicBezTo>
                <a:cubicBezTo>
                  <a:pt x="173" y="79"/>
                  <a:pt x="172" y="78"/>
                  <a:pt x="171" y="79"/>
                </a:cubicBezTo>
                <a:cubicBezTo>
                  <a:pt x="171" y="79"/>
                  <a:pt x="170" y="79"/>
                  <a:pt x="169" y="78"/>
                </a:cubicBezTo>
                <a:cubicBezTo>
                  <a:pt x="169" y="78"/>
                  <a:pt x="168" y="78"/>
                  <a:pt x="167" y="78"/>
                </a:cubicBezTo>
                <a:cubicBezTo>
                  <a:pt x="167" y="77"/>
                  <a:pt x="166" y="77"/>
                  <a:pt x="165" y="77"/>
                </a:cubicBezTo>
                <a:cubicBezTo>
                  <a:pt x="165" y="78"/>
                  <a:pt x="164" y="77"/>
                  <a:pt x="164" y="77"/>
                </a:cubicBezTo>
                <a:cubicBezTo>
                  <a:pt x="163" y="76"/>
                  <a:pt x="163" y="76"/>
                  <a:pt x="163" y="75"/>
                </a:cubicBezTo>
                <a:cubicBezTo>
                  <a:pt x="162" y="75"/>
                  <a:pt x="162" y="76"/>
                  <a:pt x="162" y="76"/>
                </a:cubicBezTo>
                <a:cubicBezTo>
                  <a:pt x="101" y="76"/>
                  <a:pt x="101" y="76"/>
                  <a:pt x="101" y="76"/>
                </a:cubicBezTo>
                <a:cubicBezTo>
                  <a:pt x="101" y="77"/>
                  <a:pt x="101" y="77"/>
                  <a:pt x="101" y="77"/>
                </a:cubicBezTo>
                <a:cubicBezTo>
                  <a:pt x="102" y="77"/>
                  <a:pt x="101" y="78"/>
                  <a:pt x="102" y="79"/>
                </a:cubicBezTo>
                <a:cubicBezTo>
                  <a:pt x="102" y="80"/>
                  <a:pt x="102" y="81"/>
                  <a:pt x="101" y="81"/>
                </a:cubicBezTo>
                <a:cubicBezTo>
                  <a:pt x="100" y="81"/>
                  <a:pt x="100" y="80"/>
                  <a:pt x="101" y="80"/>
                </a:cubicBezTo>
                <a:cubicBezTo>
                  <a:pt x="101" y="80"/>
                  <a:pt x="101" y="79"/>
                  <a:pt x="100" y="79"/>
                </a:cubicBezTo>
                <a:cubicBezTo>
                  <a:pt x="100" y="79"/>
                  <a:pt x="100" y="78"/>
                  <a:pt x="100" y="78"/>
                </a:cubicBezTo>
                <a:cubicBezTo>
                  <a:pt x="99" y="78"/>
                  <a:pt x="98" y="78"/>
                  <a:pt x="96" y="78"/>
                </a:cubicBezTo>
                <a:cubicBezTo>
                  <a:pt x="96" y="78"/>
                  <a:pt x="96" y="78"/>
                  <a:pt x="96" y="78"/>
                </a:cubicBezTo>
                <a:cubicBezTo>
                  <a:pt x="96" y="79"/>
                  <a:pt x="97" y="80"/>
                  <a:pt x="98" y="81"/>
                </a:cubicBezTo>
                <a:cubicBezTo>
                  <a:pt x="98" y="82"/>
                  <a:pt x="98" y="83"/>
                  <a:pt x="99" y="83"/>
                </a:cubicBezTo>
                <a:cubicBezTo>
                  <a:pt x="99" y="84"/>
                  <a:pt x="99" y="84"/>
                  <a:pt x="99" y="84"/>
                </a:cubicBezTo>
                <a:cubicBezTo>
                  <a:pt x="98" y="84"/>
                  <a:pt x="98" y="84"/>
                  <a:pt x="98" y="86"/>
                </a:cubicBezTo>
                <a:cubicBezTo>
                  <a:pt x="98" y="87"/>
                  <a:pt x="98" y="90"/>
                  <a:pt x="98" y="91"/>
                </a:cubicBezTo>
                <a:cubicBezTo>
                  <a:pt x="98" y="92"/>
                  <a:pt x="96" y="94"/>
                  <a:pt x="97" y="95"/>
                </a:cubicBezTo>
                <a:cubicBezTo>
                  <a:pt x="98" y="96"/>
                  <a:pt x="98" y="97"/>
                  <a:pt x="98" y="98"/>
                </a:cubicBezTo>
                <a:cubicBezTo>
                  <a:pt x="98" y="100"/>
                  <a:pt x="98" y="100"/>
                  <a:pt x="98" y="101"/>
                </a:cubicBezTo>
                <a:cubicBezTo>
                  <a:pt x="99" y="102"/>
                  <a:pt x="98" y="104"/>
                  <a:pt x="99" y="104"/>
                </a:cubicBezTo>
                <a:cubicBezTo>
                  <a:pt x="99" y="104"/>
                  <a:pt x="100" y="105"/>
                  <a:pt x="100" y="106"/>
                </a:cubicBezTo>
                <a:cubicBezTo>
                  <a:pt x="101" y="107"/>
                  <a:pt x="102" y="106"/>
                  <a:pt x="102" y="107"/>
                </a:cubicBezTo>
                <a:cubicBezTo>
                  <a:pt x="102" y="108"/>
                  <a:pt x="102" y="108"/>
                  <a:pt x="102" y="109"/>
                </a:cubicBezTo>
                <a:cubicBezTo>
                  <a:pt x="103" y="109"/>
                  <a:pt x="103" y="110"/>
                  <a:pt x="103" y="110"/>
                </a:cubicBezTo>
                <a:cubicBezTo>
                  <a:pt x="103" y="111"/>
                  <a:pt x="104" y="112"/>
                  <a:pt x="105" y="113"/>
                </a:cubicBezTo>
                <a:cubicBezTo>
                  <a:pt x="106" y="114"/>
                  <a:pt x="105" y="115"/>
                  <a:pt x="106" y="115"/>
                </a:cubicBezTo>
                <a:cubicBezTo>
                  <a:pt x="107" y="115"/>
                  <a:pt x="108" y="115"/>
                  <a:pt x="109" y="116"/>
                </a:cubicBezTo>
                <a:cubicBezTo>
                  <a:pt x="110" y="117"/>
                  <a:pt x="110" y="116"/>
                  <a:pt x="111" y="116"/>
                </a:cubicBezTo>
                <a:cubicBezTo>
                  <a:pt x="111" y="117"/>
                  <a:pt x="113" y="118"/>
                  <a:pt x="113" y="119"/>
                </a:cubicBezTo>
                <a:cubicBezTo>
                  <a:pt x="113" y="119"/>
                  <a:pt x="113" y="120"/>
                  <a:pt x="113" y="120"/>
                </a:cubicBezTo>
                <a:cubicBezTo>
                  <a:pt x="118" y="120"/>
                  <a:pt x="118" y="120"/>
                  <a:pt x="118" y="120"/>
                </a:cubicBezTo>
                <a:cubicBezTo>
                  <a:pt x="118" y="120"/>
                  <a:pt x="120" y="121"/>
                  <a:pt x="121" y="121"/>
                </a:cubicBezTo>
                <a:cubicBezTo>
                  <a:pt x="122" y="121"/>
                  <a:pt x="127" y="123"/>
                  <a:pt x="127" y="123"/>
                </a:cubicBezTo>
                <a:cubicBezTo>
                  <a:pt x="133" y="123"/>
                  <a:pt x="133" y="123"/>
                  <a:pt x="133" y="123"/>
                </a:cubicBezTo>
                <a:cubicBezTo>
                  <a:pt x="134" y="122"/>
                  <a:pt x="134" y="122"/>
                  <a:pt x="134" y="122"/>
                </a:cubicBezTo>
                <a:cubicBezTo>
                  <a:pt x="137" y="122"/>
                  <a:pt x="137" y="122"/>
                  <a:pt x="137" y="122"/>
                </a:cubicBezTo>
                <a:cubicBezTo>
                  <a:pt x="137" y="122"/>
                  <a:pt x="139" y="124"/>
                  <a:pt x="140" y="124"/>
                </a:cubicBezTo>
                <a:cubicBezTo>
                  <a:pt x="140" y="124"/>
                  <a:pt x="141" y="125"/>
                  <a:pt x="141" y="126"/>
                </a:cubicBezTo>
                <a:cubicBezTo>
                  <a:pt x="141" y="126"/>
                  <a:pt x="141" y="127"/>
                  <a:pt x="142" y="127"/>
                </a:cubicBezTo>
                <a:cubicBezTo>
                  <a:pt x="142" y="128"/>
                  <a:pt x="144" y="129"/>
                  <a:pt x="144" y="129"/>
                </a:cubicBezTo>
                <a:cubicBezTo>
                  <a:pt x="145" y="128"/>
                  <a:pt x="145" y="126"/>
                  <a:pt x="146" y="127"/>
                </a:cubicBezTo>
                <a:cubicBezTo>
                  <a:pt x="147" y="127"/>
                  <a:pt x="150" y="127"/>
                  <a:pt x="150" y="129"/>
                </a:cubicBezTo>
                <a:cubicBezTo>
                  <a:pt x="150" y="130"/>
                  <a:pt x="152" y="131"/>
                  <a:pt x="152" y="132"/>
                </a:cubicBezTo>
                <a:cubicBezTo>
                  <a:pt x="153" y="132"/>
                  <a:pt x="152" y="133"/>
                  <a:pt x="153" y="133"/>
                </a:cubicBezTo>
                <a:cubicBezTo>
                  <a:pt x="153" y="134"/>
                  <a:pt x="153" y="135"/>
                  <a:pt x="153" y="135"/>
                </a:cubicBezTo>
                <a:cubicBezTo>
                  <a:pt x="154" y="135"/>
                  <a:pt x="156" y="136"/>
                  <a:pt x="156" y="136"/>
                </a:cubicBezTo>
                <a:cubicBezTo>
                  <a:pt x="157" y="136"/>
                  <a:pt x="157" y="136"/>
                  <a:pt x="157" y="136"/>
                </a:cubicBezTo>
                <a:cubicBezTo>
                  <a:pt x="157" y="135"/>
                  <a:pt x="156" y="134"/>
                  <a:pt x="157" y="133"/>
                </a:cubicBezTo>
                <a:cubicBezTo>
                  <a:pt x="158" y="132"/>
                  <a:pt x="157" y="132"/>
                  <a:pt x="157" y="131"/>
                </a:cubicBezTo>
                <a:cubicBezTo>
                  <a:pt x="158" y="131"/>
                  <a:pt x="159" y="131"/>
                  <a:pt x="159" y="130"/>
                </a:cubicBezTo>
                <a:cubicBezTo>
                  <a:pt x="159" y="129"/>
                  <a:pt x="159" y="129"/>
                  <a:pt x="160" y="129"/>
                </a:cubicBezTo>
                <a:cubicBezTo>
                  <a:pt x="161" y="130"/>
                  <a:pt x="162" y="128"/>
                  <a:pt x="162" y="128"/>
                </a:cubicBezTo>
                <a:cubicBezTo>
                  <a:pt x="162" y="127"/>
                  <a:pt x="162" y="127"/>
                  <a:pt x="163" y="127"/>
                </a:cubicBezTo>
                <a:cubicBezTo>
                  <a:pt x="164" y="127"/>
                  <a:pt x="164" y="126"/>
                  <a:pt x="165" y="126"/>
                </a:cubicBezTo>
                <a:cubicBezTo>
                  <a:pt x="165" y="127"/>
                  <a:pt x="166" y="127"/>
                  <a:pt x="166" y="126"/>
                </a:cubicBezTo>
                <a:cubicBezTo>
                  <a:pt x="166" y="126"/>
                  <a:pt x="167" y="126"/>
                  <a:pt x="167" y="127"/>
                </a:cubicBezTo>
                <a:cubicBezTo>
                  <a:pt x="167" y="127"/>
                  <a:pt x="169" y="127"/>
                  <a:pt x="169" y="127"/>
                </a:cubicBezTo>
                <a:cubicBezTo>
                  <a:pt x="169" y="126"/>
                  <a:pt x="170" y="127"/>
                  <a:pt x="170" y="127"/>
                </a:cubicBezTo>
                <a:cubicBezTo>
                  <a:pt x="171" y="128"/>
                  <a:pt x="171" y="128"/>
                  <a:pt x="172" y="128"/>
                </a:cubicBezTo>
                <a:cubicBezTo>
                  <a:pt x="173" y="128"/>
                  <a:pt x="173" y="128"/>
                  <a:pt x="173" y="127"/>
                </a:cubicBezTo>
                <a:cubicBezTo>
                  <a:pt x="173" y="127"/>
                  <a:pt x="174" y="128"/>
                  <a:pt x="175" y="129"/>
                </a:cubicBezTo>
                <a:cubicBezTo>
                  <a:pt x="176" y="129"/>
                  <a:pt x="175" y="128"/>
                  <a:pt x="175" y="127"/>
                </a:cubicBezTo>
                <a:cubicBezTo>
                  <a:pt x="174" y="127"/>
                  <a:pt x="175" y="127"/>
                  <a:pt x="174" y="126"/>
                </a:cubicBezTo>
                <a:cubicBezTo>
                  <a:pt x="174" y="126"/>
                  <a:pt x="175" y="125"/>
                  <a:pt x="176" y="125"/>
                </a:cubicBezTo>
                <a:cubicBezTo>
                  <a:pt x="177" y="125"/>
                  <a:pt x="177" y="126"/>
                  <a:pt x="178" y="125"/>
                </a:cubicBezTo>
                <a:cubicBezTo>
                  <a:pt x="178" y="124"/>
                  <a:pt x="178" y="125"/>
                  <a:pt x="178" y="125"/>
                </a:cubicBezTo>
                <a:cubicBezTo>
                  <a:pt x="178" y="126"/>
                  <a:pt x="180" y="125"/>
                  <a:pt x="181" y="125"/>
                </a:cubicBezTo>
                <a:cubicBezTo>
                  <a:pt x="182" y="125"/>
                  <a:pt x="183" y="126"/>
                  <a:pt x="183" y="127"/>
                </a:cubicBezTo>
                <a:cubicBezTo>
                  <a:pt x="184" y="127"/>
                  <a:pt x="184" y="127"/>
                  <a:pt x="185" y="127"/>
                </a:cubicBezTo>
                <a:cubicBezTo>
                  <a:pt x="186" y="126"/>
                  <a:pt x="186" y="125"/>
                  <a:pt x="187" y="126"/>
                </a:cubicBezTo>
                <a:cubicBezTo>
                  <a:pt x="188" y="127"/>
                  <a:pt x="188" y="128"/>
                  <a:pt x="189" y="129"/>
                </a:cubicBezTo>
                <a:cubicBezTo>
                  <a:pt x="190" y="129"/>
                  <a:pt x="189" y="130"/>
                  <a:pt x="189" y="131"/>
                </a:cubicBezTo>
                <a:cubicBezTo>
                  <a:pt x="190" y="132"/>
                  <a:pt x="189" y="133"/>
                  <a:pt x="190" y="133"/>
                </a:cubicBezTo>
                <a:cubicBezTo>
                  <a:pt x="191" y="134"/>
                  <a:pt x="190" y="135"/>
                  <a:pt x="191" y="136"/>
                </a:cubicBezTo>
                <a:cubicBezTo>
                  <a:pt x="192" y="136"/>
                  <a:pt x="193" y="137"/>
                  <a:pt x="193" y="137"/>
                </a:cubicBezTo>
                <a:cubicBezTo>
                  <a:pt x="193" y="138"/>
                  <a:pt x="194" y="139"/>
                  <a:pt x="194" y="138"/>
                </a:cubicBezTo>
                <a:cubicBezTo>
                  <a:pt x="194" y="137"/>
                  <a:pt x="195" y="136"/>
                  <a:pt x="195" y="135"/>
                </a:cubicBezTo>
                <a:cubicBezTo>
                  <a:pt x="195" y="134"/>
                  <a:pt x="195" y="132"/>
                  <a:pt x="194" y="131"/>
                </a:cubicBezTo>
                <a:cubicBezTo>
                  <a:pt x="193" y="130"/>
                  <a:pt x="194" y="130"/>
                  <a:pt x="193" y="129"/>
                </a:cubicBezTo>
                <a:cubicBezTo>
                  <a:pt x="193" y="128"/>
                  <a:pt x="192" y="126"/>
                  <a:pt x="192" y="124"/>
                </a:cubicBezTo>
                <a:cubicBezTo>
                  <a:pt x="192" y="123"/>
                  <a:pt x="194" y="120"/>
                  <a:pt x="195" y="120"/>
                </a:cubicBezTo>
                <a:cubicBezTo>
                  <a:pt x="196" y="119"/>
                  <a:pt x="197" y="119"/>
                  <a:pt x="197" y="119"/>
                </a:cubicBezTo>
                <a:cubicBezTo>
                  <a:pt x="197" y="118"/>
                  <a:pt x="198" y="117"/>
                  <a:pt x="199" y="117"/>
                </a:cubicBezTo>
                <a:cubicBezTo>
                  <a:pt x="199" y="117"/>
                  <a:pt x="200" y="117"/>
                  <a:pt x="200" y="116"/>
                </a:cubicBezTo>
                <a:cubicBezTo>
                  <a:pt x="200" y="116"/>
                  <a:pt x="201" y="115"/>
                  <a:pt x="202" y="115"/>
                </a:cubicBezTo>
                <a:cubicBezTo>
                  <a:pt x="204" y="114"/>
                  <a:pt x="203" y="114"/>
                  <a:pt x="202" y="113"/>
                </a:cubicBezTo>
                <a:cubicBezTo>
                  <a:pt x="202" y="113"/>
                  <a:pt x="203" y="112"/>
                  <a:pt x="203" y="112"/>
                </a:cubicBezTo>
                <a:cubicBezTo>
                  <a:pt x="203" y="113"/>
                  <a:pt x="204" y="113"/>
                  <a:pt x="205" y="113"/>
                </a:cubicBezTo>
                <a:cubicBezTo>
                  <a:pt x="205" y="112"/>
                  <a:pt x="206" y="111"/>
                  <a:pt x="205" y="111"/>
                </a:cubicBezTo>
                <a:cubicBezTo>
                  <a:pt x="204" y="111"/>
                  <a:pt x="204" y="111"/>
                  <a:pt x="204" y="110"/>
                </a:cubicBezTo>
                <a:cubicBezTo>
                  <a:pt x="205" y="110"/>
                  <a:pt x="204" y="109"/>
                  <a:pt x="204" y="109"/>
                </a:cubicBezTo>
                <a:cubicBezTo>
                  <a:pt x="203" y="109"/>
                  <a:pt x="203" y="108"/>
                  <a:pt x="204" y="108"/>
                </a:cubicBezTo>
                <a:cubicBezTo>
                  <a:pt x="204" y="107"/>
                  <a:pt x="203" y="106"/>
                  <a:pt x="202" y="106"/>
                </a:cubicBezTo>
                <a:cubicBezTo>
                  <a:pt x="201" y="106"/>
                  <a:pt x="202" y="105"/>
                  <a:pt x="203" y="105"/>
                </a:cubicBezTo>
                <a:cubicBezTo>
                  <a:pt x="203" y="105"/>
                  <a:pt x="203" y="103"/>
                  <a:pt x="203" y="102"/>
                </a:cubicBezTo>
                <a:cubicBezTo>
                  <a:pt x="204" y="102"/>
                  <a:pt x="204" y="102"/>
                  <a:pt x="204" y="102"/>
                </a:cubicBezTo>
                <a:cubicBezTo>
                  <a:pt x="204" y="103"/>
                  <a:pt x="203" y="104"/>
                  <a:pt x="204" y="104"/>
                </a:cubicBezTo>
                <a:cubicBezTo>
                  <a:pt x="205" y="105"/>
                  <a:pt x="205" y="106"/>
                  <a:pt x="204" y="107"/>
                </a:cubicBezTo>
                <a:cubicBezTo>
                  <a:pt x="204" y="108"/>
                  <a:pt x="205" y="108"/>
                  <a:pt x="205" y="106"/>
                </a:cubicBezTo>
                <a:cubicBezTo>
                  <a:pt x="206" y="105"/>
                  <a:pt x="206" y="104"/>
                  <a:pt x="206" y="104"/>
                </a:cubicBezTo>
                <a:cubicBezTo>
                  <a:pt x="205" y="103"/>
                  <a:pt x="205" y="102"/>
                  <a:pt x="206" y="103"/>
                </a:cubicBezTo>
                <a:cubicBezTo>
                  <a:pt x="206" y="103"/>
                  <a:pt x="207" y="103"/>
                  <a:pt x="207" y="103"/>
                </a:cubicBezTo>
                <a:cubicBezTo>
                  <a:pt x="208" y="102"/>
                  <a:pt x="209" y="100"/>
                  <a:pt x="209" y="100"/>
                </a:cubicBezTo>
                <a:cubicBezTo>
                  <a:pt x="208" y="99"/>
                  <a:pt x="209" y="99"/>
                  <a:pt x="210" y="99"/>
                </a:cubicBezTo>
                <a:cubicBezTo>
                  <a:pt x="211" y="99"/>
                  <a:pt x="213" y="99"/>
                  <a:pt x="213" y="98"/>
                </a:cubicBezTo>
                <a:cubicBezTo>
                  <a:pt x="214" y="97"/>
                  <a:pt x="210" y="99"/>
                  <a:pt x="210" y="98"/>
                </a:cubicBezTo>
                <a:cubicBezTo>
                  <a:pt x="210" y="98"/>
                  <a:pt x="212" y="97"/>
                  <a:pt x="213" y="97"/>
                </a:cubicBezTo>
                <a:cubicBezTo>
                  <a:pt x="214" y="97"/>
                  <a:pt x="214" y="96"/>
                  <a:pt x="214" y="96"/>
                </a:cubicBezTo>
                <a:cubicBezTo>
                  <a:pt x="215" y="97"/>
                  <a:pt x="216" y="97"/>
                  <a:pt x="216" y="96"/>
                </a:cubicBezTo>
                <a:cubicBezTo>
                  <a:pt x="217" y="96"/>
                  <a:pt x="216" y="95"/>
                  <a:pt x="216" y="95"/>
                </a:cubicBezTo>
                <a:cubicBezTo>
                  <a:pt x="215" y="94"/>
                  <a:pt x="216" y="94"/>
                  <a:pt x="216" y="93"/>
                </a:cubicBezTo>
                <a:cubicBezTo>
                  <a:pt x="216" y="93"/>
                  <a:pt x="216" y="91"/>
                  <a:pt x="217" y="91"/>
                </a:cubicBezTo>
                <a:cubicBezTo>
                  <a:pt x="218" y="91"/>
                  <a:pt x="218" y="90"/>
                  <a:pt x="219" y="90"/>
                </a:cubicBezTo>
                <a:cubicBezTo>
                  <a:pt x="219" y="90"/>
                  <a:pt x="220" y="89"/>
                  <a:pt x="220" y="89"/>
                </a:cubicBezTo>
                <a:cubicBezTo>
                  <a:pt x="221" y="88"/>
                  <a:pt x="222" y="90"/>
                  <a:pt x="223" y="89"/>
                </a:cubicBezTo>
                <a:cubicBezTo>
                  <a:pt x="223" y="88"/>
                  <a:pt x="224" y="88"/>
                  <a:pt x="225" y="88"/>
                </a:cubicBezTo>
                <a:cubicBezTo>
                  <a:pt x="222" y="84"/>
                  <a:pt x="223" y="82"/>
                  <a:pt x="223" y="8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61"/>
          <p:cNvSpPr>
            <a:spLocks noEditPoints="1"/>
          </p:cNvSpPr>
          <p:nvPr/>
        </p:nvSpPr>
        <p:spPr bwMode="auto">
          <a:xfrm>
            <a:off x="2097871" y="2778471"/>
            <a:ext cx="142994" cy="96521"/>
          </a:xfrm>
          <a:custGeom>
            <a:avLst/>
            <a:gdLst>
              <a:gd name="T0" fmla="*/ 28 w 29"/>
              <a:gd name="T1" fmla="*/ 3 h 20"/>
              <a:gd name="T2" fmla="*/ 26 w 29"/>
              <a:gd name="T3" fmla="*/ 3 h 20"/>
              <a:gd name="T4" fmla="*/ 23 w 29"/>
              <a:gd name="T5" fmla="*/ 3 h 20"/>
              <a:gd name="T6" fmla="*/ 22 w 29"/>
              <a:gd name="T7" fmla="*/ 2 h 20"/>
              <a:gd name="T8" fmla="*/ 21 w 29"/>
              <a:gd name="T9" fmla="*/ 3 h 20"/>
              <a:gd name="T10" fmla="*/ 18 w 29"/>
              <a:gd name="T11" fmla="*/ 2 h 20"/>
              <a:gd name="T12" fmla="*/ 17 w 29"/>
              <a:gd name="T13" fmla="*/ 1 h 20"/>
              <a:gd name="T14" fmla="*/ 13 w 29"/>
              <a:gd name="T15" fmla="*/ 0 h 20"/>
              <a:gd name="T16" fmla="*/ 6 w 29"/>
              <a:gd name="T17" fmla="*/ 0 h 20"/>
              <a:gd name="T18" fmla="*/ 3 w 29"/>
              <a:gd name="T19" fmla="*/ 0 h 20"/>
              <a:gd name="T20" fmla="*/ 2 w 29"/>
              <a:gd name="T21" fmla="*/ 1 h 20"/>
              <a:gd name="T22" fmla="*/ 1 w 29"/>
              <a:gd name="T23" fmla="*/ 2 h 20"/>
              <a:gd name="T24" fmla="*/ 1 w 29"/>
              <a:gd name="T25" fmla="*/ 5 h 20"/>
              <a:gd name="T26" fmla="*/ 2 w 29"/>
              <a:gd name="T27" fmla="*/ 4 h 20"/>
              <a:gd name="T28" fmla="*/ 3 w 29"/>
              <a:gd name="T29" fmla="*/ 4 h 20"/>
              <a:gd name="T30" fmla="*/ 4 w 29"/>
              <a:gd name="T31" fmla="*/ 5 h 20"/>
              <a:gd name="T32" fmla="*/ 5 w 29"/>
              <a:gd name="T33" fmla="*/ 5 h 20"/>
              <a:gd name="T34" fmla="*/ 6 w 29"/>
              <a:gd name="T35" fmla="*/ 5 h 20"/>
              <a:gd name="T36" fmla="*/ 7 w 29"/>
              <a:gd name="T37" fmla="*/ 6 h 20"/>
              <a:gd name="T38" fmla="*/ 6 w 29"/>
              <a:gd name="T39" fmla="*/ 7 h 20"/>
              <a:gd name="T40" fmla="*/ 6 w 29"/>
              <a:gd name="T41" fmla="*/ 9 h 20"/>
              <a:gd name="T42" fmla="*/ 5 w 29"/>
              <a:gd name="T43" fmla="*/ 11 h 20"/>
              <a:gd name="T44" fmla="*/ 5 w 29"/>
              <a:gd name="T45" fmla="*/ 12 h 20"/>
              <a:gd name="T46" fmla="*/ 5 w 29"/>
              <a:gd name="T47" fmla="*/ 13 h 20"/>
              <a:gd name="T48" fmla="*/ 5 w 29"/>
              <a:gd name="T49" fmla="*/ 14 h 20"/>
              <a:gd name="T50" fmla="*/ 5 w 29"/>
              <a:gd name="T51" fmla="*/ 15 h 20"/>
              <a:gd name="T52" fmla="*/ 4 w 29"/>
              <a:gd name="T53" fmla="*/ 16 h 20"/>
              <a:gd name="T54" fmla="*/ 5 w 29"/>
              <a:gd name="T55" fmla="*/ 17 h 20"/>
              <a:gd name="T56" fmla="*/ 6 w 29"/>
              <a:gd name="T57" fmla="*/ 17 h 20"/>
              <a:gd name="T58" fmla="*/ 9 w 29"/>
              <a:gd name="T59" fmla="*/ 20 h 20"/>
              <a:gd name="T60" fmla="*/ 9 w 29"/>
              <a:gd name="T61" fmla="*/ 19 h 20"/>
              <a:gd name="T62" fmla="*/ 10 w 29"/>
              <a:gd name="T63" fmla="*/ 19 h 20"/>
              <a:gd name="T64" fmla="*/ 12 w 29"/>
              <a:gd name="T65" fmla="*/ 18 h 20"/>
              <a:gd name="T66" fmla="*/ 15 w 29"/>
              <a:gd name="T67" fmla="*/ 18 h 20"/>
              <a:gd name="T68" fmla="*/ 17 w 29"/>
              <a:gd name="T69" fmla="*/ 17 h 20"/>
              <a:gd name="T70" fmla="*/ 19 w 29"/>
              <a:gd name="T71" fmla="*/ 16 h 20"/>
              <a:gd name="T72" fmla="*/ 19 w 29"/>
              <a:gd name="T73" fmla="*/ 15 h 20"/>
              <a:gd name="T74" fmla="*/ 21 w 29"/>
              <a:gd name="T75" fmla="*/ 13 h 20"/>
              <a:gd name="T76" fmla="*/ 21 w 29"/>
              <a:gd name="T77" fmla="*/ 10 h 20"/>
              <a:gd name="T78" fmla="*/ 23 w 29"/>
              <a:gd name="T79" fmla="*/ 8 h 20"/>
              <a:gd name="T80" fmla="*/ 25 w 29"/>
              <a:gd name="T81" fmla="*/ 6 h 20"/>
              <a:gd name="T82" fmla="*/ 27 w 29"/>
              <a:gd name="T83" fmla="*/ 5 h 20"/>
              <a:gd name="T84" fmla="*/ 28 w 29"/>
              <a:gd name="T85" fmla="*/ 3 h 20"/>
              <a:gd name="T86" fmla="*/ 28 w 29"/>
              <a:gd name="T87" fmla="*/ 10 h 20"/>
              <a:gd name="T88" fmla="*/ 27 w 29"/>
              <a:gd name="T89" fmla="*/ 11 h 20"/>
              <a:gd name="T90" fmla="*/ 28 w 29"/>
              <a:gd name="T9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0">
                <a:moveTo>
                  <a:pt x="28" y="3"/>
                </a:moveTo>
                <a:cubicBezTo>
                  <a:pt x="27" y="3"/>
                  <a:pt x="27" y="3"/>
                  <a:pt x="26" y="3"/>
                </a:cubicBezTo>
                <a:cubicBezTo>
                  <a:pt x="25" y="3"/>
                  <a:pt x="24" y="3"/>
                  <a:pt x="23" y="3"/>
                </a:cubicBezTo>
                <a:cubicBezTo>
                  <a:pt x="23" y="2"/>
                  <a:pt x="22" y="2"/>
                  <a:pt x="22" y="2"/>
                </a:cubicBezTo>
                <a:cubicBezTo>
                  <a:pt x="22" y="3"/>
                  <a:pt x="21" y="3"/>
                  <a:pt x="21" y="3"/>
                </a:cubicBezTo>
                <a:cubicBezTo>
                  <a:pt x="20" y="2"/>
                  <a:pt x="19" y="2"/>
                  <a:pt x="18" y="2"/>
                </a:cubicBezTo>
                <a:cubicBezTo>
                  <a:pt x="18" y="1"/>
                  <a:pt x="18" y="1"/>
                  <a:pt x="17" y="1"/>
                </a:cubicBezTo>
                <a:cubicBezTo>
                  <a:pt x="17" y="1"/>
                  <a:pt x="15" y="0"/>
                  <a:pt x="13" y="0"/>
                </a:cubicBezTo>
                <a:cubicBezTo>
                  <a:pt x="12" y="1"/>
                  <a:pt x="8" y="0"/>
                  <a:pt x="6" y="0"/>
                </a:cubicBezTo>
                <a:cubicBezTo>
                  <a:pt x="4" y="1"/>
                  <a:pt x="4" y="0"/>
                  <a:pt x="3" y="0"/>
                </a:cubicBezTo>
                <a:cubicBezTo>
                  <a:pt x="2" y="0"/>
                  <a:pt x="3" y="1"/>
                  <a:pt x="2" y="1"/>
                </a:cubicBezTo>
                <a:cubicBezTo>
                  <a:pt x="0" y="1"/>
                  <a:pt x="0" y="2"/>
                  <a:pt x="1" y="2"/>
                </a:cubicBezTo>
                <a:cubicBezTo>
                  <a:pt x="2" y="3"/>
                  <a:pt x="2" y="4"/>
                  <a:pt x="1" y="5"/>
                </a:cubicBezTo>
                <a:cubicBezTo>
                  <a:pt x="2" y="5"/>
                  <a:pt x="2" y="5"/>
                  <a:pt x="2" y="4"/>
                </a:cubicBezTo>
                <a:cubicBezTo>
                  <a:pt x="2" y="4"/>
                  <a:pt x="3" y="4"/>
                  <a:pt x="3" y="4"/>
                </a:cubicBezTo>
                <a:cubicBezTo>
                  <a:pt x="3" y="5"/>
                  <a:pt x="4" y="5"/>
                  <a:pt x="4" y="5"/>
                </a:cubicBezTo>
                <a:cubicBezTo>
                  <a:pt x="5" y="5"/>
                  <a:pt x="5" y="5"/>
                  <a:pt x="5" y="5"/>
                </a:cubicBezTo>
                <a:cubicBezTo>
                  <a:pt x="6" y="4"/>
                  <a:pt x="6" y="5"/>
                  <a:pt x="6" y="5"/>
                </a:cubicBezTo>
                <a:cubicBezTo>
                  <a:pt x="6" y="6"/>
                  <a:pt x="8" y="5"/>
                  <a:pt x="7" y="6"/>
                </a:cubicBezTo>
                <a:cubicBezTo>
                  <a:pt x="6" y="7"/>
                  <a:pt x="6" y="7"/>
                  <a:pt x="6" y="7"/>
                </a:cubicBezTo>
                <a:cubicBezTo>
                  <a:pt x="6" y="8"/>
                  <a:pt x="6" y="9"/>
                  <a:pt x="6" y="9"/>
                </a:cubicBezTo>
                <a:cubicBezTo>
                  <a:pt x="5" y="10"/>
                  <a:pt x="6" y="11"/>
                  <a:pt x="5" y="11"/>
                </a:cubicBezTo>
                <a:cubicBezTo>
                  <a:pt x="5" y="11"/>
                  <a:pt x="4" y="11"/>
                  <a:pt x="5" y="12"/>
                </a:cubicBezTo>
                <a:cubicBezTo>
                  <a:pt x="5" y="12"/>
                  <a:pt x="6" y="13"/>
                  <a:pt x="5" y="13"/>
                </a:cubicBezTo>
                <a:cubicBezTo>
                  <a:pt x="5" y="13"/>
                  <a:pt x="5" y="14"/>
                  <a:pt x="5" y="14"/>
                </a:cubicBezTo>
                <a:cubicBezTo>
                  <a:pt x="5" y="14"/>
                  <a:pt x="6" y="15"/>
                  <a:pt x="5" y="15"/>
                </a:cubicBezTo>
                <a:cubicBezTo>
                  <a:pt x="4" y="15"/>
                  <a:pt x="4" y="16"/>
                  <a:pt x="4" y="16"/>
                </a:cubicBezTo>
                <a:cubicBezTo>
                  <a:pt x="4" y="17"/>
                  <a:pt x="5" y="17"/>
                  <a:pt x="5" y="17"/>
                </a:cubicBezTo>
                <a:cubicBezTo>
                  <a:pt x="5" y="17"/>
                  <a:pt x="6" y="17"/>
                  <a:pt x="6" y="17"/>
                </a:cubicBezTo>
                <a:cubicBezTo>
                  <a:pt x="7" y="18"/>
                  <a:pt x="7" y="20"/>
                  <a:pt x="9" y="20"/>
                </a:cubicBezTo>
                <a:cubicBezTo>
                  <a:pt x="9" y="20"/>
                  <a:pt x="9" y="19"/>
                  <a:pt x="9" y="19"/>
                </a:cubicBezTo>
                <a:cubicBezTo>
                  <a:pt x="9" y="19"/>
                  <a:pt x="10" y="19"/>
                  <a:pt x="10" y="19"/>
                </a:cubicBezTo>
                <a:cubicBezTo>
                  <a:pt x="11" y="19"/>
                  <a:pt x="11" y="18"/>
                  <a:pt x="12" y="18"/>
                </a:cubicBezTo>
                <a:cubicBezTo>
                  <a:pt x="14" y="18"/>
                  <a:pt x="14" y="18"/>
                  <a:pt x="15" y="18"/>
                </a:cubicBezTo>
                <a:cubicBezTo>
                  <a:pt x="16" y="18"/>
                  <a:pt x="17" y="18"/>
                  <a:pt x="17" y="17"/>
                </a:cubicBezTo>
                <a:cubicBezTo>
                  <a:pt x="17" y="17"/>
                  <a:pt x="18" y="16"/>
                  <a:pt x="19" y="16"/>
                </a:cubicBezTo>
                <a:cubicBezTo>
                  <a:pt x="19" y="16"/>
                  <a:pt x="19" y="15"/>
                  <a:pt x="19" y="15"/>
                </a:cubicBezTo>
                <a:cubicBezTo>
                  <a:pt x="19" y="14"/>
                  <a:pt x="21" y="13"/>
                  <a:pt x="21" y="13"/>
                </a:cubicBezTo>
                <a:cubicBezTo>
                  <a:pt x="21" y="13"/>
                  <a:pt x="20" y="11"/>
                  <a:pt x="21" y="10"/>
                </a:cubicBezTo>
                <a:cubicBezTo>
                  <a:pt x="22" y="8"/>
                  <a:pt x="23" y="8"/>
                  <a:pt x="23" y="8"/>
                </a:cubicBezTo>
                <a:cubicBezTo>
                  <a:pt x="23" y="7"/>
                  <a:pt x="24" y="7"/>
                  <a:pt x="25" y="6"/>
                </a:cubicBezTo>
                <a:cubicBezTo>
                  <a:pt x="26" y="6"/>
                  <a:pt x="26" y="6"/>
                  <a:pt x="27" y="5"/>
                </a:cubicBezTo>
                <a:cubicBezTo>
                  <a:pt x="28" y="5"/>
                  <a:pt x="28" y="4"/>
                  <a:pt x="28" y="3"/>
                </a:cubicBezTo>
                <a:moveTo>
                  <a:pt x="28" y="10"/>
                </a:moveTo>
                <a:cubicBezTo>
                  <a:pt x="28" y="9"/>
                  <a:pt x="26" y="11"/>
                  <a:pt x="27" y="11"/>
                </a:cubicBezTo>
                <a:cubicBezTo>
                  <a:pt x="27" y="12"/>
                  <a:pt x="29" y="12"/>
                  <a:pt x="2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62"/>
          <p:cNvSpPr>
            <a:spLocks/>
          </p:cNvSpPr>
          <p:nvPr/>
        </p:nvSpPr>
        <p:spPr bwMode="auto">
          <a:xfrm>
            <a:off x="2340960" y="2735573"/>
            <a:ext cx="32174" cy="17874"/>
          </a:xfrm>
          <a:custGeom>
            <a:avLst/>
            <a:gdLst>
              <a:gd name="T0" fmla="*/ 0 w 7"/>
              <a:gd name="T1" fmla="*/ 4 h 4"/>
              <a:gd name="T2" fmla="*/ 1 w 7"/>
              <a:gd name="T3" fmla="*/ 3 h 4"/>
              <a:gd name="T4" fmla="*/ 1 w 7"/>
              <a:gd name="T5" fmla="*/ 4 h 4"/>
              <a:gd name="T6" fmla="*/ 3 w 7"/>
              <a:gd name="T7" fmla="*/ 4 h 4"/>
              <a:gd name="T8" fmla="*/ 4 w 7"/>
              <a:gd name="T9" fmla="*/ 4 h 4"/>
              <a:gd name="T10" fmla="*/ 5 w 7"/>
              <a:gd name="T11" fmla="*/ 3 h 4"/>
              <a:gd name="T12" fmla="*/ 6 w 7"/>
              <a:gd name="T13" fmla="*/ 2 h 4"/>
              <a:gd name="T14" fmla="*/ 7 w 7"/>
              <a:gd name="T15" fmla="*/ 1 h 4"/>
              <a:gd name="T16" fmla="*/ 6 w 7"/>
              <a:gd name="T17" fmla="*/ 0 h 4"/>
              <a:gd name="T18" fmla="*/ 5 w 7"/>
              <a:gd name="T19" fmla="*/ 1 h 4"/>
              <a:gd name="T20" fmla="*/ 3 w 7"/>
              <a:gd name="T21" fmla="*/ 1 h 4"/>
              <a:gd name="T22" fmla="*/ 1 w 7"/>
              <a:gd name="T23" fmla="*/ 1 h 4"/>
              <a:gd name="T24" fmla="*/ 0 w 7"/>
              <a:gd name="T25" fmla="*/ 1 h 4"/>
              <a:gd name="T26" fmla="*/ 0 w 7"/>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0" y="4"/>
                </a:moveTo>
                <a:cubicBezTo>
                  <a:pt x="0" y="3"/>
                  <a:pt x="1" y="3"/>
                  <a:pt x="1" y="3"/>
                </a:cubicBezTo>
                <a:cubicBezTo>
                  <a:pt x="1" y="4"/>
                  <a:pt x="1" y="4"/>
                  <a:pt x="1" y="4"/>
                </a:cubicBezTo>
                <a:cubicBezTo>
                  <a:pt x="2" y="4"/>
                  <a:pt x="3" y="4"/>
                  <a:pt x="3" y="4"/>
                </a:cubicBezTo>
                <a:cubicBezTo>
                  <a:pt x="3" y="4"/>
                  <a:pt x="4" y="4"/>
                  <a:pt x="4" y="4"/>
                </a:cubicBezTo>
                <a:cubicBezTo>
                  <a:pt x="4" y="4"/>
                  <a:pt x="5" y="3"/>
                  <a:pt x="5" y="3"/>
                </a:cubicBezTo>
                <a:cubicBezTo>
                  <a:pt x="5" y="3"/>
                  <a:pt x="5" y="2"/>
                  <a:pt x="6" y="2"/>
                </a:cubicBezTo>
                <a:cubicBezTo>
                  <a:pt x="6" y="2"/>
                  <a:pt x="7" y="1"/>
                  <a:pt x="7" y="1"/>
                </a:cubicBezTo>
                <a:cubicBezTo>
                  <a:pt x="7" y="1"/>
                  <a:pt x="7" y="0"/>
                  <a:pt x="6" y="0"/>
                </a:cubicBezTo>
                <a:cubicBezTo>
                  <a:pt x="6" y="0"/>
                  <a:pt x="6" y="1"/>
                  <a:pt x="5" y="1"/>
                </a:cubicBezTo>
                <a:cubicBezTo>
                  <a:pt x="4" y="1"/>
                  <a:pt x="3" y="1"/>
                  <a:pt x="3" y="1"/>
                </a:cubicBezTo>
                <a:cubicBezTo>
                  <a:pt x="3" y="1"/>
                  <a:pt x="1" y="1"/>
                  <a:pt x="1" y="1"/>
                </a:cubicBezTo>
                <a:cubicBezTo>
                  <a:pt x="0" y="1"/>
                  <a:pt x="0" y="1"/>
                  <a:pt x="0" y="1"/>
                </a:cubicBezTo>
                <a:cubicBezTo>
                  <a:pt x="0" y="1"/>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363"/>
          <p:cNvSpPr>
            <a:spLocks noEditPoints="1"/>
          </p:cNvSpPr>
          <p:nvPr/>
        </p:nvSpPr>
        <p:spPr bwMode="auto">
          <a:xfrm>
            <a:off x="2412457" y="2803495"/>
            <a:ext cx="67922" cy="85796"/>
          </a:xfrm>
          <a:custGeom>
            <a:avLst/>
            <a:gdLst>
              <a:gd name="T0" fmla="*/ 14 w 14"/>
              <a:gd name="T1" fmla="*/ 0 h 18"/>
              <a:gd name="T2" fmla="*/ 13 w 14"/>
              <a:gd name="T3" fmla="*/ 1 h 18"/>
              <a:gd name="T4" fmla="*/ 12 w 14"/>
              <a:gd name="T5" fmla="*/ 1 h 18"/>
              <a:gd name="T6" fmla="*/ 9 w 14"/>
              <a:gd name="T7" fmla="*/ 1 h 18"/>
              <a:gd name="T8" fmla="*/ 6 w 14"/>
              <a:gd name="T9" fmla="*/ 1 h 18"/>
              <a:gd name="T10" fmla="*/ 6 w 14"/>
              <a:gd name="T11" fmla="*/ 1 h 18"/>
              <a:gd name="T12" fmla="*/ 4 w 14"/>
              <a:gd name="T13" fmla="*/ 2 h 18"/>
              <a:gd name="T14" fmla="*/ 3 w 14"/>
              <a:gd name="T15" fmla="*/ 2 h 18"/>
              <a:gd name="T16" fmla="*/ 2 w 14"/>
              <a:gd name="T17" fmla="*/ 3 h 18"/>
              <a:gd name="T18" fmla="*/ 1 w 14"/>
              <a:gd name="T19" fmla="*/ 4 h 18"/>
              <a:gd name="T20" fmla="*/ 0 w 14"/>
              <a:gd name="T21" fmla="*/ 5 h 18"/>
              <a:gd name="T22" fmla="*/ 0 w 14"/>
              <a:gd name="T23" fmla="*/ 6 h 18"/>
              <a:gd name="T24" fmla="*/ 0 w 14"/>
              <a:gd name="T25" fmla="*/ 6 h 18"/>
              <a:gd name="T26" fmla="*/ 1 w 14"/>
              <a:gd name="T27" fmla="*/ 8 h 18"/>
              <a:gd name="T28" fmla="*/ 3 w 14"/>
              <a:gd name="T29" fmla="*/ 8 h 18"/>
              <a:gd name="T30" fmla="*/ 5 w 14"/>
              <a:gd name="T31" fmla="*/ 9 h 18"/>
              <a:gd name="T32" fmla="*/ 2 w 14"/>
              <a:gd name="T33" fmla="*/ 9 h 18"/>
              <a:gd name="T34" fmla="*/ 3 w 14"/>
              <a:gd name="T35" fmla="*/ 11 h 18"/>
              <a:gd name="T36" fmla="*/ 4 w 14"/>
              <a:gd name="T37" fmla="*/ 13 h 18"/>
              <a:gd name="T38" fmla="*/ 6 w 14"/>
              <a:gd name="T39" fmla="*/ 14 h 18"/>
              <a:gd name="T40" fmla="*/ 6 w 14"/>
              <a:gd name="T41" fmla="*/ 11 h 18"/>
              <a:gd name="T42" fmla="*/ 7 w 14"/>
              <a:gd name="T43" fmla="*/ 11 h 18"/>
              <a:gd name="T44" fmla="*/ 6 w 14"/>
              <a:gd name="T45" fmla="*/ 10 h 18"/>
              <a:gd name="T46" fmla="*/ 7 w 14"/>
              <a:gd name="T47" fmla="*/ 10 h 18"/>
              <a:gd name="T48" fmla="*/ 9 w 14"/>
              <a:gd name="T49" fmla="*/ 10 h 18"/>
              <a:gd name="T50" fmla="*/ 8 w 14"/>
              <a:gd name="T51" fmla="*/ 8 h 18"/>
              <a:gd name="T52" fmla="*/ 6 w 14"/>
              <a:gd name="T53" fmla="*/ 8 h 18"/>
              <a:gd name="T54" fmla="*/ 7 w 14"/>
              <a:gd name="T55" fmla="*/ 7 h 18"/>
              <a:gd name="T56" fmla="*/ 5 w 14"/>
              <a:gd name="T57" fmla="*/ 4 h 18"/>
              <a:gd name="T58" fmla="*/ 6 w 14"/>
              <a:gd name="T59" fmla="*/ 4 h 18"/>
              <a:gd name="T60" fmla="*/ 8 w 14"/>
              <a:gd name="T61" fmla="*/ 4 h 18"/>
              <a:gd name="T62" fmla="*/ 8 w 14"/>
              <a:gd name="T63" fmla="*/ 2 h 18"/>
              <a:gd name="T64" fmla="*/ 10 w 14"/>
              <a:gd name="T65" fmla="*/ 3 h 18"/>
              <a:gd name="T66" fmla="*/ 11 w 14"/>
              <a:gd name="T67" fmla="*/ 2 h 18"/>
              <a:gd name="T68" fmla="*/ 13 w 14"/>
              <a:gd name="T69" fmla="*/ 3 h 18"/>
              <a:gd name="T70" fmla="*/ 13 w 14"/>
              <a:gd name="T71" fmla="*/ 2 h 18"/>
              <a:gd name="T72" fmla="*/ 14 w 14"/>
              <a:gd name="T73" fmla="*/ 1 h 18"/>
              <a:gd name="T74" fmla="*/ 14 w 14"/>
              <a:gd name="T75" fmla="*/ 0 h 18"/>
              <a:gd name="T76" fmla="*/ 12 w 14"/>
              <a:gd name="T77" fmla="*/ 17 h 18"/>
              <a:gd name="T78" fmla="*/ 8 w 14"/>
              <a:gd name="T79" fmla="*/ 16 h 18"/>
              <a:gd name="T80" fmla="*/ 7 w 14"/>
              <a:gd name="T81" fmla="*/ 17 h 18"/>
              <a:gd name="T82" fmla="*/ 10 w 14"/>
              <a:gd name="T83" fmla="*/ 18 h 18"/>
              <a:gd name="T84" fmla="*/ 13 w 14"/>
              <a:gd name="T85" fmla="*/ 17 h 18"/>
              <a:gd name="T86" fmla="*/ 12 w 14"/>
              <a:gd name="T8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 h="18">
                <a:moveTo>
                  <a:pt x="14" y="0"/>
                </a:moveTo>
                <a:cubicBezTo>
                  <a:pt x="13" y="0"/>
                  <a:pt x="13" y="0"/>
                  <a:pt x="13" y="1"/>
                </a:cubicBezTo>
                <a:cubicBezTo>
                  <a:pt x="13" y="1"/>
                  <a:pt x="12" y="1"/>
                  <a:pt x="12" y="1"/>
                </a:cubicBezTo>
                <a:cubicBezTo>
                  <a:pt x="12" y="1"/>
                  <a:pt x="10" y="1"/>
                  <a:pt x="9" y="1"/>
                </a:cubicBezTo>
                <a:cubicBezTo>
                  <a:pt x="9" y="0"/>
                  <a:pt x="7" y="1"/>
                  <a:pt x="6" y="1"/>
                </a:cubicBezTo>
                <a:cubicBezTo>
                  <a:pt x="6" y="1"/>
                  <a:pt x="6" y="1"/>
                  <a:pt x="6" y="1"/>
                </a:cubicBezTo>
                <a:cubicBezTo>
                  <a:pt x="6" y="1"/>
                  <a:pt x="5" y="2"/>
                  <a:pt x="4" y="2"/>
                </a:cubicBezTo>
                <a:cubicBezTo>
                  <a:pt x="4" y="2"/>
                  <a:pt x="4" y="2"/>
                  <a:pt x="3" y="2"/>
                </a:cubicBezTo>
                <a:cubicBezTo>
                  <a:pt x="3" y="2"/>
                  <a:pt x="2" y="2"/>
                  <a:pt x="2" y="3"/>
                </a:cubicBezTo>
                <a:cubicBezTo>
                  <a:pt x="2" y="3"/>
                  <a:pt x="1" y="3"/>
                  <a:pt x="1" y="4"/>
                </a:cubicBezTo>
                <a:cubicBezTo>
                  <a:pt x="1" y="4"/>
                  <a:pt x="1" y="5"/>
                  <a:pt x="0" y="5"/>
                </a:cubicBezTo>
                <a:cubicBezTo>
                  <a:pt x="0" y="5"/>
                  <a:pt x="0" y="5"/>
                  <a:pt x="0" y="6"/>
                </a:cubicBezTo>
                <a:cubicBezTo>
                  <a:pt x="0" y="6"/>
                  <a:pt x="0" y="6"/>
                  <a:pt x="0" y="6"/>
                </a:cubicBezTo>
                <a:cubicBezTo>
                  <a:pt x="1" y="6"/>
                  <a:pt x="1" y="7"/>
                  <a:pt x="1" y="8"/>
                </a:cubicBezTo>
                <a:cubicBezTo>
                  <a:pt x="1" y="9"/>
                  <a:pt x="2" y="9"/>
                  <a:pt x="3" y="8"/>
                </a:cubicBezTo>
                <a:cubicBezTo>
                  <a:pt x="3" y="8"/>
                  <a:pt x="5" y="9"/>
                  <a:pt x="5" y="9"/>
                </a:cubicBezTo>
                <a:cubicBezTo>
                  <a:pt x="5" y="9"/>
                  <a:pt x="3" y="9"/>
                  <a:pt x="2" y="9"/>
                </a:cubicBezTo>
                <a:cubicBezTo>
                  <a:pt x="1" y="10"/>
                  <a:pt x="3" y="10"/>
                  <a:pt x="3" y="11"/>
                </a:cubicBezTo>
                <a:cubicBezTo>
                  <a:pt x="3" y="12"/>
                  <a:pt x="3" y="13"/>
                  <a:pt x="4" y="13"/>
                </a:cubicBezTo>
                <a:cubicBezTo>
                  <a:pt x="5" y="13"/>
                  <a:pt x="6" y="14"/>
                  <a:pt x="6" y="14"/>
                </a:cubicBezTo>
                <a:cubicBezTo>
                  <a:pt x="6" y="13"/>
                  <a:pt x="5" y="12"/>
                  <a:pt x="6" y="11"/>
                </a:cubicBezTo>
                <a:cubicBezTo>
                  <a:pt x="6" y="11"/>
                  <a:pt x="7" y="12"/>
                  <a:pt x="7" y="11"/>
                </a:cubicBezTo>
                <a:cubicBezTo>
                  <a:pt x="8" y="11"/>
                  <a:pt x="7" y="10"/>
                  <a:pt x="6" y="10"/>
                </a:cubicBezTo>
                <a:cubicBezTo>
                  <a:pt x="5" y="10"/>
                  <a:pt x="6" y="9"/>
                  <a:pt x="7" y="10"/>
                </a:cubicBezTo>
                <a:cubicBezTo>
                  <a:pt x="8" y="10"/>
                  <a:pt x="8" y="10"/>
                  <a:pt x="9" y="10"/>
                </a:cubicBezTo>
                <a:cubicBezTo>
                  <a:pt x="9" y="10"/>
                  <a:pt x="9" y="8"/>
                  <a:pt x="8" y="8"/>
                </a:cubicBezTo>
                <a:cubicBezTo>
                  <a:pt x="7" y="8"/>
                  <a:pt x="7" y="9"/>
                  <a:pt x="6" y="8"/>
                </a:cubicBezTo>
                <a:cubicBezTo>
                  <a:pt x="5" y="7"/>
                  <a:pt x="7" y="8"/>
                  <a:pt x="7" y="7"/>
                </a:cubicBezTo>
                <a:cubicBezTo>
                  <a:pt x="7" y="6"/>
                  <a:pt x="5" y="5"/>
                  <a:pt x="5" y="4"/>
                </a:cubicBezTo>
                <a:cubicBezTo>
                  <a:pt x="4" y="4"/>
                  <a:pt x="6" y="3"/>
                  <a:pt x="6" y="4"/>
                </a:cubicBezTo>
                <a:cubicBezTo>
                  <a:pt x="6" y="4"/>
                  <a:pt x="7" y="4"/>
                  <a:pt x="8" y="4"/>
                </a:cubicBezTo>
                <a:cubicBezTo>
                  <a:pt x="8" y="4"/>
                  <a:pt x="7" y="3"/>
                  <a:pt x="8" y="2"/>
                </a:cubicBezTo>
                <a:cubicBezTo>
                  <a:pt x="9" y="2"/>
                  <a:pt x="9" y="3"/>
                  <a:pt x="10" y="3"/>
                </a:cubicBezTo>
                <a:cubicBezTo>
                  <a:pt x="10" y="3"/>
                  <a:pt x="10" y="2"/>
                  <a:pt x="11" y="2"/>
                </a:cubicBezTo>
                <a:cubicBezTo>
                  <a:pt x="12" y="2"/>
                  <a:pt x="12" y="2"/>
                  <a:pt x="13" y="3"/>
                </a:cubicBezTo>
                <a:cubicBezTo>
                  <a:pt x="13" y="2"/>
                  <a:pt x="13" y="2"/>
                  <a:pt x="13" y="2"/>
                </a:cubicBezTo>
                <a:cubicBezTo>
                  <a:pt x="13" y="2"/>
                  <a:pt x="14" y="1"/>
                  <a:pt x="14" y="1"/>
                </a:cubicBezTo>
                <a:cubicBezTo>
                  <a:pt x="14" y="1"/>
                  <a:pt x="14" y="0"/>
                  <a:pt x="14" y="0"/>
                </a:cubicBezTo>
                <a:moveTo>
                  <a:pt x="12" y="17"/>
                </a:moveTo>
                <a:cubicBezTo>
                  <a:pt x="11" y="16"/>
                  <a:pt x="9" y="17"/>
                  <a:pt x="8" y="16"/>
                </a:cubicBezTo>
                <a:cubicBezTo>
                  <a:pt x="8" y="16"/>
                  <a:pt x="6" y="17"/>
                  <a:pt x="7" y="17"/>
                </a:cubicBezTo>
                <a:cubicBezTo>
                  <a:pt x="8" y="17"/>
                  <a:pt x="9" y="17"/>
                  <a:pt x="10" y="18"/>
                </a:cubicBezTo>
                <a:cubicBezTo>
                  <a:pt x="12" y="18"/>
                  <a:pt x="13" y="17"/>
                  <a:pt x="13" y="17"/>
                </a:cubicBezTo>
                <a:cubicBezTo>
                  <a:pt x="13" y="16"/>
                  <a:pt x="12" y="17"/>
                  <a:pt x="12"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364"/>
          <p:cNvSpPr>
            <a:spLocks/>
          </p:cNvSpPr>
          <p:nvPr/>
        </p:nvSpPr>
        <p:spPr bwMode="auto">
          <a:xfrm>
            <a:off x="2537577" y="2874992"/>
            <a:ext cx="28599" cy="17874"/>
          </a:xfrm>
          <a:custGeom>
            <a:avLst/>
            <a:gdLst>
              <a:gd name="T0" fmla="*/ 4 w 6"/>
              <a:gd name="T1" fmla="*/ 2 h 4"/>
              <a:gd name="T2" fmla="*/ 5 w 6"/>
              <a:gd name="T3" fmla="*/ 1 h 4"/>
              <a:gd name="T4" fmla="*/ 5 w 6"/>
              <a:gd name="T5" fmla="*/ 1 h 4"/>
              <a:gd name="T6" fmla="*/ 2 w 6"/>
              <a:gd name="T7" fmla="*/ 2 h 4"/>
              <a:gd name="T8" fmla="*/ 1 w 6"/>
              <a:gd name="T9" fmla="*/ 3 h 4"/>
              <a:gd name="T10" fmla="*/ 4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4" y="2"/>
                </a:moveTo>
                <a:cubicBezTo>
                  <a:pt x="4" y="2"/>
                  <a:pt x="4" y="1"/>
                  <a:pt x="5" y="1"/>
                </a:cubicBezTo>
                <a:cubicBezTo>
                  <a:pt x="6" y="1"/>
                  <a:pt x="5" y="0"/>
                  <a:pt x="5" y="1"/>
                </a:cubicBezTo>
                <a:cubicBezTo>
                  <a:pt x="4" y="1"/>
                  <a:pt x="3" y="1"/>
                  <a:pt x="2" y="2"/>
                </a:cubicBezTo>
                <a:cubicBezTo>
                  <a:pt x="0" y="2"/>
                  <a:pt x="0" y="3"/>
                  <a:pt x="1" y="3"/>
                </a:cubicBezTo>
                <a:cubicBezTo>
                  <a:pt x="2" y="4"/>
                  <a:pt x="4" y="3"/>
                  <a:pt x="4"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365"/>
          <p:cNvSpPr>
            <a:spLocks/>
          </p:cNvSpPr>
          <p:nvPr/>
        </p:nvSpPr>
        <p:spPr bwMode="auto">
          <a:xfrm>
            <a:off x="1940577" y="2431711"/>
            <a:ext cx="114395" cy="57198"/>
          </a:xfrm>
          <a:custGeom>
            <a:avLst/>
            <a:gdLst>
              <a:gd name="T0" fmla="*/ 20 w 24"/>
              <a:gd name="T1" fmla="*/ 8 h 12"/>
              <a:gd name="T2" fmla="*/ 22 w 24"/>
              <a:gd name="T3" fmla="*/ 7 h 12"/>
              <a:gd name="T4" fmla="*/ 24 w 24"/>
              <a:gd name="T5" fmla="*/ 5 h 12"/>
              <a:gd name="T6" fmla="*/ 23 w 24"/>
              <a:gd name="T7" fmla="*/ 4 h 12"/>
              <a:gd name="T8" fmla="*/ 21 w 24"/>
              <a:gd name="T9" fmla="*/ 2 h 12"/>
              <a:gd name="T10" fmla="*/ 21 w 24"/>
              <a:gd name="T11" fmla="*/ 1 h 12"/>
              <a:gd name="T12" fmla="*/ 19 w 24"/>
              <a:gd name="T13" fmla="*/ 1 h 12"/>
              <a:gd name="T14" fmla="*/ 17 w 24"/>
              <a:gd name="T15" fmla="*/ 0 h 12"/>
              <a:gd name="T16" fmla="*/ 17 w 24"/>
              <a:gd name="T17" fmla="*/ 1 h 12"/>
              <a:gd name="T18" fmla="*/ 16 w 24"/>
              <a:gd name="T19" fmla="*/ 2 h 12"/>
              <a:gd name="T20" fmla="*/ 15 w 24"/>
              <a:gd name="T21" fmla="*/ 2 h 12"/>
              <a:gd name="T22" fmla="*/ 14 w 24"/>
              <a:gd name="T23" fmla="*/ 2 h 12"/>
              <a:gd name="T24" fmla="*/ 12 w 24"/>
              <a:gd name="T25" fmla="*/ 1 h 12"/>
              <a:gd name="T26" fmla="*/ 11 w 24"/>
              <a:gd name="T27" fmla="*/ 2 h 12"/>
              <a:gd name="T28" fmla="*/ 10 w 24"/>
              <a:gd name="T29" fmla="*/ 2 h 12"/>
              <a:gd name="T30" fmla="*/ 9 w 24"/>
              <a:gd name="T31" fmla="*/ 3 h 12"/>
              <a:gd name="T32" fmla="*/ 9 w 24"/>
              <a:gd name="T33" fmla="*/ 4 h 12"/>
              <a:gd name="T34" fmla="*/ 7 w 24"/>
              <a:gd name="T35" fmla="*/ 4 h 12"/>
              <a:gd name="T36" fmla="*/ 7 w 24"/>
              <a:gd name="T37" fmla="*/ 3 h 12"/>
              <a:gd name="T38" fmla="*/ 3 w 24"/>
              <a:gd name="T39" fmla="*/ 0 h 12"/>
              <a:gd name="T40" fmla="*/ 4 w 24"/>
              <a:gd name="T41" fmla="*/ 2 h 12"/>
              <a:gd name="T42" fmla="*/ 3 w 24"/>
              <a:gd name="T43" fmla="*/ 2 h 12"/>
              <a:gd name="T44" fmla="*/ 1 w 24"/>
              <a:gd name="T45" fmla="*/ 2 h 12"/>
              <a:gd name="T46" fmla="*/ 0 w 24"/>
              <a:gd name="T47" fmla="*/ 4 h 12"/>
              <a:gd name="T48" fmla="*/ 2 w 24"/>
              <a:gd name="T49" fmla="*/ 4 h 12"/>
              <a:gd name="T50" fmla="*/ 5 w 24"/>
              <a:gd name="T51" fmla="*/ 4 h 12"/>
              <a:gd name="T52" fmla="*/ 5 w 24"/>
              <a:gd name="T53" fmla="*/ 5 h 12"/>
              <a:gd name="T54" fmla="*/ 4 w 24"/>
              <a:gd name="T55" fmla="*/ 6 h 12"/>
              <a:gd name="T56" fmla="*/ 1 w 24"/>
              <a:gd name="T57" fmla="*/ 6 h 12"/>
              <a:gd name="T58" fmla="*/ 4 w 24"/>
              <a:gd name="T59" fmla="*/ 7 h 12"/>
              <a:gd name="T60" fmla="*/ 5 w 24"/>
              <a:gd name="T61" fmla="*/ 7 h 12"/>
              <a:gd name="T62" fmla="*/ 6 w 24"/>
              <a:gd name="T63" fmla="*/ 8 h 12"/>
              <a:gd name="T64" fmla="*/ 5 w 24"/>
              <a:gd name="T65" fmla="*/ 9 h 12"/>
              <a:gd name="T66" fmla="*/ 4 w 24"/>
              <a:gd name="T67" fmla="*/ 10 h 12"/>
              <a:gd name="T68" fmla="*/ 7 w 24"/>
              <a:gd name="T69" fmla="*/ 10 h 12"/>
              <a:gd name="T70" fmla="*/ 11 w 24"/>
              <a:gd name="T71" fmla="*/ 11 h 12"/>
              <a:gd name="T72" fmla="*/ 15 w 24"/>
              <a:gd name="T73" fmla="*/ 10 h 12"/>
              <a:gd name="T74" fmla="*/ 17 w 24"/>
              <a:gd name="T75" fmla="*/ 10 h 12"/>
              <a:gd name="T76" fmla="*/ 20 w 24"/>
              <a:gd name="T7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2">
                <a:moveTo>
                  <a:pt x="20" y="8"/>
                </a:moveTo>
                <a:cubicBezTo>
                  <a:pt x="22" y="8"/>
                  <a:pt x="21" y="7"/>
                  <a:pt x="22" y="7"/>
                </a:cubicBezTo>
                <a:cubicBezTo>
                  <a:pt x="23" y="7"/>
                  <a:pt x="23" y="6"/>
                  <a:pt x="24" y="5"/>
                </a:cubicBezTo>
                <a:cubicBezTo>
                  <a:pt x="24" y="5"/>
                  <a:pt x="23" y="4"/>
                  <a:pt x="23" y="4"/>
                </a:cubicBezTo>
                <a:cubicBezTo>
                  <a:pt x="22" y="4"/>
                  <a:pt x="21" y="3"/>
                  <a:pt x="21" y="2"/>
                </a:cubicBezTo>
                <a:cubicBezTo>
                  <a:pt x="22" y="2"/>
                  <a:pt x="21" y="1"/>
                  <a:pt x="21" y="1"/>
                </a:cubicBezTo>
                <a:cubicBezTo>
                  <a:pt x="21" y="1"/>
                  <a:pt x="20" y="1"/>
                  <a:pt x="19" y="1"/>
                </a:cubicBezTo>
                <a:cubicBezTo>
                  <a:pt x="19" y="1"/>
                  <a:pt x="18" y="0"/>
                  <a:pt x="17" y="0"/>
                </a:cubicBezTo>
                <a:cubicBezTo>
                  <a:pt x="17" y="0"/>
                  <a:pt x="17" y="1"/>
                  <a:pt x="17" y="1"/>
                </a:cubicBezTo>
                <a:cubicBezTo>
                  <a:pt x="17" y="2"/>
                  <a:pt x="16" y="1"/>
                  <a:pt x="16" y="2"/>
                </a:cubicBezTo>
                <a:cubicBezTo>
                  <a:pt x="16" y="2"/>
                  <a:pt x="15" y="2"/>
                  <a:pt x="15" y="2"/>
                </a:cubicBezTo>
                <a:cubicBezTo>
                  <a:pt x="14" y="1"/>
                  <a:pt x="14" y="1"/>
                  <a:pt x="14" y="2"/>
                </a:cubicBezTo>
                <a:cubicBezTo>
                  <a:pt x="14" y="2"/>
                  <a:pt x="13" y="2"/>
                  <a:pt x="12" y="1"/>
                </a:cubicBezTo>
                <a:cubicBezTo>
                  <a:pt x="12" y="1"/>
                  <a:pt x="11" y="2"/>
                  <a:pt x="11" y="2"/>
                </a:cubicBezTo>
                <a:cubicBezTo>
                  <a:pt x="11" y="3"/>
                  <a:pt x="11" y="3"/>
                  <a:pt x="10" y="2"/>
                </a:cubicBezTo>
                <a:cubicBezTo>
                  <a:pt x="9" y="1"/>
                  <a:pt x="9" y="2"/>
                  <a:pt x="9" y="3"/>
                </a:cubicBezTo>
                <a:cubicBezTo>
                  <a:pt x="9" y="3"/>
                  <a:pt x="9" y="4"/>
                  <a:pt x="9" y="4"/>
                </a:cubicBezTo>
                <a:cubicBezTo>
                  <a:pt x="8" y="3"/>
                  <a:pt x="8" y="4"/>
                  <a:pt x="7" y="4"/>
                </a:cubicBezTo>
                <a:cubicBezTo>
                  <a:pt x="7" y="5"/>
                  <a:pt x="6" y="3"/>
                  <a:pt x="7" y="3"/>
                </a:cubicBezTo>
                <a:cubicBezTo>
                  <a:pt x="8" y="2"/>
                  <a:pt x="4" y="0"/>
                  <a:pt x="3" y="0"/>
                </a:cubicBezTo>
                <a:cubicBezTo>
                  <a:pt x="2" y="0"/>
                  <a:pt x="3" y="1"/>
                  <a:pt x="4" y="2"/>
                </a:cubicBezTo>
                <a:cubicBezTo>
                  <a:pt x="4" y="2"/>
                  <a:pt x="3" y="2"/>
                  <a:pt x="3" y="2"/>
                </a:cubicBezTo>
                <a:cubicBezTo>
                  <a:pt x="3" y="1"/>
                  <a:pt x="2" y="1"/>
                  <a:pt x="1" y="2"/>
                </a:cubicBezTo>
                <a:cubicBezTo>
                  <a:pt x="1" y="3"/>
                  <a:pt x="0" y="3"/>
                  <a:pt x="0" y="4"/>
                </a:cubicBezTo>
                <a:cubicBezTo>
                  <a:pt x="0" y="4"/>
                  <a:pt x="1" y="4"/>
                  <a:pt x="2" y="4"/>
                </a:cubicBezTo>
                <a:cubicBezTo>
                  <a:pt x="3" y="4"/>
                  <a:pt x="5" y="4"/>
                  <a:pt x="5" y="4"/>
                </a:cubicBezTo>
                <a:cubicBezTo>
                  <a:pt x="6" y="5"/>
                  <a:pt x="4" y="5"/>
                  <a:pt x="5" y="5"/>
                </a:cubicBezTo>
                <a:cubicBezTo>
                  <a:pt x="5" y="6"/>
                  <a:pt x="5" y="6"/>
                  <a:pt x="4" y="6"/>
                </a:cubicBezTo>
                <a:cubicBezTo>
                  <a:pt x="2" y="6"/>
                  <a:pt x="1" y="6"/>
                  <a:pt x="1" y="6"/>
                </a:cubicBezTo>
                <a:cubicBezTo>
                  <a:pt x="1" y="7"/>
                  <a:pt x="4" y="6"/>
                  <a:pt x="4" y="7"/>
                </a:cubicBezTo>
                <a:cubicBezTo>
                  <a:pt x="4" y="7"/>
                  <a:pt x="4" y="8"/>
                  <a:pt x="5" y="7"/>
                </a:cubicBezTo>
                <a:cubicBezTo>
                  <a:pt x="6" y="7"/>
                  <a:pt x="5" y="8"/>
                  <a:pt x="6" y="8"/>
                </a:cubicBezTo>
                <a:cubicBezTo>
                  <a:pt x="6" y="8"/>
                  <a:pt x="6" y="9"/>
                  <a:pt x="5" y="9"/>
                </a:cubicBezTo>
                <a:cubicBezTo>
                  <a:pt x="4" y="9"/>
                  <a:pt x="3" y="9"/>
                  <a:pt x="4" y="10"/>
                </a:cubicBezTo>
                <a:cubicBezTo>
                  <a:pt x="4" y="10"/>
                  <a:pt x="6" y="10"/>
                  <a:pt x="7" y="10"/>
                </a:cubicBezTo>
                <a:cubicBezTo>
                  <a:pt x="8" y="9"/>
                  <a:pt x="9" y="11"/>
                  <a:pt x="11" y="11"/>
                </a:cubicBezTo>
                <a:cubicBezTo>
                  <a:pt x="12" y="12"/>
                  <a:pt x="14" y="11"/>
                  <a:pt x="15" y="10"/>
                </a:cubicBezTo>
                <a:cubicBezTo>
                  <a:pt x="15" y="10"/>
                  <a:pt x="17" y="10"/>
                  <a:pt x="17" y="10"/>
                </a:cubicBezTo>
                <a:cubicBezTo>
                  <a:pt x="18" y="9"/>
                  <a:pt x="19" y="8"/>
                  <a:pt x="20"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66"/>
          <p:cNvSpPr>
            <a:spLocks/>
          </p:cNvSpPr>
          <p:nvPr/>
        </p:nvSpPr>
        <p:spPr bwMode="auto">
          <a:xfrm>
            <a:off x="2090721" y="2617603"/>
            <a:ext cx="46473" cy="53623"/>
          </a:xfrm>
          <a:custGeom>
            <a:avLst/>
            <a:gdLst>
              <a:gd name="T0" fmla="*/ 9 w 10"/>
              <a:gd name="T1" fmla="*/ 3 h 11"/>
              <a:gd name="T2" fmla="*/ 8 w 10"/>
              <a:gd name="T3" fmla="*/ 2 h 11"/>
              <a:gd name="T4" fmla="*/ 7 w 10"/>
              <a:gd name="T5" fmla="*/ 3 h 11"/>
              <a:gd name="T6" fmla="*/ 5 w 10"/>
              <a:gd name="T7" fmla="*/ 3 h 11"/>
              <a:gd name="T8" fmla="*/ 6 w 10"/>
              <a:gd name="T9" fmla="*/ 1 h 11"/>
              <a:gd name="T10" fmla="*/ 6 w 10"/>
              <a:gd name="T11" fmla="*/ 0 h 11"/>
              <a:gd name="T12" fmla="*/ 6 w 10"/>
              <a:gd name="T13" fmla="*/ 0 h 11"/>
              <a:gd name="T14" fmla="*/ 4 w 10"/>
              <a:gd name="T15" fmla="*/ 0 h 11"/>
              <a:gd name="T16" fmla="*/ 5 w 10"/>
              <a:gd name="T17" fmla="*/ 1 h 11"/>
              <a:gd name="T18" fmla="*/ 3 w 10"/>
              <a:gd name="T19" fmla="*/ 2 h 11"/>
              <a:gd name="T20" fmla="*/ 1 w 10"/>
              <a:gd name="T21" fmla="*/ 2 h 11"/>
              <a:gd name="T22" fmla="*/ 1 w 10"/>
              <a:gd name="T23" fmla="*/ 4 h 11"/>
              <a:gd name="T24" fmla="*/ 2 w 10"/>
              <a:gd name="T25" fmla="*/ 6 h 11"/>
              <a:gd name="T26" fmla="*/ 1 w 10"/>
              <a:gd name="T27" fmla="*/ 7 h 11"/>
              <a:gd name="T28" fmla="*/ 0 w 10"/>
              <a:gd name="T29" fmla="*/ 9 h 11"/>
              <a:gd name="T30" fmla="*/ 2 w 10"/>
              <a:gd name="T31" fmla="*/ 11 h 11"/>
              <a:gd name="T32" fmla="*/ 6 w 10"/>
              <a:gd name="T33" fmla="*/ 9 h 11"/>
              <a:gd name="T34" fmla="*/ 9 w 10"/>
              <a:gd name="T35" fmla="*/ 9 h 11"/>
              <a:gd name="T36" fmla="*/ 9 w 10"/>
              <a:gd name="T37" fmla="*/ 3 h 11"/>
              <a:gd name="T38" fmla="*/ 9 w 10"/>
              <a:gd name="T3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9" y="3"/>
                </a:moveTo>
                <a:cubicBezTo>
                  <a:pt x="8" y="3"/>
                  <a:pt x="8" y="3"/>
                  <a:pt x="8" y="2"/>
                </a:cubicBezTo>
                <a:cubicBezTo>
                  <a:pt x="7" y="1"/>
                  <a:pt x="7" y="2"/>
                  <a:pt x="7" y="3"/>
                </a:cubicBezTo>
                <a:cubicBezTo>
                  <a:pt x="7" y="3"/>
                  <a:pt x="6" y="3"/>
                  <a:pt x="5" y="3"/>
                </a:cubicBezTo>
                <a:cubicBezTo>
                  <a:pt x="5" y="2"/>
                  <a:pt x="5" y="1"/>
                  <a:pt x="6" y="1"/>
                </a:cubicBezTo>
                <a:cubicBezTo>
                  <a:pt x="6" y="1"/>
                  <a:pt x="6" y="1"/>
                  <a:pt x="6" y="0"/>
                </a:cubicBezTo>
                <a:cubicBezTo>
                  <a:pt x="6" y="0"/>
                  <a:pt x="6" y="0"/>
                  <a:pt x="6" y="0"/>
                </a:cubicBezTo>
                <a:cubicBezTo>
                  <a:pt x="5" y="0"/>
                  <a:pt x="4" y="0"/>
                  <a:pt x="4" y="0"/>
                </a:cubicBezTo>
                <a:cubicBezTo>
                  <a:pt x="4" y="1"/>
                  <a:pt x="5" y="1"/>
                  <a:pt x="5" y="1"/>
                </a:cubicBezTo>
                <a:cubicBezTo>
                  <a:pt x="5" y="2"/>
                  <a:pt x="4" y="2"/>
                  <a:pt x="3" y="2"/>
                </a:cubicBezTo>
                <a:cubicBezTo>
                  <a:pt x="2" y="3"/>
                  <a:pt x="2" y="2"/>
                  <a:pt x="1" y="2"/>
                </a:cubicBezTo>
                <a:cubicBezTo>
                  <a:pt x="0" y="3"/>
                  <a:pt x="2" y="3"/>
                  <a:pt x="1" y="4"/>
                </a:cubicBezTo>
                <a:cubicBezTo>
                  <a:pt x="0" y="5"/>
                  <a:pt x="1" y="5"/>
                  <a:pt x="2" y="6"/>
                </a:cubicBezTo>
                <a:cubicBezTo>
                  <a:pt x="3" y="6"/>
                  <a:pt x="1" y="7"/>
                  <a:pt x="1" y="7"/>
                </a:cubicBezTo>
                <a:cubicBezTo>
                  <a:pt x="1" y="8"/>
                  <a:pt x="0" y="8"/>
                  <a:pt x="0" y="9"/>
                </a:cubicBezTo>
                <a:cubicBezTo>
                  <a:pt x="0" y="10"/>
                  <a:pt x="1" y="11"/>
                  <a:pt x="2" y="11"/>
                </a:cubicBezTo>
                <a:cubicBezTo>
                  <a:pt x="3" y="11"/>
                  <a:pt x="5" y="10"/>
                  <a:pt x="6" y="9"/>
                </a:cubicBezTo>
                <a:cubicBezTo>
                  <a:pt x="7" y="8"/>
                  <a:pt x="8" y="9"/>
                  <a:pt x="9" y="9"/>
                </a:cubicBezTo>
                <a:cubicBezTo>
                  <a:pt x="10" y="8"/>
                  <a:pt x="9" y="4"/>
                  <a:pt x="9" y="3"/>
                </a:cubicBezTo>
                <a:cubicBezTo>
                  <a:pt x="9" y="3"/>
                  <a:pt x="9" y="3"/>
                  <a:pt x="9"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7"/>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68"/>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69"/>
          <p:cNvSpPr>
            <a:spLocks noEditPoints="1"/>
          </p:cNvSpPr>
          <p:nvPr/>
        </p:nvSpPr>
        <p:spPr bwMode="auto">
          <a:xfrm>
            <a:off x="2287337" y="2574704"/>
            <a:ext cx="50048" cy="50048"/>
          </a:xfrm>
          <a:custGeom>
            <a:avLst/>
            <a:gdLst>
              <a:gd name="T0" fmla="*/ 5 w 10"/>
              <a:gd name="T1" fmla="*/ 4 h 10"/>
              <a:gd name="T2" fmla="*/ 5 w 10"/>
              <a:gd name="T3" fmla="*/ 3 h 10"/>
              <a:gd name="T4" fmla="*/ 5 w 10"/>
              <a:gd name="T5" fmla="*/ 1 h 10"/>
              <a:gd name="T6" fmla="*/ 4 w 10"/>
              <a:gd name="T7" fmla="*/ 2 h 10"/>
              <a:gd name="T8" fmla="*/ 2 w 10"/>
              <a:gd name="T9" fmla="*/ 2 h 10"/>
              <a:gd name="T10" fmla="*/ 3 w 10"/>
              <a:gd name="T11" fmla="*/ 3 h 10"/>
              <a:gd name="T12" fmla="*/ 1 w 10"/>
              <a:gd name="T13" fmla="*/ 3 h 10"/>
              <a:gd name="T14" fmla="*/ 0 w 10"/>
              <a:gd name="T15" fmla="*/ 4 h 10"/>
              <a:gd name="T16" fmla="*/ 0 w 10"/>
              <a:gd name="T17" fmla="*/ 7 h 10"/>
              <a:gd name="T18" fmla="*/ 1 w 10"/>
              <a:gd name="T19" fmla="*/ 9 h 10"/>
              <a:gd name="T20" fmla="*/ 1 w 10"/>
              <a:gd name="T21" fmla="*/ 10 h 10"/>
              <a:gd name="T22" fmla="*/ 3 w 10"/>
              <a:gd name="T23" fmla="*/ 10 h 10"/>
              <a:gd name="T24" fmla="*/ 4 w 10"/>
              <a:gd name="T25" fmla="*/ 10 h 10"/>
              <a:gd name="T26" fmla="*/ 3 w 10"/>
              <a:gd name="T27" fmla="*/ 9 h 10"/>
              <a:gd name="T28" fmla="*/ 4 w 10"/>
              <a:gd name="T29" fmla="*/ 9 h 10"/>
              <a:gd name="T30" fmla="*/ 6 w 10"/>
              <a:gd name="T31" fmla="*/ 9 h 10"/>
              <a:gd name="T32" fmla="*/ 5 w 10"/>
              <a:gd name="T33" fmla="*/ 7 h 10"/>
              <a:gd name="T34" fmla="*/ 4 w 10"/>
              <a:gd name="T35" fmla="*/ 7 h 10"/>
              <a:gd name="T36" fmla="*/ 5 w 10"/>
              <a:gd name="T37" fmla="*/ 6 h 10"/>
              <a:gd name="T38" fmla="*/ 6 w 10"/>
              <a:gd name="T39" fmla="*/ 5 h 10"/>
              <a:gd name="T40" fmla="*/ 5 w 10"/>
              <a:gd name="T41" fmla="*/ 4 h 10"/>
              <a:gd name="T42" fmla="*/ 10 w 10"/>
              <a:gd name="T43" fmla="*/ 6 h 10"/>
              <a:gd name="T44" fmla="*/ 9 w 10"/>
              <a:gd name="T45" fmla="*/ 7 h 10"/>
              <a:gd name="T46" fmla="*/ 9 w 10"/>
              <a:gd name="T47" fmla="*/ 6 h 10"/>
              <a:gd name="T48" fmla="*/ 7 w 10"/>
              <a:gd name="T49" fmla="*/ 7 h 10"/>
              <a:gd name="T50" fmla="*/ 8 w 10"/>
              <a:gd name="T51" fmla="*/ 9 h 10"/>
              <a:gd name="T52" fmla="*/ 7 w 10"/>
              <a:gd name="T53" fmla="*/ 9 h 10"/>
              <a:gd name="T54" fmla="*/ 8 w 10"/>
              <a:gd name="T55" fmla="*/ 10 h 10"/>
              <a:gd name="T56" fmla="*/ 10 w 10"/>
              <a:gd name="T57" fmla="*/ 8 h 10"/>
              <a:gd name="T58" fmla="*/ 10 w 10"/>
              <a:gd name="T5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0">
                <a:moveTo>
                  <a:pt x="5" y="4"/>
                </a:moveTo>
                <a:cubicBezTo>
                  <a:pt x="5" y="4"/>
                  <a:pt x="5" y="3"/>
                  <a:pt x="5" y="3"/>
                </a:cubicBezTo>
                <a:cubicBezTo>
                  <a:pt x="5" y="2"/>
                  <a:pt x="6" y="1"/>
                  <a:pt x="5" y="1"/>
                </a:cubicBezTo>
                <a:cubicBezTo>
                  <a:pt x="5" y="0"/>
                  <a:pt x="4" y="1"/>
                  <a:pt x="4" y="2"/>
                </a:cubicBezTo>
                <a:cubicBezTo>
                  <a:pt x="4" y="2"/>
                  <a:pt x="3" y="2"/>
                  <a:pt x="2" y="2"/>
                </a:cubicBezTo>
                <a:cubicBezTo>
                  <a:pt x="2" y="2"/>
                  <a:pt x="3" y="3"/>
                  <a:pt x="3" y="3"/>
                </a:cubicBezTo>
                <a:cubicBezTo>
                  <a:pt x="2" y="4"/>
                  <a:pt x="2" y="3"/>
                  <a:pt x="1" y="3"/>
                </a:cubicBezTo>
                <a:cubicBezTo>
                  <a:pt x="1" y="2"/>
                  <a:pt x="0" y="4"/>
                  <a:pt x="0" y="4"/>
                </a:cubicBezTo>
                <a:cubicBezTo>
                  <a:pt x="0" y="5"/>
                  <a:pt x="0" y="6"/>
                  <a:pt x="0" y="7"/>
                </a:cubicBezTo>
                <a:cubicBezTo>
                  <a:pt x="0" y="7"/>
                  <a:pt x="1" y="8"/>
                  <a:pt x="1" y="9"/>
                </a:cubicBezTo>
                <a:cubicBezTo>
                  <a:pt x="1" y="9"/>
                  <a:pt x="1" y="9"/>
                  <a:pt x="1" y="10"/>
                </a:cubicBezTo>
                <a:cubicBezTo>
                  <a:pt x="2" y="10"/>
                  <a:pt x="3" y="10"/>
                  <a:pt x="3" y="10"/>
                </a:cubicBezTo>
                <a:cubicBezTo>
                  <a:pt x="3" y="10"/>
                  <a:pt x="4" y="10"/>
                  <a:pt x="4" y="10"/>
                </a:cubicBezTo>
                <a:cubicBezTo>
                  <a:pt x="4" y="9"/>
                  <a:pt x="3" y="9"/>
                  <a:pt x="3" y="9"/>
                </a:cubicBezTo>
                <a:cubicBezTo>
                  <a:pt x="3" y="8"/>
                  <a:pt x="4" y="8"/>
                  <a:pt x="4" y="9"/>
                </a:cubicBezTo>
                <a:cubicBezTo>
                  <a:pt x="5" y="9"/>
                  <a:pt x="6" y="9"/>
                  <a:pt x="6" y="9"/>
                </a:cubicBezTo>
                <a:cubicBezTo>
                  <a:pt x="6" y="8"/>
                  <a:pt x="6" y="7"/>
                  <a:pt x="5" y="7"/>
                </a:cubicBezTo>
                <a:cubicBezTo>
                  <a:pt x="5" y="8"/>
                  <a:pt x="4" y="8"/>
                  <a:pt x="4" y="7"/>
                </a:cubicBezTo>
                <a:cubicBezTo>
                  <a:pt x="4" y="7"/>
                  <a:pt x="5" y="6"/>
                  <a:pt x="5" y="6"/>
                </a:cubicBezTo>
                <a:cubicBezTo>
                  <a:pt x="5" y="5"/>
                  <a:pt x="6" y="6"/>
                  <a:pt x="6" y="5"/>
                </a:cubicBezTo>
                <a:cubicBezTo>
                  <a:pt x="6" y="5"/>
                  <a:pt x="5" y="4"/>
                  <a:pt x="5" y="4"/>
                </a:cubicBezTo>
                <a:moveTo>
                  <a:pt x="10" y="6"/>
                </a:moveTo>
                <a:cubicBezTo>
                  <a:pt x="10" y="6"/>
                  <a:pt x="10" y="7"/>
                  <a:pt x="9" y="7"/>
                </a:cubicBezTo>
                <a:cubicBezTo>
                  <a:pt x="9" y="7"/>
                  <a:pt x="9" y="5"/>
                  <a:pt x="9" y="6"/>
                </a:cubicBezTo>
                <a:cubicBezTo>
                  <a:pt x="8" y="7"/>
                  <a:pt x="8" y="6"/>
                  <a:pt x="7" y="7"/>
                </a:cubicBezTo>
                <a:cubicBezTo>
                  <a:pt x="7" y="8"/>
                  <a:pt x="8" y="8"/>
                  <a:pt x="8" y="9"/>
                </a:cubicBezTo>
                <a:cubicBezTo>
                  <a:pt x="8" y="9"/>
                  <a:pt x="8" y="9"/>
                  <a:pt x="7" y="9"/>
                </a:cubicBezTo>
                <a:cubicBezTo>
                  <a:pt x="7" y="9"/>
                  <a:pt x="7" y="10"/>
                  <a:pt x="8" y="10"/>
                </a:cubicBezTo>
                <a:cubicBezTo>
                  <a:pt x="9" y="10"/>
                  <a:pt x="10" y="9"/>
                  <a:pt x="10" y="8"/>
                </a:cubicBezTo>
                <a:cubicBezTo>
                  <a:pt x="9" y="8"/>
                  <a:pt x="10" y="6"/>
                  <a:pt x="10"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70"/>
          <p:cNvSpPr>
            <a:spLocks noEditPoints="1"/>
          </p:cNvSpPr>
          <p:nvPr/>
        </p:nvSpPr>
        <p:spPr bwMode="auto">
          <a:xfrm>
            <a:off x="2323086" y="2381663"/>
            <a:ext cx="132269" cy="232365"/>
          </a:xfrm>
          <a:custGeom>
            <a:avLst/>
            <a:gdLst>
              <a:gd name="T0" fmla="*/ 27 w 28"/>
              <a:gd name="T1" fmla="*/ 10 h 48"/>
              <a:gd name="T2" fmla="*/ 26 w 28"/>
              <a:gd name="T3" fmla="*/ 6 h 48"/>
              <a:gd name="T4" fmla="*/ 23 w 28"/>
              <a:gd name="T5" fmla="*/ 2 h 48"/>
              <a:gd name="T6" fmla="*/ 19 w 28"/>
              <a:gd name="T7" fmla="*/ 2 h 48"/>
              <a:gd name="T8" fmla="*/ 16 w 28"/>
              <a:gd name="T9" fmla="*/ 2 h 48"/>
              <a:gd name="T10" fmla="*/ 13 w 28"/>
              <a:gd name="T11" fmla="*/ 4 h 48"/>
              <a:gd name="T12" fmla="*/ 11 w 28"/>
              <a:gd name="T13" fmla="*/ 7 h 48"/>
              <a:gd name="T14" fmla="*/ 9 w 28"/>
              <a:gd name="T15" fmla="*/ 10 h 48"/>
              <a:gd name="T16" fmla="*/ 7 w 28"/>
              <a:gd name="T17" fmla="*/ 12 h 48"/>
              <a:gd name="T18" fmla="*/ 6 w 28"/>
              <a:gd name="T19" fmla="*/ 16 h 48"/>
              <a:gd name="T20" fmla="*/ 6 w 28"/>
              <a:gd name="T21" fmla="*/ 19 h 48"/>
              <a:gd name="T22" fmla="*/ 3 w 28"/>
              <a:gd name="T23" fmla="*/ 20 h 48"/>
              <a:gd name="T24" fmla="*/ 2 w 28"/>
              <a:gd name="T25" fmla="*/ 25 h 48"/>
              <a:gd name="T26" fmla="*/ 4 w 28"/>
              <a:gd name="T27" fmla="*/ 29 h 48"/>
              <a:gd name="T28" fmla="*/ 3 w 28"/>
              <a:gd name="T29" fmla="*/ 31 h 48"/>
              <a:gd name="T30" fmla="*/ 2 w 28"/>
              <a:gd name="T31" fmla="*/ 33 h 48"/>
              <a:gd name="T32" fmla="*/ 1 w 28"/>
              <a:gd name="T33" fmla="*/ 37 h 48"/>
              <a:gd name="T34" fmla="*/ 0 w 28"/>
              <a:gd name="T35" fmla="*/ 37 h 48"/>
              <a:gd name="T36" fmla="*/ 2 w 28"/>
              <a:gd name="T37" fmla="*/ 41 h 48"/>
              <a:gd name="T38" fmla="*/ 3 w 28"/>
              <a:gd name="T39" fmla="*/ 45 h 48"/>
              <a:gd name="T40" fmla="*/ 4 w 28"/>
              <a:gd name="T41" fmla="*/ 48 h 48"/>
              <a:gd name="T42" fmla="*/ 7 w 28"/>
              <a:gd name="T43" fmla="*/ 46 h 48"/>
              <a:gd name="T44" fmla="*/ 9 w 28"/>
              <a:gd name="T45" fmla="*/ 46 h 48"/>
              <a:gd name="T46" fmla="*/ 11 w 28"/>
              <a:gd name="T47" fmla="*/ 45 h 48"/>
              <a:gd name="T48" fmla="*/ 12 w 28"/>
              <a:gd name="T49" fmla="*/ 43 h 48"/>
              <a:gd name="T50" fmla="*/ 12 w 28"/>
              <a:gd name="T51" fmla="*/ 38 h 48"/>
              <a:gd name="T52" fmla="*/ 15 w 28"/>
              <a:gd name="T53" fmla="*/ 35 h 48"/>
              <a:gd name="T54" fmla="*/ 14 w 28"/>
              <a:gd name="T55" fmla="*/ 31 h 48"/>
              <a:gd name="T56" fmla="*/ 13 w 28"/>
              <a:gd name="T57" fmla="*/ 28 h 48"/>
              <a:gd name="T58" fmla="*/ 14 w 28"/>
              <a:gd name="T59" fmla="*/ 24 h 48"/>
              <a:gd name="T60" fmla="*/ 17 w 28"/>
              <a:gd name="T61" fmla="*/ 21 h 48"/>
              <a:gd name="T62" fmla="*/ 22 w 28"/>
              <a:gd name="T63" fmla="*/ 18 h 48"/>
              <a:gd name="T64" fmla="*/ 23 w 28"/>
              <a:gd name="T65" fmla="*/ 14 h 48"/>
              <a:gd name="T66" fmla="*/ 26 w 28"/>
              <a:gd name="T67" fmla="*/ 12 h 48"/>
              <a:gd name="T68" fmla="*/ 27 w 28"/>
              <a:gd name="T69" fmla="*/ 11 h 48"/>
              <a:gd name="T70" fmla="*/ 15 w 28"/>
              <a:gd name="T71"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48">
                <a:moveTo>
                  <a:pt x="27" y="11"/>
                </a:moveTo>
                <a:cubicBezTo>
                  <a:pt x="27" y="11"/>
                  <a:pt x="26" y="10"/>
                  <a:pt x="27" y="10"/>
                </a:cubicBezTo>
                <a:cubicBezTo>
                  <a:pt x="27" y="10"/>
                  <a:pt x="28" y="9"/>
                  <a:pt x="27" y="8"/>
                </a:cubicBezTo>
                <a:cubicBezTo>
                  <a:pt x="26" y="8"/>
                  <a:pt x="27" y="7"/>
                  <a:pt x="26" y="6"/>
                </a:cubicBezTo>
                <a:cubicBezTo>
                  <a:pt x="26" y="6"/>
                  <a:pt x="26" y="5"/>
                  <a:pt x="26" y="4"/>
                </a:cubicBezTo>
                <a:cubicBezTo>
                  <a:pt x="26" y="3"/>
                  <a:pt x="24" y="3"/>
                  <a:pt x="23" y="2"/>
                </a:cubicBezTo>
                <a:cubicBezTo>
                  <a:pt x="22" y="2"/>
                  <a:pt x="22" y="1"/>
                  <a:pt x="21" y="0"/>
                </a:cubicBezTo>
                <a:cubicBezTo>
                  <a:pt x="20" y="0"/>
                  <a:pt x="19" y="1"/>
                  <a:pt x="19" y="2"/>
                </a:cubicBezTo>
                <a:cubicBezTo>
                  <a:pt x="19" y="3"/>
                  <a:pt x="18" y="3"/>
                  <a:pt x="18" y="2"/>
                </a:cubicBezTo>
                <a:cubicBezTo>
                  <a:pt x="17" y="2"/>
                  <a:pt x="16" y="2"/>
                  <a:pt x="16" y="2"/>
                </a:cubicBezTo>
                <a:cubicBezTo>
                  <a:pt x="15" y="2"/>
                  <a:pt x="15" y="3"/>
                  <a:pt x="15" y="4"/>
                </a:cubicBezTo>
                <a:cubicBezTo>
                  <a:pt x="15" y="4"/>
                  <a:pt x="14" y="4"/>
                  <a:pt x="13" y="4"/>
                </a:cubicBezTo>
                <a:cubicBezTo>
                  <a:pt x="13" y="4"/>
                  <a:pt x="12" y="5"/>
                  <a:pt x="12" y="6"/>
                </a:cubicBezTo>
                <a:cubicBezTo>
                  <a:pt x="12" y="6"/>
                  <a:pt x="11" y="7"/>
                  <a:pt x="11" y="7"/>
                </a:cubicBezTo>
                <a:cubicBezTo>
                  <a:pt x="11" y="8"/>
                  <a:pt x="11" y="8"/>
                  <a:pt x="10" y="8"/>
                </a:cubicBezTo>
                <a:cubicBezTo>
                  <a:pt x="10" y="9"/>
                  <a:pt x="10" y="10"/>
                  <a:pt x="9" y="10"/>
                </a:cubicBezTo>
                <a:cubicBezTo>
                  <a:pt x="9" y="10"/>
                  <a:pt x="10" y="11"/>
                  <a:pt x="9" y="11"/>
                </a:cubicBezTo>
                <a:cubicBezTo>
                  <a:pt x="8" y="12"/>
                  <a:pt x="8" y="11"/>
                  <a:pt x="7" y="12"/>
                </a:cubicBezTo>
                <a:cubicBezTo>
                  <a:pt x="7" y="12"/>
                  <a:pt x="7" y="13"/>
                  <a:pt x="7" y="14"/>
                </a:cubicBezTo>
                <a:cubicBezTo>
                  <a:pt x="7" y="15"/>
                  <a:pt x="6" y="16"/>
                  <a:pt x="6" y="16"/>
                </a:cubicBezTo>
                <a:cubicBezTo>
                  <a:pt x="5" y="17"/>
                  <a:pt x="6" y="17"/>
                  <a:pt x="6" y="18"/>
                </a:cubicBezTo>
                <a:cubicBezTo>
                  <a:pt x="6" y="18"/>
                  <a:pt x="6" y="18"/>
                  <a:pt x="6" y="19"/>
                </a:cubicBezTo>
                <a:cubicBezTo>
                  <a:pt x="6" y="19"/>
                  <a:pt x="5" y="19"/>
                  <a:pt x="5" y="19"/>
                </a:cubicBezTo>
                <a:cubicBezTo>
                  <a:pt x="4" y="19"/>
                  <a:pt x="3" y="19"/>
                  <a:pt x="3" y="20"/>
                </a:cubicBezTo>
                <a:cubicBezTo>
                  <a:pt x="2" y="21"/>
                  <a:pt x="2" y="22"/>
                  <a:pt x="2" y="23"/>
                </a:cubicBezTo>
                <a:cubicBezTo>
                  <a:pt x="3" y="23"/>
                  <a:pt x="2" y="24"/>
                  <a:pt x="2" y="25"/>
                </a:cubicBezTo>
                <a:cubicBezTo>
                  <a:pt x="3" y="26"/>
                  <a:pt x="2" y="26"/>
                  <a:pt x="2" y="27"/>
                </a:cubicBezTo>
                <a:cubicBezTo>
                  <a:pt x="2" y="28"/>
                  <a:pt x="4" y="28"/>
                  <a:pt x="4" y="29"/>
                </a:cubicBezTo>
                <a:cubicBezTo>
                  <a:pt x="4" y="29"/>
                  <a:pt x="3" y="30"/>
                  <a:pt x="3" y="30"/>
                </a:cubicBezTo>
                <a:cubicBezTo>
                  <a:pt x="2" y="30"/>
                  <a:pt x="3" y="31"/>
                  <a:pt x="3" y="31"/>
                </a:cubicBezTo>
                <a:cubicBezTo>
                  <a:pt x="3" y="31"/>
                  <a:pt x="3" y="32"/>
                  <a:pt x="3" y="33"/>
                </a:cubicBezTo>
                <a:cubicBezTo>
                  <a:pt x="3" y="33"/>
                  <a:pt x="1" y="33"/>
                  <a:pt x="2" y="33"/>
                </a:cubicBezTo>
                <a:cubicBezTo>
                  <a:pt x="2" y="34"/>
                  <a:pt x="1" y="35"/>
                  <a:pt x="1" y="35"/>
                </a:cubicBezTo>
                <a:cubicBezTo>
                  <a:pt x="1" y="36"/>
                  <a:pt x="1" y="37"/>
                  <a:pt x="1" y="37"/>
                </a:cubicBezTo>
                <a:cubicBezTo>
                  <a:pt x="1" y="36"/>
                  <a:pt x="0" y="36"/>
                  <a:pt x="0" y="37"/>
                </a:cubicBezTo>
                <a:cubicBezTo>
                  <a:pt x="0" y="37"/>
                  <a:pt x="0" y="37"/>
                  <a:pt x="0" y="37"/>
                </a:cubicBezTo>
                <a:cubicBezTo>
                  <a:pt x="0" y="38"/>
                  <a:pt x="0" y="38"/>
                  <a:pt x="1" y="39"/>
                </a:cubicBezTo>
                <a:cubicBezTo>
                  <a:pt x="2" y="40"/>
                  <a:pt x="1" y="40"/>
                  <a:pt x="2" y="41"/>
                </a:cubicBezTo>
                <a:cubicBezTo>
                  <a:pt x="2" y="42"/>
                  <a:pt x="2" y="43"/>
                  <a:pt x="3" y="43"/>
                </a:cubicBezTo>
                <a:cubicBezTo>
                  <a:pt x="4" y="44"/>
                  <a:pt x="4" y="44"/>
                  <a:pt x="3" y="45"/>
                </a:cubicBezTo>
                <a:cubicBezTo>
                  <a:pt x="3" y="46"/>
                  <a:pt x="4" y="45"/>
                  <a:pt x="4" y="46"/>
                </a:cubicBezTo>
                <a:cubicBezTo>
                  <a:pt x="4" y="46"/>
                  <a:pt x="4" y="47"/>
                  <a:pt x="4" y="48"/>
                </a:cubicBezTo>
                <a:cubicBezTo>
                  <a:pt x="4" y="48"/>
                  <a:pt x="5" y="48"/>
                  <a:pt x="6" y="48"/>
                </a:cubicBezTo>
                <a:cubicBezTo>
                  <a:pt x="7" y="48"/>
                  <a:pt x="7" y="47"/>
                  <a:pt x="7" y="46"/>
                </a:cubicBezTo>
                <a:cubicBezTo>
                  <a:pt x="7" y="46"/>
                  <a:pt x="7" y="46"/>
                  <a:pt x="7" y="46"/>
                </a:cubicBezTo>
                <a:cubicBezTo>
                  <a:pt x="7" y="45"/>
                  <a:pt x="8" y="45"/>
                  <a:pt x="9" y="46"/>
                </a:cubicBezTo>
                <a:cubicBezTo>
                  <a:pt x="10" y="46"/>
                  <a:pt x="10" y="45"/>
                  <a:pt x="10" y="45"/>
                </a:cubicBezTo>
                <a:cubicBezTo>
                  <a:pt x="10" y="44"/>
                  <a:pt x="11" y="45"/>
                  <a:pt x="11" y="45"/>
                </a:cubicBezTo>
                <a:cubicBezTo>
                  <a:pt x="11" y="45"/>
                  <a:pt x="12" y="44"/>
                  <a:pt x="12" y="43"/>
                </a:cubicBezTo>
                <a:cubicBezTo>
                  <a:pt x="13" y="42"/>
                  <a:pt x="12" y="42"/>
                  <a:pt x="12" y="43"/>
                </a:cubicBezTo>
                <a:cubicBezTo>
                  <a:pt x="11" y="44"/>
                  <a:pt x="11" y="42"/>
                  <a:pt x="12" y="41"/>
                </a:cubicBezTo>
                <a:cubicBezTo>
                  <a:pt x="12" y="41"/>
                  <a:pt x="12" y="39"/>
                  <a:pt x="12" y="38"/>
                </a:cubicBezTo>
                <a:cubicBezTo>
                  <a:pt x="12" y="38"/>
                  <a:pt x="12" y="37"/>
                  <a:pt x="13" y="37"/>
                </a:cubicBezTo>
                <a:cubicBezTo>
                  <a:pt x="14" y="37"/>
                  <a:pt x="15" y="35"/>
                  <a:pt x="15" y="35"/>
                </a:cubicBezTo>
                <a:cubicBezTo>
                  <a:pt x="15" y="35"/>
                  <a:pt x="16" y="34"/>
                  <a:pt x="16" y="33"/>
                </a:cubicBezTo>
                <a:cubicBezTo>
                  <a:pt x="16" y="33"/>
                  <a:pt x="15" y="31"/>
                  <a:pt x="14" y="31"/>
                </a:cubicBezTo>
                <a:cubicBezTo>
                  <a:pt x="14" y="31"/>
                  <a:pt x="13" y="31"/>
                  <a:pt x="13" y="30"/>
                </a:cubicBezTo>
                <a:cubicBezTo>
                  <a:pt x="13" y="30"/>
                  <a:pt x="13" y="29"/>
                  <a:pt x="13" y="28"/>
                </a:cubicBezTo>
                <a:cubicBezTo>
                  <a:pt x="12" y="27"/>
                  <a:pt x="13" y="27"/>
                  <a:pt x="13" y="26"/>
                </a:cubicBezTo>
                <a:cubicBezTo>
                  <a:pt x="13" y="25"/>
                  <a:pt x="13" y="24"/>
                  <a:pt x="14" y="24"/>
                </a:cubicBezTo>
                <a:cubicBezTo>
                  <a:pt x="15" y="24"/>
                  <a:pt x="14" y="23"/>
                  <a:pt x="15" y="23"/>
                </a:cubicBezTo>
                <a:cubicBezTo>
                  <a:pt x="16" y="23"/>
                  <a:pt x="16" y="22"/>
                  <a:pt x="17" y="21"/>
                </a:cubicBezTo>
                <a:cubicBezTo>
                  <a:pt x="17" y="21"/>
                  <a:pt x="17" y="21"/>
                  <a:pt x="19" y="20"/>
                </a:cubicBezTo>
                <a:cubicBezTo>
                  <a:pt x="20" y="20"/>
                  <a:pt x="22" y="18"/>
                  <a:pt x="22" y="18"/>
                </a:cubicBezTo>
                <a:cubicBezTo>
                  <a:pt x="22" y="17"/>
                  <a:pt x="21" y="16"/>
                  <a:pt x="22" y="15"/>
                </a:cubicBezTo>
                <a:cubicBezTo>
                  <a:pt x="23" y="15"/>
                  <a:pt x="22" y="14"/>
                  <a:pt x="23" y="14"/>
                </a:cubicBezTo>
                <a:cubicBezTo>
                  <a:pt x="23" y="13"/>
                  <a:pt x="24" y="13"/>
                  <a:pt x="24" y="13"/>
                </a:cubicBezTo>
                <a:cubicBezTo>
                  <a:pt x="25" y="12"/>
                  <a:pt x="25" y="13"/>
                  <a:pt x="26" y="12"/>
                </a:cubicBezTo>
                <a:cubicBezTo>
                  <a:pt x="27" y="12"/>
                  <a:pt x="27" y="12"/>
                  <a:pt x="28" y="12"/>
                </a:cubicBezTo>
                <a:cubicBezTo>
                  <a:pt x="28" y="12"/>
                  <a:pt x="27" y="11"/>
                  <a:pt x="27" y="11"/>
                </a:cubicBezTo>
                <a:moveTo>
                  <a:pt x="16" y="40"/>
                </a:moveTo>
                <a:cubicBezTo>
                  <a:pt x="15" y="40"/>
                  <a:pt x="14" y="43"/>
                  <a:pt x="15" y="43"/>
                </a:cubicBezTo>
                <a:cubicBezTo>
                  <a:pt x="15" y="43"/>
                  <a:pt x="17" y="40"/>
                  <a:pt x="16"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71"/>
          <p:cNvSpPr>
            <a:spLocks noEditPoints="1"/>
          </p:cNvSpPr>
          <p:nvPr/>
        </p:nvSpPr>
        <p:spPr bwMode="auto">
          <a:xfrm>
            <a:off x="2433906" y="2546106"/>
            <a:ext cx="64347" cy="35748"/>
          </a:xfrm>
          <a:custGeom>
            <a:avLst/>
            <a:gdLst>
              <a:gd name="T0" fmla="*/ 13 w 14"/>
              <a:gd name="T1" fmla="*/ 2 h 7"/>
              <a:gd name="T2" fmla="*/ 13 w 14"/>
              <a:gd name="T3" fmla="*/ 0 h 7"/>
              <a:gd name="T4" fmla="*/ 13 w 14"/>
              <a:gd name="T5" fmla="*/ 1 h 7"/>
              <a:gd name="T6" fmla="*/ 8 w 14"/>
              <a:gd name="T7" fmla="*/ 0 h 7"/>
              <a:gd name="T8" fmla="*/ 4 w 14"/>
              <a:gd name="T9" fmla="*/ 1 h 7"/>
              <a:gd name="T10" fmla="*/ 3 w 14"/>
              <a:gd name="T11" fmla="*/ 2 h 7"/>
              <a:gd name="T12" fmla="*/ 3 w 14"/>
              <a:gd name="T13" fmla="*/ 4 h 7"/>
              <a:gd name="T14" fmla="*/ 5 w 14"/>
              <a:gd name="T15" fmla="*/ 4 h 7"/>
              <a:gd name="T16" fmla="*/ 5 w 14"/>
              <a:gd name="T17" fmla="*/ 5 h 7"/>
              <a:gd name="T18" fmla="*/ 5 w 14"/>
              <a:gd name="T19" fmla="*/ 5 h 7"/>
              <a:gd name="T20" fmla="*/ 8 w 14"/>
              <a:gd name="T21" fmla="*/ 5 h 7"/>
              <a:gd name="T22" fmla="*/ 10 w 14"/>
              <a:gd name="T23" fmla="*/ 7 h 7"/>
              <a:gd name="T24" fmla="*/ 12 w 14"/>
              <a:gd name="T25" fmla="*/ 7 h 7"/>
              <a:gd name="T26" fmla="*/ 12 w 14"/>
              <a:gd name="T27" fmla="*/ 6 h 7"/>
              <a:gd name="T28" fmla="*/ 13 w 14"/>
              <a:gd name="T29" fmla="*/ 5 h 7"/>
              <a:gd name="T30" fmla="*/ 12 w 14"/>
              <a:gd name="T31" fmla="*/ 4 h 7"/>
              <a:gd name="T32" fmla="*/ 12 w 14"/>
              <a:gd name="T33" fmla="*/ 3 h 7"/>
              <a:gd name="T34" fmla="*/ 13 w 14"/>
              <a:gd name="T35" fmla="*/ 2 h 7"/>
              <a:gd name="T36" fmla="*/ 1 w 14"/>
              <a:gd name="T37" fmla="*/ 3 h 7"/>
              <a:gd name="T38" fmla="*/ 0 w 14"/>
              <a:gd name="T39" fmla="*/ 5 h 7"/>
              <a:gd name="T40" fmla="*/ 2 w 14"/>
              <a:gd name="T41" fmla="*/ 4 h 7"/>
              <a:gd name="T42" fmla="*/ 1 w 14"/>
              <a:gd name="T43" fmla="*/ 3 h 7"/>
              <a:gd name="T44" fmla="*/ 2 w 14"/>
              <a:gd name="T45" fmla="*/ 3 h 7"/>
              <a:gd name="T46" fmla="*/ 1 w 14"/>
              <a:gd name="T47" fmla="*/ 3 h 7"/>
              <a:gd name="T48" fmla="*/ 2 w 14"/>
              <a:gd name="T4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7">
                <a:moveTo>
                  <a:pt x="13" y="2"/>
                </a:moveTo>
                <a:cubicBezTo>
                  <a:pt x="13" y="1"/>
                  <a:pt x="14" y="1"/>
                  <a:pt x="13" y="0"/>
                </a:cubicBezTo>
                <a:cubicBezTo>
                  <a:pt x="13" y="1"/>
                  <a:pt x="13" y="1"/>
                  <a:pt x="13" y="1"/>
                </a:cubicBezTo>
                <a:cubicBezTo>
                  <a:pt x="12" y="1"/>
                  <a:pt x="10" y="0"/>
                  <a:pt x="8" y="0"/>
                </a:cubicBezTo>
                <a:cubicBezTo>
                  <a:pt x="7" y="0"/>
                  <a:pt x="5" y="0"/>
                  <a:pt x="4" y="1"/>
                </a:cubicBezTo>
                <a:cubicBezTo>
                  <a:pt x="4" y="2"/>
                  <a:pt x="2" y="2"/>
                  <a:pt x="3" y="2"/>
                </a:cubicBezTo>
                <a:cubicBezTo>
                  <a:pt x="4" y="3"/>
                  <a:pt x="3" y="3"/>
                  <a:pt x="3" y="4"/>
                </a:cubicBezTo>
                <a:cubicBezTo>
                  <a:pt x="4" y="4"/>
                  <a:pt x="4" y="5"/>
                  <a:pt x="5" y="4"/>
                </a:cubicBezTo>
                <a:cubicBezTo>
                  <a:pt x="5" y="4"/>
                  <a:pt x="6" y="5"/>
                  <a:pt x="5" y="5"/>
                </a:cubicBezTo>
                <a:cubicBezTo>
                  <a:pt x="5" y="5"/>
                  <a:pt x="5" y="5"/>
                  <a:pt x="5" y="5"/>
                </a:cubicBezTo>
                <a:cubicBezTo>
                  <a:pt x="6" y="5"/>
                  <a:pt x="7" y="5"/>
                  <a:pt x="8" y="5"/>
                </a:cubicBezTo>
                <a:cubicBezTo>
                  <a:pt x="8" y="6"/>
                  <a:pt x="9" y="7"/>
                  <a:pt x="10" y="7"/>
                </a:cubicBezTo>
                <a:cubicBezTo>
                  <a:pt x="10" y="7"/>
                  <a:pt x="11" y="7"/>
                  <a:pt x="12" y="7"/>
                </a:cubicBezTo>
                <a:cubicBezTo>
                  <a:pt x="12" y="7"/>
                  <a:pt x="12" y="6"/>
                  <a:pt x="12" y="6"/>
                </a:cubicBezTo>
                <a:cubicBezTo>
                  <a:pt x="12" y="6"/>
                  <a:pt x="13" y="6"/>
                  <a:pt x="13" y="5"/>
                </a:cubicBezTo>
                <a:cubicBezTo>
                  <a:pt x="12" y="5"/>
                  <a:pt x="12" y="5"/>
                  <a:pt x="12" y="4"/>
                </a:cubicBezTo>
                <a:cubicBezTo>
                  <a:pt x="12" y="4"/>
                  <a:pt x="12" y="3"/>
                  <a:pt x="12" y="3"/>
                </a:cubicBezTo>
                <a:cubicBezTo>
                  <a:pt x="12" y="3"/>
                  <a:pt x="12" y="3"/>
                  <a:pt x="13" y="2"/>
                </a:cubicBezTo>
                <a:moveTo>
                  <a:pt x="1" y="3"/>
                </a:moveTo>
                <a:cubicBezTo>
                  <a:pt x="0" y="4"/>
                  <a:pt x="0" y="5"/>
                  <a:pt x="0" y="5"/>
                </a:cubicBezTo>
                <a:cubicBezTo>
                  <a:pt x="1" y="5"/>
                  <a:pt x="2" y="4"/>
                  <a:pt x="2" y="4"/>
                </a:cubicBezTo>
                <a:cubicBezTo>
                  <a:pt x="3" y="4"/>
                  <a:pt x="2" y="3"/>
                  <a:pt x="1" y="3"/>
                </a:cubicBezTo>
                <a:moveTo>
                  <a:pt x="2" y="3"/>
                </a:moveTo>
                <a:cubicBezTo>
                  <a:pt x="2" y="2"/>
                  <a:pt x="0" y="2"/>
                  <a:pt x="1" y="3"/>
                </a:cubicBezTo>
                <a:cubicBezTo>
                  <a:pt x="1" y="3"/>
                  <a:pt x="2"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72"/>
          <p:cNvSpPr>
            <a:spLocks/>
          </p:cNvSpPr>
          <p:nvPr/>
        </p:nvSpPr>
        <p:spPr bwMode="auto">
          <a:xfrm>
            <a:off x="2551876" y="3228902"/>
            <a:ext cx="89371" cy="103671"/>
          </a:xfrm>
          <a:custGeom>
            <a:avLst/>
            <a:gdLst>
              <a:gd name="T0" fmla="*/ 16 w 18"/>
              <a:gd name="T1" fmla="*/ 5 h 22"/>
              <a:gd name="T2" fmla="*/ 17 w 18"/>
              <a:gd name="T3" fmla="*/ 3 h 22"/>
              <a:gd name="T4" fmla="*/ 18 w 18"/>
              <a:gd name="T5" fmla="*/ 2 h 22"/>
              <a:gd name="T6" fmla="*/ 17 w 18"/>
              <a:gd name="T7" fmla="*/ 2 h 22"/>
              <a:gd name="T8" fmla="*/ 16 w 18"/>
              <a:gd name="T9" fmla="*/ 2 h 22"/>
              <a:gd name="T10" fmla="*/ 14 w 18"/>
              <a:gd name="T11" fmla="*/ 2 h 22"/>
              <a:gd name="T12" fmla="*/ 13 w 18"/>
              <a:gd name="T13" fmla="*/ 3 h 22"/>
              <a:gd name="T14" fmla="*/ 10 w 18"/>
              <a:gd name="T15" fmla="*/ 3 h 22"/>
              <a:gd name="T16" fmla="*/ 7 w 18"/>
              <a:gd name="T17" fmla="*/ 1 h 22"/>
              <a:gd name="T18" fmla="*/ 5 w 18"/>
              <a:gd name="T19" fmla="*/ 1 h 22"/>
              <a:gd name="T20" fmla="*/ 4 w 18"/>
              <a:gd name="T21" fmla="*/ 0 h 22"/>
              <a:gd name="T22" fmla="*/ 3 w 18"/>
              <a:gd name="T23" fmla="*/ 0 h 22"/>
              <a:gd name="T24" fmla="*/ 1 w 18"/>
              <a:gd name="T25" fmla="*/ 1 h 22"/>
              <a:gd name="T26" fmla="*/ 1 w 18"/>
              <a:gd name="T27" fmla="*/ 2 h 22"/>
              <a:gd name="T28" fmla="*/ 2 w 18"/>
              <a:gd name="T29" fmla="*/ 2 h 22"/>
              <a:gd name="T30" fmla="*/ 2 w 18"/>
              <a:gd name="T31" fmla="*/ 4 h 22"/>
              <a:gd name="T32" fmla="*/ 3 w 18"/>
              <a:gd name="T33" fmla="*/ 5 h 22"/>
              <a:gd name="T34" fmla="*/ 3 w 18"/>
              <a:gd name="T35" fmla="*/ 7 h 22"/>
              <a:gd name="T36" fmla="*/ 1 w 18"/>
              <a:gd name="T37" fmla="*/ 9 h 22"/>
              <a:gd name="T38" fmla="*/ 0 w 18"/>
              <a:gd name="T39" fmla="*/ 11 h 22"/>
              <a:gd name="T40" fmla="*/ 2 w 18"/>
              <a:gd name="T41" fmla="*/ 11 h 22"/>
              <a:gd name="T42" fmla="*/ 0 w 18"/>
              <a:gd name="T43" fmla="*/ 13 h 22"/>
              <a:gd name="T44" fmla="*/ 0 w 18"/>
              <a:gd name="T45" fmla="*/ 13 h 22"/>
              <a:gd name="T46" fmla="*/ 9 w 18"/>
              <a:gd name="T47" fmla="*/ 18 h 22"/>
              <a:gd name="T48" fmla="*/ 9 w 18"/>
              <a:gd name="T49" fmla="*/ 19 h 22"/>
              <a:gd name="T50" fmla="*/ 12 w 18"/>
              <a:gd name="T51" fmla="*/ 22 h 22"/>
              <a:gd name="T52" fmla="*/ 14 w 18"/>
              <a:gd name="T53" fmla="*/ 17 h 22"/>
              <a:gd name="T54" fmla="*/ 16 w 18"/>
              <a:gd name="T55" fmla="*/ 16 h 22"/>
              <a:gd name="T56" fmla="*/ 17 w 18"/>
              <a:gd name="T57" fmla="*/ 15 h 22"/>
              <a:gd name="T58" fmla="*/ 17 w 18"/>
              <a:gd name="T59" fmla="*/ 14 h 22"/>
              <a:gd name="T60" fmla="*/ 16 w 18"/>
              <a:gd name="T61" fmla="*/ 13 h 22"/>
              <a:gd name="T62" fmla="*/ 16 w 18"/>
              <a:gd name="T6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2">
                <a:moveTo>
                  <a:pt x="16" y="5"/>
                </a:moveTo>
                <a:cubicBezTo>
                  <a:pt x="17" y="3"/>
                  <a:pt x="17" y="3"/>
                  <a:pt x="17" y="3"/>
                </a:cubicBezTo>
                <a:cubicBezTo>
                  <a:pt x="18" y="2"/>
                  <a:pt x="18" y="2"/>
                  <a:pt x="18" y="2"/>
                </a:cubicBezTo>
                <a:cubicBezTo>
                  <a:pt x="18" y="2"/>
                  <a:pt x="17" y="2"/>
                  <a:pt x="17" y="2"/>
                </a:cubicBezTo>
                <a:cubicBezTo>
                  <a:pt x="17" y="2"/>
                  <a:pt x="16" y="2"/>
                  <a:pt x="16" y="2"/>
                </a:cubicBezTo>
                <a:cubicBezTo>
                  <a:pt x="16" y="1"/>
                  <a:pt x="15" y="2"/>
                  <a:pt x="14" y="2"/>
                </a:cubicBezTo>
                <a:cubicBezTo>
                  <a:pt x="13" y="2"/>
                  <a:pt x="13" y="3"/>
                  <a:pt x="13" y="3"/>
                </a:cubicBezTo>
                <a:cubicBezTo>
                  <a:pt x="12" y="3"/>
                  <a:pt x="10" y="3"/>
                  <a:pt x="10" y="3"/>
                </a:cubicBezTo>
                <a:cubicBezTo>
                  <a:pt x="9" y="3"/>
                  <a:pt x="8" y="2"/>
                  <a:pt x="7" y="1"/>
                </a:cubicBezTo>
                <a:cubicBezTo>
                  <a:pt x="7" y="1"/>
                  <a:pt x="6" y="1"/>
                  <a:pt x="5" y="1"/>
                </a:cubicBezTo>
                <a:cubicBezTo>
                  <a:pt x="5" y="1"/>
                  <a:pt x="4" y="0"/>
                  <a:pt x="4" y="0"/>
                </a:cubicBezTo>
                <a:cubicBezTo>
                  <a:pt x="4" y="0"/>
                  <a:pt x="3" y="0"/>
                  <a:pt x="3" y="0"/>
                </a:cubicBezTo>
                <a:cubicBezTo>
                  <a:pt x="2" y="0"/>
                  <a:pt x="1" y="1"/>
                  <a:pt x="1" y="1"/>
                </a:cubicBezTo>
                <a:cubicBezTo>
                  <a:pt x="1" y="1"/>
                  <a:pt x="1" y="1"/>
                  <a:pt x="1" y="2"/>
                </a:cubicBezTo>
                <a:cubicBezTo>
                  <a:pt x="2" y="2"/>
                  <a:pt x="2" y="2"/>
                  <a:pt x="2" y="2"/>
                </a:cubicBezTo>
                <a:cubicBezTo>
                  <a:pt x="2" y="4"/>
                  <a:pt x="2" y="4"/>
                  <a:pt x="2" y="4"/>
                </a:cubicBezTo>
                <a:cubicBezTo>
                  <a:pt x="3" y="5"/>
                  <a:pt x="3" y="5"/>
                  <a:pt x="3" y="5"/>
                </a:cubicBezTo>
                <a:cubicBezTo>
                  <a:pt x="3" y="5"/>
                  <a:pt x="3" y="6"/>
                  <a:pt x="3" y="7"/>
                </a:cubicBezTo>
                <a:cubicBezTo>
                  <a:pt x="2" y="8"/>
                  <a:pt x="2" y="9"/>
                  <a:pt x="1" y="9"/>
                </a:cubicBezTo>
                <a:cubicBezTo>
                  <a:pt x="1" y="9"/>
                  <a:pt x="1" y="10"/>
                  <a:pt x="0" y="11"/>
                </a:cubicBezTo>
                <a:cubicBezTo>
                  <a:pt x="1" y="11"/>
                  <a:pt x="2" y="11"/>
                  <a:pt x="2" y="11"/>
                </a:cubicBezTo>
                <a:cubicBezTo>
                  <a:pt x="2" y="12"/>
                  <a:pt x="0" y="12"/>
                  <a:pt x="0" y="13"/>
                </a:cubicBezTo>
                <a:cubicBezTo>
                  <a:pt x="0" y="13"/>
                  <a:pt x="0" y="13"/>
                  <a:pt x="0" y="13"/>
                </a:cubicBezTo>
                <a:cubicBezTo>
                  <a:pt x="9" y="18"/>
                  <a:pt x="9" y="18"/>
                  <a:pt x="9" y="18"/>
                </a:cubicBezTo>
                <a:cubicBezTo>
                  <a:pt x="9" y="19"/>
                  <a:pt x="9" y="19"/>
                  <a:pt x="9" y="19"/>
                </a:cubicBezTo>
                <a:cubicBezTo>
                  <a:pt x="9" y="19"/>
                  <a:pt x="10" y="20"/>
                  <a:pt x="12" y="22"/>
                </a:cubicBezTo>
                <a:cubicBezTo>
                  <a:pt x="13" y="19"/>
                  <a:pt x="14" y="17"/>
                  <a:pt x="14" y="17"/>
                </a:cubicBezTo>
                <a:cubicBezTo>
                  <a:pt x="15" y="16"/>
                  <a:pt x="15" y="16"/>
                  <a:pt x="16" y="16"/>
                </a:cubicBezTo>
                <a:cubicBezTo>
                  <a:pt x="16" y="15"/>
                  <a:pt x="16" y="16"/>
                  <a:pt x="17" y="15"/>
                </a:cubicBezTo>
                <a:cubicBezTo>
                  <a:pt x="17" y="15"/>
                  <a:pt x="17" y="15"/>
                  <a:pt x="17" y="14"/>
                </a:cubicBezTo>
                <a:cubicBezTo>
                  <a:pt x="16" y="13"/>
                  <a:pt x="16" y="13"/>
                  <a:pt x="16" y="13"/>
                </a:cubicBezTo>
                <a:lnTo>
                  <a:pt x="1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373"/>
          <p:cNvSpPr>
            <a:spLocks/>
          </p:cNvSpPr>
          <p:nvPr/>
        </p:nvSpPr>
        <p:spPr bwMode="auto">
          <a:xfrm>
            <a:off x="2508978" y="3236051"/>
            <a:ext cx="57198" cy="57198"/>
          </a:xfrm>
          <a:custGeom>
            <a:avLst/>
            <a:gdLst>
              <a:gd name="T0" fmla="*/ 11 w 12"/>
              <a:gd name="T1" fmla="*/ 2 h 12"/>
              <a:gd name="T2" fmla="*/ 11 w 12"/>
              <a:gd name="T3" fmla="*/ 0 h 12"/>
              <a:gd name="T4" fmla="*/ 10 w 12"/>
              <a:gd name="T5" fmla="*/ 0 h 12"/>
              <a:gd name="T6" fmla="*/ 9 w 12"/>
              <a:gd name="T7" fmla="*/ 0 h 12"/>
              <a:gd name="T8" fmla="*/ 7 w 12"/>
              <a:gd name="T9" fmla="*/ 0 h 12"/>
              <a:gd name="T10" fmla="*/ 6 w 12"/>
              <a:gd name="T11" fmla="*/ 1 h 12"/>
              <a:gd name="T12" fmla="*/ 4 w 12"/>
              <a:gd name="T13" fmla="*/ 0 h 12"/>
              <a:gd name="T14" fmla="*/ 3 w 12"/>
              <a:gd name="T15" fmla="*/ 1 h 12"/>
              <a:gd name="T16" fmla="*/ 3 w 12"/>
              <a:gd name="T17" fmla="*/ 3 h 12"/>
              <a:gd name="T18" fmla="*/ 3 w 12"/>
              <a:gd name="T19" fmla="*/ 4 h 12"/>
              <a:gd name="T20" fmla="*/ 3 w 12"/>
              <a:gd name="T21" fmla="*/ 5 h 12"/>
              <a:gd name="T22" fmla="*/ 2 w 12"/>
              <a:gd name="T23" fmla="*/ 6 h 12"/>
              <a:gd name="T24" fmla="*/ 1 w 12"/>
              <a:gd name="T25" fmla="*/ 7 h 12"/>
              <a:gd name="T26" fmla="*/ 0 w 12"/>
              <a:gd name="T27" fmla="*/ 8 h 12"/>
              <a:gd name="T28" fmla="*/ 0 w 12"/>
              <a:gd name="T29" fmla="*/ 10 h 12"/>
              <a:gd name="T30" fmla="*/ 0 w 12"/>
              <a:gd name="T31" fmla="*/ 12 h 12"/>
              <a:gd name="T32" fmla="*/ 1 w 12"/>
              <a:gd name="T33" fmla="*/ 12 h 12"/>
              <a:gd name="T34" fmla="*/ 3 w 12"/>
              <a:gd name="T35" fmla="*/ 11 h 12"/>
              <a:gd name="T36" fmla="*/ 5 w 12"/>
              <a:gd name="T37" fmla="*/ 11 h 12"/>
              <a:gd name="T38" fmla="*/ 6 w 12"/>
              <a:gd name="T39" fmla="*/ 9 h 12"/>
              <a:gd name="T40" fmla="*/ 9 w 12"/>
              <a:gd name="T41" fmla="*/ 9 h 12"/>
              <a:gd name="T42" fmla="*/ 10 w 12"/>
              <a:gd name="T43" fmla="*/ 7 h 12"/>
              <a:gd name="T44" fmla="*/ 12 w 12"/>
              <a:gd name="T45" fmla="*/ 5 h 12"/>
              <a:gd name="T46" fmla="*/ 12 w 12"/>
              <a:gd name="T47" fmla="*/ 3 h 12"/>
              <a:gd name="T48" fmla="*/ 11 w 12"/>
              <a:gd name="T4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2">
                <a:moveTo>
                  <a:pt x="11" y="2"/>
                </a:moveTo>
                <a:cubicBezTo>
                  <a:pt x="11" y="0"/>
                  <a:pt x="11" y="0"/>
                  <a:pt x="11" y="0"/>
                </a:cubicBezTo>
                <a:cubicBezTo>
                  <a:pt x="10" y="0"/>
                  <a:pt x="10" y="0"/>
                  <a:pt x="10" y="0"/>
                </a:cubicBezTo>
                <a:cubicBezTo>
                  <a:pt x="9" y="0"/>
                  <a:pt x="9" y="0"/>
                  <a:pt x="9" y="0"/>
                </a:cubicBezTo>
                <a:cubicBezTo>
                  <a:pt x="9" y="1"/>
                  <a:pt x="8" y="1"/>
                  <a:pt x="7" y="0"/>
                </a:cubicBezTo>
                <a:cubicBezTo>
                  <a:pt x="7" y="0"/>
                  <a:pt x="6" y="1"/>
                  <a:pt x="6" y="1"/>
                </a:cubicBezTo>
                <a:cubicBezTo>
                  <a:pt x="6" y="1"/>
                  <a:pt x="5" y="0"/>
                  <a:pt x="4" y="0"/>
                </a:cubicBezTo>
                <a:cubicBezTo>
                  <a:pt x="4" y="0"/>
                  <a:pt x="3" y="1"/>
                  <a:pt x="3" y="1"/>
                </a:cubicBezTo>
                <a:cubicBezTo>
                  <a:pt x="3" y="1"/>
                  <a:pt x="3" y="2"/>
                  <a:pt x="3" y="3"/>
                </a:cubicBezTo>
                <a:cubicBezTo>
                  <a:pt x="3" y="3"/>
                  <a:pt x="3" y="3"/>
                  <a:pt x="3" y="4"/>
                </a:cubicBezTo>
                <a:cubicBezTo>
                  <a:pt x="3" y="4"/>
                  <a:pt x="3" y="5"/>
                  <a:pt x="3" y="5"/>
                </a:cubicBezTo>
                <a:cubicBezTo>
                  <a:pt x="3" y="5"/>
                  <a:pt x="2" y="6"/>
                  <a:pt x="2" y="6"/>
                </a:cubicBezTo>
                <a:cubicBezTo>
                  <a:pt x="1" y="6"/>
                  <a:pt x="1" y="7"/>
                  <a:pt x="1" y="7"/>
                </a:cubicBezTo>
                <a:cubicBezTo>
                  <a:pt x="0" y="7"/>
                  <a:pt x="1" y="8"/>
                  <a:pt x="0" y="8"/>
                </a:cubicBezTo>
                <a:cubicBezTo>
                  <a:pt x="0" y="9"/>
                  <a:pt x="0" y="10"/>
                  <a:pt x="0" y="10"/>
                </a:cubicBezTo>
                <a:cubicBezTo>
                  <a:pt x="0" y="11"/>
                  <a:pt x="0" y="12"/>
                  <a:pt x="0" y="12"/>
                </a:cubicBezTo>
                <a:cubicBezTo>
                  <a:pt x="0" y="12"/>
                  <a:pt x="0" y="12"/>
                  <a:pt x="1" y="12"/>
                </a:cubicBezTo>
                <a:cubicBezTo>
                  <a:pt x="1" y="12"/>
                  <a:pt x="3" y="11"/>
                  <a:pt x="3" y="11"/>
                </a:cubicBezTo>
                <a:cubicBezTo>
                  <a:pt x="5" y="11"/>
                  <a:pt x="5" y="11"/>
                  <a:pt x="5" y="11"/>
                </a:cubicBezTo>
                <a:cubicBezTo>
                  <a:pt x="5" y="10"/>
                  <a:pt x="6" y="9"/>
                  <a:pt x="6" y="9"/>
                </a:cubicBezTo>
                <a:cubicBezTo>
                  <a:pt x="7" y="8"/>
                  <a:pt x="9" y="8"/>
                  <a:pt x="9" y="9"/>
                </a:cubicBezTo>
                <a:cubicBezTo>
                  <a:pt x="10" y="8"/>
                  <a:pt x="10" y="7"/>
                  <a:pt x="10" y="7"/>
                </a:cubicBezTo>
                <a:cubicBezTo>
                  <a:pt x="11" y="7"/>
                  <a:pt x="11" y="6"/>
                  <a:pt x="12" y="5"/>
                </a:cubicBezTo>
                <a:cubicBezTo>
                  <a:pt x="12" y="4"/>
                  <a:pt x="12" y="3"/>
                  <a:pt x="12" y="3"/>
                </a:cubicBezTo>
                <a:lnTo>
                  <a:pt x="11"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4"/>
          <p:cNvSpPr>
            <a:spLocks/>
          </p:cNvSpPr>
          <p:nvPr/>
        </p:nvSpPr>
        <p:spPr bwMode="auto">
          <a:xfrm>
            <a:off x="2794966" y="2753447"/>
            <a:ext cx="185892" cy="110820"/>
          </a:xfrm>
          <a:custGeom>
            <a:avLst/>
            <a:gdLst>
              <a:gd name="T0" fmla="*/ 38 w 39"/>
              <a:gd name="T1" fmla="*/ 13 h 23"/>
              <a:gd name="T2" fmla="*/ 35 w 39"/>
              <a:gd name="T3" fmla="*/ 11 h 23"/>
              <a:gd name="T4" fmla="*/ 33 w 39"/>
              <a:gd name="T5" fmla="*/ 11 h 23"/>
              <a:gd name="T6" fmla="*/ 31 w 39"/>
              <a:gd name="T7" fmla="*/ 11 h 23"/>
              <a:gd name="T8" fmla="*/ 29 w 39"/>
              <a:gd name="T9" fmla="*/ 13 h 23"/>
              <a:gd name="T10" fmla="*/ 28 w 39"/>
              <a:gd name="T11" fmla="*/ 13 h 23"/>
              <a:gd name="T12" fmla="*/ 26 w 39"/>
              <a:gd name="T13" fmla="*/ 12 h 23"/>
              <a:gd name="T14" fmla="*/ 24 w 39"/>
              <a:gd name="T15" fmla="*/ 11 h 23"/>
              <a:gd name="T16" fmla="*/ 23 w 39"/>
              <a:gd name="T17" fmla="*/ 9 h 23"/>
              <a:gd name="T18" fmla="*/ 22 w 39"/>
              <a:gd name="T19" fmla="*/ 7 h 23"/>
              <a:gd name="T20" fmla="*/ 21 w 39"/>
              <a:gd name="T21" fmla="*/ 6 h 23"/>
              <a:gd name="T22" fmla="*/ 16 w 39"/>
              <a:gd name="T23" fmla="*/ 5 h 23"/>
              <a:gd name="T24" fmla="*/ 13 w 39"/>
              <a:gd name="T25" fmla="*/ 6 h 23"/>
              <a:gd name="T26" fmla="*/ 11 w 39"/>
              <a:gd name="T27" fmla="*/ 3 h 23"/>
              <a:gd name="T28" fmla="*/ 10 w 39"/>
              <a:gd name="T29" fmla="*/ 4 h 23"/>
              <a:gd name="T30" fmla="*/ 7 w 39"/>
              <a:gd name="T31" fmla="*/ 3 h 23"/>
              <a:gd name="T32" fmla="*/ 7 w 39"/>
              <a:gd name="T33" fmla="*/ 0 h 23"/>
              <a:gd name="T34" fmla="*/ 6 w 39"/>
              <a:gd name="T35" fmla="*/ 3 h 23"/>
              <a:gd name="T36" fmla="*/ 6 w 39"/>
              <a:gd name="T37" fmla="*/ 0 h 23"/>
              <a:gd name="T38" fmla="*/ 0 w 39"/>
              <a:gd name="T39" fmla="*/ 1 h 23"/>
              <a:gd name="T40" fmla="*/ 0 w 39"/>
              <a:gd name="T41" fmla="*/ 11 h 23"/>
              <a:gd name="T42" fmla="*/ 0 w 39"/>
              <a:gd name="T43" fmla="*/ 11 h 23"/>
              <a:gd name="T44" fmla="*/ 2 w 39"/>
              <a:gd name="T45" fmla="*/ 12 h 23"/>
              <a:gd name="T46" fmla="*/ 2 w 39"/>
              <a:gd name="T47" fmla="*/ 10 h 23"/>
              <a:gd name="T48" fmla="*/ 4 w 39"/>
              <a:gd name="T49" fmla="*/ 9 h 23"/>
              <a:gd name="T50" fmla="*/ 5 w 39"/>
              <a:gd name="T51" fmla="*/ 8 h 23"/>
              <a:gd name="T52" fmla="*/ 6 w 39"/>
              <a:gd name="T53" fmla="*/ 8 h 23"/>
              <a:gd name="T54" fmla="*/ 7 w 39"/>
              <a:gd name="T55" fmla="*/ 8 h 23"/>
              <a:gd name="T56" fmla="*/ 9 w 39"/>
              <a:gd name="T57" fmla="*/ 9 h 23"/>
              <a:gd name="T58" fmla="*/ 10 w 39"/>
              <a:gd name="T59" fmla="*/ 11 h 23"/>
              <a:gd name="T60" fmla="*/ 13 w 39"/>
              <a:gd name="T61" fmla="*/ 12 h 23"/>
              <a:gd name="T62" fmla="*/ 14 w 39"/>
              <a:gd name="T63" fmla="*/ 13 h 23"/>
              <a:gd name="T64" fmla="*/ 15 w 39"/>
              <a:gd name="T65" fmla="*/ 15 h 23"/>
              <a:gd name="T66" fmla="*/ 17 w 39"/>
              <a:gd name="T67" fmla="*/ 17 h 23"/>
              <a:gd name="T68" fmla="*/ 20 w 39"/>
              <a:gd name="T69" fmla="*/ 18 h 23"/>
              <a:gd name="T70" fmla="*/ 22 w 39"/>
              <a:gd name="T71" fmla="*/ 20 h 23"/>
              <a:gd name="T72" fmla="*/ 24 w 39"/>
              <a:gd name="T73" fmla="*/ 20 h 23"/>
              <a:gd name="T74" fmla="*/ 24 w 39"/>
              <a:gd name="T75" fmla="*/ 22 h 23"/>
              <a:gd name="T76" fmla="*/ 24 w 39"/>
              <a:gd name="T77" fmla="*/ 22 h 23"/>
              <a:gd name="T78" fmla="*/ 26 w 39"/>
              <a:gd name="T79" fmla="*/ 22 h 23"/>
              <a:gd name="T80" fmla="*/ 27 w 39"/>
              <a:gd name="T81" fmla="*/ 23 h 23"/>
              <a:gd name="T82" fmla="*/ 28 w 39"/>
              <a:gd name="T83" fmla="*/ 20 h 23"/>
              <a:gd name="T84" fmla="*/ 28 w 39"/>
              <a:gd name="T85" fmla="*/ 18 h 23"/>
              <a:gd name="T86" fmla="*/ 26 w 39"/>
              <a:gd name="T87" fmla="*/ 17 h 23"/>
              <a:gd name="T88" fmla="*/ 28 w 39"/>
              <a:gd name="T89" fmla="*/ 16 h 23"/>
              <a:gd name="T90" fmla="*/ 29 w 39"/>
              <a:gd name="T91" fmla="*/ 15 h 23"/>
              <a:gd name="T92" fmla="*/ 30 w 39"/>
              <a:gd name="T93" fmla="*/ 14 h 23"/>
              <a:gd name="T94" fmla="*/ 32 w 39"/>
              <a:gd name="T95" fmla="*/ 13 h 23"/>
              <a:gd name="T96" fmla="*/ 33 w 39"/>
              <a:gd name="T97" fmla="*/ 13 h 23"/>
              <a:gd name="T98" fmla="*/ 33 w 39"/>
              <a:gd name="T99" fmla="*/ 15 h 23"/>
              <a:gd name="T100" fmla="*/ 35 w 39"/>
              <a:gd name="T101" fmla="*/ 14 h 23"/>
              <a:gd name="T102" fmla="*/ 37 w 39"/>
              <a:gd name="T103" fmla="*/ 14 h 23"/>
              <a:gd name="T104" fmla="*/ 38 w 39"/>
              <a:gd name="T10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23">
                <a:moveTo>
                  <a:pt x="38" y="13"/>
                </a:moveTo>
                <a:cubicBezTo>
                  <a:pt x="37" y="12"/>
                  <a:pt x="35" y="11"/>
                  <a:pt x="35" y="11"/>
                </a:cubicBezTo>
                <a:cubicBezTo>
                  <a:pt x="35" y="12"/>
                  <a:pt x="34" y="12"/>
                  <a:pt x="33" y="11"/>
                </a:cubicBezTo>
                <a:cubicBezTo>
                  <a:pt x="33" y="11"/>
                  <a:pt x="33" y="10"/>
                  <a:pt x="31" y="11"/>
                </a:cubicBezTo>
                <a:cubicBezTo>
                  <a:pt x="30" y="11"/>
                  <a:pt x="29" y="12"/>
                  <a:pt x="29" y="13"/>
                </a:cubicBezTo>
                <a:cubicBezTo>
                  <a:pt x="29" y="13"/>
                  <a:pt x="28" y="14"/>
                  <a:pt x="28" y="13"/>
                </a:cubicBezTo>
                <a:cubicBezTo>
                  <a:pt x="28" y="12"/>
                  <a:pt x="27" y="12"/>
                  <a:pt x="26" y="12"/>
                </a:cubicBezTo>
                <a:cubicBezTo>
                  <a:pt x="25" y="12"/>
                  <a:pt x="24" y="12"/>
                  <a:pt x="24" y="11"/>
                </a:cubicBezTo>
                <a:cubicBezTo>
                  <a:pt x="24" y="11"/>
                  <a:pt x="23" y="10"/>
                  <a:pt x="23" y="9"/>
                </a:cubicBezTo>
                <a:cubicBezTo>
                  <a:pt x="23" y="8"/>
                  <a:pt x="23" y="7"/>
                  <a:pt x="22" y="7"/>
                </a:cubicBezTo>
                <a:cubicBezTo>
                  <a:pt x="22" y="7"/>
                  <a:pt x="21" y="6"/>
                  <a:pt x="21" y="6"/>
                </a:cubicBezTo>
                <a:cubicBezTo>
                  <a:pt x="20" y="6"/>
                  <a:pt x="17" y="6"/>
                  <a:pt x="16" y="5"/>
                </a:cubicBezTo>
                <a:cubicBezTo>
                  <a:pt x="16" y="5"/>
                  <a:pt x="14" y="6"/>
                  <a:pt x="13" y="6"/>
                </a:cubicBezTo>
                <a:cubicBezTo>
                  <a:pt x="13" y="5"/>
                  <a:pt x="12" y="3"/>
                  <a:pt x="11" y="3"/>
                </a:cubicBezTo>
                <a:cubicBezTo>
                  <a:pt x="11" y="3"/>
                  <a:pt x="11" y="3"/>
                  <a:pt x="10" y="4"/>
                </a:cubicBezTo>
                <a:cubicBezTo>
                  <a:pt x="9" y="5"/>
                  <a:pt x="7" y="5"/>
                  <a:pt x="7" y="3"/>
                </a:cubicBezTo>
                <a:cubicBezTo>
                  <a:pt x="8" y="2"/>
                  <a:pt x="8" y="0"/>
                  <a:pt x="7" y="0"/>
                </a:cubicBezTo>
                <a:cubicBezTo>
                  <a:pt x="6" y="0"/>
                  <a:pt x="7" y="3"/>
                  <a:pt x="6" y="3"/>
                </a:cubicBezTo>
                <a:cubicBezTo>
                  <a:pt x="6" y="3"/>
                  <a:pt x="6" y="1"/>
                  <a:pt x="6" y="0"/>
                </a:cubicBezTo>
                <a:cubicBezTo>
                  <a:pt x="0" y="1"/>
                  <a:pt x="0" y="1"/>
                  <a:pt x="0" y="1"/>
                </a:cubicBezTo>
                <a:cubicBezTo>
                  <a:pt x="0" y="11"/>
                  <a:pt x="0" y="11"/>
                  <a:pt x="0" y="11"/>
                </a:cubicBezTo>
                <a:cubicBezTo>
                  <a:pt x="0" y="11"/>
                  <a:pt x="0" y="11"/>
                  <a:pt x="0" y="11"/>
                </a:cubicBezTo>
                <a:cubicBezTo>
                  <a:pt x="1" y="11"/>
                  <a:pt x="1" y="11"/>
                  <a:pt x="2" y="12"/>
                </a:cubicBezTo>
                <a:cubicBezTo>
                  <a:pt x="3" y="12"/>
                  <a:pt x="2" y="11"/>
                  <a:pt x="2" y="10"/>
                </a:cubicBezTo>
                <a:cubicBezTo>
                  <a:pt x="2" y="10"/>
                  <a:pt x="3" y="9"/>
                  <a:pt x="4" y="9"/>
                </a:cubicBezTo>
                <a:cubicBezTo>
                  <a:pt x="5" y="9"/>
                  <a:pt x="5" y="8"/>
                  <a:pt x="5" y="8"/>
                </a:cubicBezTo>
                <a:cubicBezTo>
                  <a:pt x="5" y="8"/>
                  <a:pt x="6" y="8"/>
                  <a:pt x="6" y="8"/>
                </a:cubicBezTo>
                <a:cubicBezTo>
                  <a:pt x="6" y="8"/>
                  <a:pt x="7" y="8"/>
                  <a:pt x="7" y="8"/>
                </a:cubicBezTo>
                <a:cubicBezTo>
                  <a:pt x="8" y="9"/>
                  <a:pt x="8" y="9"/>
                  <a:pt x="9" y="9"/>
                </a:cubicBezTo>
                <a:cubicBezTo>
                  <a:pt x="10" y="9"/>
                  <a:pt x="10" y="11"/>
                  <a:pt x="10" y="11"/>
                </a:cubicBezTo>
                <a:cubicBezTo>
                  <a:pt x="10" y="12"/>
                  <a:pt x="13" y="12"/>
                  <a:pt x="13" y="12"/>
                </a:cubicBezTo>
                <a:cubicBezTo>
                  <a:pt x="14" y="12"/>
                  <a:pt x="14" y="13"/>
                  <a:pt x="14" y="13"/>
                </a:cubicBezTo>
                <a:cubicBezTo>
                  <a:pt x="14" y="14"/>
                  <a:pt x="15" y="15"/>
                  <a:pt x="15" y="15"/>
                </a:cubicBezTo>
                <a:cubicBezTo>
                  <a:pt x="15" y="15"/>
                  <a:pt x="17" y="16"/>
                  <a:pt x="17" y="17"/>
                </a:cubicBezTo>
                <a:cubicBezTo>
                  <a:pt x="18" y="17"/>
                  <a:pt x="19" y="18"/>
                  <a:pt x="20" y="18"/>
                </a:cubicBezTo>
                <a:cubicBezTo>
                  <a:pt x="21" y="18"/>
                  <a:pt x="21" y="20"/>
                  <a:pt x="22" y="20"/>
                </a:cubicBezTo>
                <a:cubicBezTo>
                  <a:pt x="23" y="20"/>
                  <a:pt x="24" y="20"/>
                  <a:pt x="24" y="20"/>
                </a:cubicBezTo>
                <a:cubicBezTo>
                  <a:pt x="24" y="22"/>
                  <a:pt x="24" y="22"/>
                  <a:pt x="24" y="22"/>
                </a:cubicBezTo>
                <a:cubicBezTo>
                  <a:pt x="24" y="22"/>
                  <a:pt x="24" y="22"/>
                  <a:pt x="24" y="22"/>
                </a:cubicBezTo>
                <a:cubicBezTo>
                  <a:pt x="25" y="21"/>
                  <a:pt x="26" y="22"/>
                  <a:pt x="26" y="22"/>
                </a:cubicBezTo>
                <a:cubicBezTo>
                  <a:pt x="26" y="22"/>
                  <a:pt x="27" y="23"/>
                  <a:pt x="27" y="23"/>
                </a:cubicBezTo>
                <a:cubicBezTo>
                  <a:pt x="27" y="21"/>
                  <a:pt x="27" y="21"/>
                  <a:pt x="28" y="20"/>
                </a:cubicBezTo>
                <a:cubicBezTo>
                  <a:pt x="29" y="20"/>
                  <a:pt x="28" y="19"/>
                  <a:pt x="28" y="18"/>
                </a:cubicBezTo>
                <a:cubicBezTo>
                  <a:pt x="28" y="18"/>
                  <a:pt x="26" y="17"/>
                  <a:pt x="26" y="17"/>
                </a:cubicBezTo>
                <a:cubicBezTo>
                  <a:pt x="26" y="16"/>
                  <a:pt x="28" y="16"/>
                  <a:pt x="28" y="16"/>
                </a:cubicBezTo>
                <a:cubicBezTo>
                  <a:pt x="29" y="16"/>
                  <a:pt x="29" y="15"/>
                  <a:pt x="29" y="15"/>
                </a:cubicBezTo>
                <a:cubicBezTo>
                  <a:pt x="30" y="15"/>
                  <a:pt x="30" y="14"/>
                  <a:pt x="30" y="14"/>
                </a:cubicBezTo>
                <a:cubicBezTo>
                  <a:pt x="30" y="13"/>
                  <a:pt x="31" y="14"/>
                  <a:pt x="32" y="13"/>
                </a:cubicBezTo>
                <a:cubicBezTo>
                  <a:pt x="32" y="13"/>
                  <a:pt x="33" y="12"/>
                  <a:pt x="33" y="13"/>
                </a:cubicBezTo>
                <a:cubicBezTo>
                  <a:pt x="34" y="13"/>
                  <a:pt x="33" y="14"/>
                  <a:pt x="33" y="15"/>
                </a:cubicBezTo>
                <a:cubicBezTo>
                  <a:pt x="34" y="15"/>
                  <a:pt x="35" y="14"/>
                  <a:pt x="35" y="14"/>
                </a:cubicBezTo>
                <a:cubicBezTo>
                  <a:pt x="35" y="14"/>
                  <a:pt x="37" y="15"/>
                  <a:pt x="37" y="14"/>
                </a:cubicBezTo>
                <a:cubicBezTo>
                  <a:pt x="38" y="13"/>
                  <a:pt x="39" y="14"/>
                  <a:pt x="38"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75"/>
          <p:cNvSpPr>
            <a:spLocks noEditPoints="1"/>
          </p:cNvSpPr>
          <p:nvPr/>
        </p:nvSpPr>
        <p:spPr bwMode="auto">
          <a:xfrm>
            <a:off x="2255164" y="2138573"/>
            <a:ext cx="275263" cy="432557"/>
          </a:xfrm>
          <a:custGeom>
            <a:avLst/>
            <a:gdLst>
              <a:gd name="T0" fmla="*/ 54 w 57"/>
              <a:gd name="T1" fmla="*/ 47 h 90"/>
              <a:gd name="T2" fmla="*/ 54 w 57"/>
              <a:gd name="T3" fmla="*/ 45 h 90"/>
              <a:gd name="T4" fmla="*/ 51 w 57"/>
              <a:gd name="T5" fmla="*/ 44 h 90"/>
              <a:gd name="T6" fmla="*/ 47 w 57"/>
              <a:gd name="T7" fmla="*/ 44 h 90"/>
              <a:gd name="T8" fmla="*/ 46 w 57"/>
              <a:gd name="T9" fmla="*/ 44 h 90"/>
              <a:gd name="T10" fmla="*/ 42 w 57"/>
              <a:gd name="T11" fmla="*/ 44 h 90"/>
              <a:gd name="T12" fmla="*/ 40 w 57"/>
              <a:gd name="T13" fmla="*/ 47 h 90"/>
              <a:gd name="T14" fmla="*/ 40 w 57"/>
              <a:gd name="T15" fmla="*/ 44 h 90"/>
              <a:gd name="T16" fmla="*/ 36 w 57"/>
              <a:gd name="T17" fmla="*/ 47 h 90"/>
              <a:gd name="T18" fmla="*/ 34 w 57"/>
              <a:gd name="T19" fmla="*/ 47 h 90"/>
              <a:gd name="T20" fmla="*/ 32 w 57"/>
              <a:gd name="T21" fmla="*/ 47 h 90"/>
              <a:gd name="T22" fmla="*/ 29 w 57"/>
              <a:gd name="T23" fmla="*/ 49 h 90"/>
              <a:gd name="T24" fmla="*/ 27 w 57"/>
              <a:gd name="T25" fmla="*/ 51 h 90"/>
              <a:gd name="T26" fmla="*/ 25 w 57"/>
              <a:gd name="T27" fmla="*/ 52 h 90"/>
              <a:gd name="T28" fmla="*/ 22 w 57"/>
              <a:gd name="T29" fmla="*/ 53 h 90"/>
              <a:gd name="T30" fmla="*/ 21 w 57"/>
              <a:gd name="T31" fmla="*/ 55 h 90"/>
              <a:gd name="T32" fmla="*/ 25 w 57"/>
              <a:gd name="T33" fmla="*/ 55 h 90"/>
              <a:gd name="T34" fmla="*/ 22 w 57"/>
              <a:gd name="T35" fmla="*/ 57 h 90"/>
              <a:gd name="T36" fmla="*/ 17 w 57"/>
              <a:gd name="T37" fmla="*/ 62 h 90"/>
              <a:gd name="T38" fmla="*/ 14 w 57"/>
              <a:gd name="T39" fmla="*/ 67 h 90"/>
              <a:gd name="T40" fmla="*/ 11 w 57"/>
              <a:gd name="T41" fmla="*/ 71 h 90"/>
              <a:gd name="T42" fmla="*/ 7 w 57"/>
              <a:gd name="T43" fmla="*/ 73 h 90"/>
              <a:gd name="T44" fmla="*/ 3 w 57"/>
              <a:gd name="T45" fmla="*/ 76 h 90"/>
              <a:gd name="T46" fmla="*/ 1 w 57"/>
              <a:gd name="T47" fmla="*/ 79 h 90"/>
              <a:gd name="T48" fmla="*/ 0 w 57"/>
              <a:gd name="T49" fmla="*/ 83 h 90"/>
              <a:gd name="T50" fmla="*/ 2 w 57"/>
              <a:gd name="T51" fmla="*/ 84 h 90"/>
              <a:gd name="T52" fmla="*/ 2 w 57"/>
              <a:gd name="T53" fmla="*/ 86 h 90"/>
              <a:gd name="T54" fmla="*/ 4 w 57"/>
              <a:gd name="T55" fmla="*/ 90 h 90"/>
              <a:gd name="T56" fmla="*/ 13 w 57"/>
              <a:gd name="T57" fmla="*/ 85 h 90"/>
              <a:gd name="T58" fmla="*/ 15 w 57"/>
              <a:gd name="T59" fmla="*/ 86 h 90"/>
              <a:gd name="T60" fmla="*/ 17 w 57"/>
              <a:gd name="T61" fmla="*/ 81 h 90"/>
              <a:gd name="T62" fmla="*/ 16 w 57"/>
              <a:gd name="T63" fmla="*/ 74 h 90"/>
              <a:gd name="T64" fmla="*/ 20 w 57"/>
              <a:gd name="T65" fmla="*/ 69 h 90"/>
              <a:gd name="T66" fmla="*/ 23 w 57"/>
              <a:gd name="T67" fmla="*/ 62 h 90"/>
              <a:gd name="T68" fmla="*/ 26 w 57"/>
              <a:gd name="T69" fmla="*/ 57 h 90"/>
              <a:gd name="T70" fmla="*/ 32 w 57"/>
              <a:gd name="T71" fmla="*/ 53 h 90"/>
              <a:gd name="T72" fmla="*/ 36 w 57"/>
              <a:gd name="T73" fmla="*/ 50 h 90"/>
              <a:gd name="T74" fmla="*/ 44 w 57"/>
              <a:gd name="T75" fmla="*/ 53 h 90"/>
              <a:gd name="T76" fmla="*/ 49 w 57"/>
              <a:gd name="T77" fmla="*/ 48 h 90"/>
              <a:gd name="T78" fmla="*/ 54 w 57"/>
              <a:gd name="T79" fmla="*/ 50 h 90"/>
              <a:gd name="T80" fmla="*/ 16 w 57"/>
              <a:gd name="T81" fmla="*/ 6 h 90"/>
              <a:gd name="T82" fmla="*/ 21 w 57"/>
              <a:gd name="T83" fmla="*/ 10 h 90"/>
              <a:gd name="T84" fmla="*/ 25 w 57"/>
              <a:gd name="T85" fmla="*/ 10 h 90"/>
              <a:gd name="T86" fmla="*/ 26 w 57"/>
              <a:gd name="T87" fmla="*/ 13 h 90"/>
              <a:gd name="T88" fmla="*/ 22 w 57"/>
              <a:gd name="T89" fmla="*/ 17 h 90"/>
              <a:gd name="T90" fmla="*/ 26 w 57"/>
              <a:gd name="T91" fmla="*/ 19 h 90"/>
              <a:gd name="T92" fmla="*/ 31 w 57"/>
              <a:gd name="T93" fmla="*/ 10 h 90"/>
              <a:gd name="T94" fmla="*/ 35 w 57"/>
              <a:gd name="T95" fmla="*/ 12 h 90"/>
              <a:gd name="T96" fmla="*/ 41 w 57"/>
              <a:gd name="T97" fmla="*/ 15 h 90"/>
              <a:gd name="T98" fmla="*/ 39 w 57"/>
              <a:gd name="T99" fmla="*/ 12 h 90"/>
              <a:gd name="T100" fmla="*/ 34 w 57"/>
              <a:gd name="T101" fmla="*/ 8 h 90"/>
              <a:gd name="T102" fmla="*/ 29 w 57"/>
              <a:gd name="T103" fmla="*/ 5 h 90"/>
              <a:gd name="T104" fmla="*/ 25 w 57"/>
              <a:gd name="T105" fmla="*/ 2 h 90"/>
              <a:gd name="T106" fmla="*/ 23 w 57"/>
              <a:gd name="T107" fmla="*/ 5 h 90"/>
              <a:gd name="T108" fmla="*/ 18 w 57"/>
              <a:gd name="T109" fmla="*/ 5 h 90"/>
              <a:gd name="T110" fmla="*/ 15 w 57"/>
              <a:gd name="T111" fmla="*/ 4 h 90"/>
              <a:gd name="T112" fmla="*/ 14 w 57"/>
              <a:gd name="T113" fmla="*/ 10 h 90"/>
              <a:gd name="T114" fmla="*/ 14 w 57"/>
              <a:gd name="T115" fmla="*/ 10 h 90"/>
              <a:gd name="T116" fmla="*/ 33 w 57"/>
              <a:gd name="T117" fmla="*/ 5 h 90"/>
              <a:gd name="T118" fmla="*/ 46 w 57"/>
              <a:gd name="T119" fmla="*/ 5 h 90"/>
              <a:gd name="T120" fmla="*/ 40 w 57"/>
              <a:gd name="T121" fmla="*/ 2 h 90"/>
              <a:gd name="T122" fmla="*/ 35 w 57"/>
              <a:gd name="T123" fmla="*/ 1 h 90"/>
              <a:gd name="T124" fmla="*/ 31 w 57"/>
              <a:gd name="T12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90">
                <a:moveTo>
                  <a:pt x="55" y="48"/>
                </a:moveTo>
                <a:cubicBezTo>
                  <a:pt x="55" y="49"/>
                  <a:pt x="54" y="49"/>
                  <a:pt x="54" y="48"/>
                </a:cubicBezTo>
                <a:cubicBezTo>
                  <a:pt x="54" y="48"/>
                  <a:pt x="53" y="47"/>
                  <a:pt x="53" y="47"/>
                </a:cubicBezTo>
                <a:cubicBezTo>
                  <a:pt x="53" y="47"/>
                  <a:pt x="54" y="47"/>
                  <a:pt x="54" y="47"/>
                </a:cubicBezTo>
                <a:cubicBezTo>
                  <a:pt x="55" y="48"/>
                  <a:pt x="55" y="47"/>
                  <a:pt x="56" y="47"/>
                </a:cubicBezTo>
                <a:cubicBezTo>
                  <a:pt x="56" y="46"/>
                  <a:pt x="57" y="47"/>
                  <a:pt x="57" y="46"/>
                </a:cubicBezTo>
                <a:cubicBezTo>
                  <a:pt x="57" y="46"/>
                  <a:pt x="56" y="45"/>
                  <a:pt x="56" y="45"/>
                </a:cubicBezTo>
                <a:cubicBezTo>
                  <a:pt x="56" y="45"/>
                  <a:pt x="55" y="44"/>
                  <a:pt x="54" y="45"/>
                </a:cubicBezTo>
                <a:cubicBezTo>
                  <a:pt x="54" y="45"/>
                  <a:pt x="53" y="44"/>
                  <a:pt x="53" y="44"/>
                </a:cubicBezTo>
                <a:cubicBezTo>
                  <a:pt x="53" y="44"/>
                  <a:pt x="51" y="44"/>
                  <a:pt x="51" y="45"/>
                </a:cubicBezTo>
                <a:cubicBezTo>
                  <a:pt x="51" y="46"/>
                  <a:pt x="51" y="46"/>
                  <a:pt x="51" y="45"/>
                </a:cubicBezTo>
                <a:cubicBezTo>
                  <a:pt x="51" y="45"/>
                  <a:pt x="50" y="44"/>
                  <a:pt x="51" y="44"/>
                </a:cubicBezTo>
                <a:cubicBezTo>
                  <a:pt x="52" y="44"/>
                  <a:pt x="51" y="43"/>
                  <a:pt x="50" y="43"/>
                </a:cubicBezTo>
                <a:cubicBezTo>
                  <a:pt x="49" y="43"/>
                  <a:pt x="48" y="44"/>
                  <a:pt x="49" y="44"/>
                </a:cubicBezTo>
                <a:cubicBezTo>
                  <a:pt x="49" y="44"/>
                  <a:pt x="48" y="46"/>
                  <a:pt x="47" y="46"/>
                </a:cubicBezTo>
                <a:cubicBezTo>
                  <a:pt x="47" y="46"/>
                  <a:pt x="48" y="45"/>
                  <a:pt x="47" y="44"/>
                </a:cubicBezTo>
                <a:cubicBezTo>
                  <a:pt x="47" y="43"/>
                  <a:pt x="47" y="44"/>
                  <a:pt x="46" y="45"/>
                </a:cubicBezTo>
                <a:cubicBezTo>
                  <a:pt x="45" y="46"/>
                  <a:pt x="44" y="47"/>
                  <a:pt x="44" y="47"/>
                </a:cubicBezTo>
                <a:cubicBezTo>
                  <a:pt x="43" y="47"/>
                  <a:pt x="44" y="46"/>
                  <a:pt x="44" y="45"/>
                </a:cubicBezTo>
                <a:cubicBezTo>
                  <a:pt x="45" y="45"/>
                  <a:pt x="45" y="44"/>
                  <a:pt x="46" y="44"/>
                </a:cubicBezTo>
                <a:cubicBezTo>
                  <a:pt x="46" y="44"/>
                  <a:pt x="46" y="43"/>
                  <a:pt x="46" y="43"/>
                </a:cubicBezTo>
                <a:cubicBezTo>
                  <a:pt x="45" y="43"/>
                  <a:pt x="45" y="44"/>
                  <a:pt x="44" y="44"/>
                </a:cubicBezTo>
                <a:cubicBezTo>
                  <a:pt x="44" y="44"/>
                  <a:pt x="43" y="43"/>
                  <a:pt x="43" y="44"/>
                </a:cubicBezTo>
                <a:cubicBezTo>
                  <a:pt x="43" y="44"/>
                  <a:pt x="42" y="44"/>
                  <a:pt x="42" y="44"/>
                </a:cubicBezTo>
                <a:cubicBezTo>
                  <a:pt x="43" y="45"/>
                  <a:pt x="42" y="45"/>
                  <a:pt x="42" y="45"/>
                </a:cubicBezTo>
                <a:cubicBezTo>
                  <a:pt x="42" y="44"/>
                  <a:pt x="41" y="45"/>
                  <a:pt x="40" y="45"/>
                </a:cubicBezTo>
                <a:cubicBezTo>
                  <a:pt x="40" y="46"/>
                  <a:pt x="39" y="46"/>
                  <a:pt x="40" y="46"/>
                </a:cubicBezTo>
                <a:cubicBezTo>
                  <a:pt x="40" y="46"/>
                  <a:pt x="40" y="47"/>
                  <a:pt x="40" y="47"/>
                </a:cubicBezTo>
                <a:cubicBezTo>
                  <a:pt x="39" y="48"/>
                  <a:pt x="39" y="46"/>
                  <a:pt x="39" y="46"/>
                </a:cubicBezTo>
                <a:cubicBezTo>
                  <a:pt x="38" y="46"/>
                  <a:pt x="39" y="45"/>
                  <a:pt x="39" y="45"/>
                </a:cubicBezTo>
                <a:cubicBezTo>
                  <a:pt x="40" y="45"/>
                  <a:pt x="40" y="44"/>
                  <a:pt x="40" y="44"/>
                </a:cubicBezTo>
                <a:cubicBezTo>
                  <a:pt x="40" y="44"/>
                  <a:pt x="40" y="44"/>
                  <a:pt x="40" y="44"/>
                </a:cubicBezTo>
                <a:cubicBezTo>
                  <a:pt x="40" y="45"/>
                  <a:pt x="39" y="45"/>
                  <a:pt x="38" y="45"/>
                </a:cubicBezTo>
                <a:cubicBezTo>
                  <a:pt x="37" y="45"/>
                  <a:pt x="37" y="46"/>
                  <a:pt x="38" y="46"/>
                </a:cubicBezTo>
                <a:cubicBezTo>
                  <a:pt x="39" y="47"/>
                  <a:pt x="38" y="47"/>
                  <a:pt x="37" y="46"/>
                </a:cubicBezTo>
                <a:cubicBezTo>
                  <a:pt x="37" y="46"/>
                  <a:pt x="36" y="46"/>
                  <a:pt x="36" y="47"/>
                </a:cubicBezTo>
                <a:cubicBezTo>
                  <a:pt x="35" y="47"/>
                  <a:pt x="37" y="47"/>
                  <a:pt x="37" y="48"/>
                </a:cubicBezTo>
                <a:cubicBezTo>
                  <a:pt x="37" y="48"/>
                  <a:pt x="36" y="47"/>
                  <a:pt x="36" y="48"/>
                </a:cubicBezTo>
                <a:cubicBezTo>
                  <a:pt x="36" y="48"/>
                  <a:pt x="35" y="47"/>
                  <a:pt x="35" y="47"/>
                </a:cubicBezTo>
                <a:cubicBezTo>
                  <a:pt x="35" y="46"/>
                  <a:pt x="33" y="47"/>
                  <a:pt x="34" y="47"/>
                </a:cubicBezTo>
                <a:cubicBezTo>
                  <a:pt x="35" y="47"/>
                  <a:pt x="34" y="48"/>
                  <a:pt x="34" y="49"/>
                </a:cubicBezTo>
                <a:cubicBezTo>
                  <a:pt x="34" y="49"/>
                  <a:pt x="34" y="49"/>
                  <a:pt x="34" y="48"/>
                </a:cubicBezTo>
                <a:cubicBezTo>
                  <a:pt x="34" y="48"/>
                  <a:pt x="33" y="48"/>
                  <a:pt x="32" y="48"/>
                </a:cubicBezTo>
                <a:cubicBezTo>
                  <a:pt x="32" y="48"/>
                  <a:pt x="33" y="47"/>
                  <a:pt x="32" y="47"/>
                </a:cubicBezTo>
                <a:cubicBezTo>
                  <a:pt x="32" y="46"/>
                  <a:pt x="31" y="47"/>
                  <a:pt x="31" y="47"/>
                </a:cubicBezTo>
                <a:cubicBezTo>
                  <a:pt x="30" y="47"/>
                  <a:pt x="30" y="47"/>
                  <a:pt x="30" y="48"/>
                </a:cubicBezTo>
                <a:cubicBezTo>
                  <a:pt x="31" y="48"/>
                  <a:pt x="31" y="49"/>
                  <a:pt x="30" y="49"/>
                </a:cubicBezTo>
                <a:cubicBezTo>
                  <a:pt x="29" y="48"/>
                  <a:pt x="29" y="49"/>
                  <a:pt x="29" y="49"/>
                </a:cubicBezTo>
                <a:cubicBezTo>
                  <a:pt x="29" y="50"/>
                  <a:pt x="29" y="50"/>
                  <a:pt x="28" y="49"/>
                </a:cubicBezTo>
                <a:cubicBezTo>
                  <a:pt x="28" y="49"/>
                  <a:pt x="27" y="49"/>
                  <a:pt x="27" y="49"/>
                </a:cubicBezTo>
                <a:cubicBezTo>
                  <a:pt x="27" y="50"/>
                  <a:pt x="26" y="50"/>
                  <a:pt x="26" y="51"/>
                </a:cubicBezTo>
                <a:cubicBezTo>
                  <a:pt x="26" y="51"/>
                  <a:pt x="27" y="51"/>
                  <a:pt x="27" y="51"/>
                </a:cubicBezTo>
                <a:cubicBezTo>
                  <a:pt x="28" y="51"/>
                  <a:pt x="27" y="51"/>
                  <a:pt x="28" y="52"/>
                </a:cubicBezTo>
                <a:cubicBezTo>
                  <a:pt x="28" y="52"/>
                  <a:pt x="28" y="53"/>
                  <a:pt x="27" y="52"/>
                </a:cubicBezTo>
                <a:cubicBezTo>
                  <a:pt x="27" y="52"/>
                  <a:pt x="26" y="52"/>
                  <a:pt x="26" y="52"/>
                </a:cubicBezTo>
                <a:cubicBezTo>
                  <a:pt x="26" y="53"/>
                  <a:pt x="26" y="52"/>
                  <a:pt x="25" y="52"/>
                </a:cubicBezTo>
                <a:cubicBezTo>
                  <a:pt x="25" y="51"/>
                  <a:pt x="24" y="53"/>
                  <a:pt x="24" y="52"/>
                </a:cubicBezTo>
                <a:cubicBezTo>
                  <a:pt x="24" y="52"/>
                  <a:pt x="25" y="51"/>
                  <a:pt x="25" y="50"/>
                </a:cubicBezTo>
                <a:cubicBezTo>
                  <a:pt x="24" y="50"/>
                  <a:pt x="24" y="51"/>
                  <a:pt x="23" y="52"/>
                </a:cubicBezTo>
                <a:cubicBezTo>
                  <a:pt x="22" y="52"/>
                  <a:pt x="21" y="52"/>
                  <a:pt x="22" y="53"/>
                </a:cubicBezTo>
                <a:cubicBezTo>
                  <a:pt x="22" y="53"/>
                  <a:pt x="21" y="53"/>
                  <a:pt x="21" y="54"/>
                </a:cubicBezTo>
                <a:cubicBezTo>
                  <a:pt x="21" y="54"/>
                  <a:pt x="19" y="55"/>
                  <a:pt x="18" y="55"/>
                </a:cubicBezTo>
                <a:cubicBezTo>
                  <a:pt x="17" y="56"/>
                  <a:pt x="18" y="56"/>
                  <a:pt x="19" y="55"/>
                </a:cubicBezTo>
                <a:cubicBezTo>
                  <a:pt x="19" y="55"/>
                  <a:pt x="20" y="55"/>
                  <a:pt x="21" y="55"/>
                </a:cubicBezTo>
                <a:cubicBezTo>
                  <a:pt x="21" y="54"/>
                  <a:pt x="22" y="54"/>
                  <a:pt x="23" y="54"/>
                </a:cubicBezTo>
                <a:cubicBezTo>
                  <a:pt x="23" y="54"/>
                  <a:pt x="24" y="54"/>
                  <a:pt x="24" y="54"/>
                </a:cubicBezTo>
                <a:cubicBezTo>
                  <a:pt x="24" y="53"/>
                  <a:pt x="25" y="53"/>
                  <a:pt x="25" y="53"/>
                </a:cubicBezTo>
                <a:cubicBezTo>
                  <a:pt x="26" y="54"/>
                  <a:pt x="25" y="54"/>
                  <a:pt x="25" y="55"/>
                </a:cubicBezTo>
                <a:cubicBezTo>
                  <a:pt x="26" y="55"/>
                  <a:pt x="25" y="55"/>
                  <a:pt x="25" y="55"/>
                </a:cubicBezTo>
                <a:cubicBezTo>
                  <a:pt x="25" y="55"/>
                  <a:pt x="24" y="54"/>
                  <a:pt x="24" y="55"/>
                </a:cubicBezTo>
                <a:cubicBezTo>
                  <a:pt x="23" y="55"/>
                  <a:pt x="23" y="55"/>
                  <a:pt x="23" y="55"/>
                </a:cubicBezTo>
                <a:cubicBezTo>
                  <a:pt x="22" y="56"/>
                  <a:pt x="22" y="56"/>
                  <a:pt x="22" y="57"/>
                </a:cubicBezTo>
                <a:cubicBezTo>
                  <a:pt x="22" y="58"/>
                  <a:pt x="21" y="57"/>
                  <a:pt x="21" y="58"/>
                </a:cubicBezTo>
                <a:cubicBezTo>
                  <a:pt x="21" y="58"/>
                  <a:pt x="20" y="60"/>
                  <a:pt x="19" y="61"/>
                </a:cubicBezTo>
                <a:cubicBezTo>
                  <a:pt x="18" y="61"/>
                  <a:pt x="19" y="62"/>
                  <a:pt x="19" y="62"/>
                </a:cubicBezTo>
                <a:cubicBezTo>
                  <a:pt x="18" y="63"/>
                  <a:pt x="17" y="62"/>
                  <a:pt x="17" y="62"/>
                </a:cubicBezTo>
                <a:cubicBezTo>
                  <a:pt x="16" y="63"/>
                  <a:pt x="17" y="64"/>
                  <a:pt x="17" y="65"/>
                </a:cubicBezTo>
                <a:cubicBezTo>
                  <a:pt x="16" y="65"/>
                  <a:pt x="17" y="66"/>
                  <a:pt x="17" y="66"/>
                </a:cubicBezTo>
                <a:cubicBezTo>
                  <a:pt x="17" y="67"/>
                  <a:pt x="15" y="66"/>
                  <a:pt x="15" y="66"/>
                </a:cubicBezTo>
                <a:cubicBezTo>
                  <a:pt x="15" y="67"/>
                  <a:pt x="14" y="67"/>
                  <a:pt x="14" y="67"/>
                </a:cubicBezTo>
                <a:cubicBezTo>
                  <a:pt x="13" y="67"/>
                  <a:pt x="14" y="68"/>
                  <a:pt x="15" y="68"/>
                </a:cubicBezTo>
                <a:cubicBezTo>
                  <a:pt x="15" y="69"/>
                  <a:pt x="14" y="69"/>
                  <a:pt x="14" y="68"/>
                </a:cubicBezTo>
                <a:cubicBezTo>
                  <a:pt x="14" y="68"/>
                  <a:pt x="13" y="69"/>
                  <a:pt x="12" y="69"/>
                </a:cubicBezTo>
                <a:cubicBezTo>
                  <a:pt x="11" y="70"/>
                  <a:pt x="12" y="71"/>
                  <a:pt x="11" y="71"/>
                </a:cubicBezTo>
                <a:cubicBezTo>
                  <a:pt x="10" y="71"/>
                  <a:pt x="10" y="72"/>
                  <a:pt x="10" y="72"/>
                </a:cubicBezTo>
                <a:cubicBezTo>
                  <a:pt x="9" y="73"/>
                  <a:pt x="9" y="71"/>
                  <a:pt x="9" y="71"/>
                </a:cubicBezTo>
                <a:cubicBezTo>
                  <a:pt x="8" y="71"/>
                  <a:pt x="8" y="72"/>
                  <a:pt x="8" y="73"/>
                </a:cubicBezTo>
                <a:cubicBezTo>
                  <a:pt x="9" y="73"/>
                  <a:pt x="8" y="73"/>
                  <a:pt x="7" y="73"/>
                </a:cubicBezTo>
                <a:cubicBezTo>
                  <a:pt x="7" y="74"/>
                  <a:pt x="5" y="74"/>
                  <a:pt x="5" y="74"/>
                </a:cubicBezTo>
                <a:cubicBezTo>
                  <a:pt x="5" y="75"/>
                  <a:pt x="6" y="75"/>
                  <a:pt x="6" y="75"/>
                </a:cubicBezTo>
                <a:cubicBezTo>
                  <a:pt x="6" y="75"/>
                  <a:pt x="5" y="75"/>
                  <a:pt x="4" y="75"/>
                </a:cubicBezTo>
                <a:cubicBezTo>
                  <a:pt x="4" y="75"/>
                  <a:pt x="4" y="76"/>
                  <a:pt x="3" y="76"/>
                </a:cubicBezTo>
                <a:cubicBezTo>
                  <a:pt x="2" y="76"/>
                  <a:pt x="2" y="76"/>
                  <a:pt x="2" y="77"/>
                </a:cubicBezTo>
                <a:cubicBezTo>
                  <a:pt x="2" y="77"/>
                  <a:pt x="2" y="77"/>
                  <a:pt x="1" y="77"/>
                </a:cubicBezTo>
                <a:cubicBezTo>
                  <a:pt x="1" y="77"/>
                  <a:pt x="0" y="77"/>
                  <a:pt x="0" y="78"/>
                </a:cubicBezTo>
                <a:cubicBezTo>
                  <a:pt x="0" y="79"/>
                  <a:pt x="1" y="79"/>
                  <a:pt x="1" y="79"/>
                </a:cubicBezTo>
                <a:cubicBezTo>
                  <a:pt x="1" y="79"/>
                  <a:pt x="0" y="80"/>
                  <a:pt x="1" y="80"/>
                </a:cubicBezTo>
                <a:cubicBezTo>
                  <a:pt x="1" y="80"/>
                  <a:pt x="1" y="81"/>
                  <a:pt x="1" y="81"/>
                </a:cubicBezTo>
                <a:cubicBezTo>
                  <a:pt x="0" y="81"/>
                  <a:pt x="0" y="81"/>
                  <a:pt x="1" y="82"/>
                </a:cubicBezTo>
                <a:cubicBezTo>
                  <a:pt x="1" y="82"/>
                  <a:pt x="0" y="82"/>
                  <a:pt x="0" y="83"/>
                </a:cubicBezTo>
                <a:cubicBezTo>
                  <a:pt x="1" y="84"/>
                  <a:pt x="1" y="83"/>
                  <a:pt x="2" y="83"/>
                </a:cubicBezTo>
                <a:cubicBezTo>
                  <a:pt x="2" y="84"/>
                  <a:pt x="2" y="84"/>
                  <a:pt x="3" y="83"/>
                </a:cubicBezTo>
                <a:cubicBezTo>
                  <a:pt x="4" y="82"/>
                  <a:pt x="4" y="84"/>
                  <a:pt x="4" y="84"/>
                </a:cubicBezTo>
                <a:cubicBezTo>
                  <a:pt x="3" y="84"/>
                  <a:pt x="2" y="84"/>
                  <a:pt x="2" y="84"/>
                </a:cubicBezTo>
                <a:cubicBezTo>
                  <a:pt x="2" y="85"/>
                  <a:pt x="1" y="85"/>
                  <a:pt x="1" y="84"/>
                </a:cubicBezTo>
                <a:cubicBezTo>
                  <a:pt x="2" y="84"/>
                  <a:pt x="0" y="84"/>
                  <a:pt x="1" y="85"/>
                </a:cubicBezTo>
                <a:cubicBezTo>
                  <a:pt x="1" y="85"/>
                  <a:pt x="1" y="86"/>
                  <a:pt x="1" y="86"/>
                </a:cubicBezTo>
                <a:cubicBezTo>
                  <a:pt x="1" y="87"/>
                  <a:pt x="1" y="87"/>
                  <a:pt x="2" y="86"/>
                </a:cubicBezTo>
                <a:cubicBezTo>
                  <a:pt x="2" y="85"/>
                  <a:pt x="3" y="86"/>
                  <a:pt x="3" y="86"/>
                </a:cubicBezTo>
                <a:cubicBezTo>
                  <a:pt x="3" y="87"/>
                  <a:pt x="2" y="86"/>
                  <a:pt x="2" y="87"/>
                </a:cubicBezTo>
                <a:cubicBezTo>
                  <a:pt x="2" y="88"/>
                  <a:pt x="2" y="87"/>
                  <a:pt x="2" y="88"/>
                </a:cubicBezTo>
                <a:cubicBezTo>
                  <a:pt x="1" y="88"/>
                  <a:pt x="3" y="89"/>
                  <a:pt x="4" y="90"/>
                </a:cubicBezTo>
                <a:cubicBezTo>
                  <a:pt x="4" y="90"/>
                  <a:pt x="5" y="90"/>
                  <a:pt x="6" y="90"/>
                </a:cubicBezTo>
                <a:cubicBezTo>
                  <a:pt x="8" y="90"/>
                  <a:pt x="10" y="88"/>
                  <a:pt x="11" y="87"/>
                </a:cubicBezTo>
                <a:cubicBezTo>
                  <a:pt x="11" y="87"/>
                  <a:pt x="12" y="87"/>
                  <a:pt x="12" y="87"/>
                </a:cubicBezTo>
                <a:cubicBezTo>
                  <a:pt x="13" y="87"/>
                  <a:pt x="12" y="85"/>
                  <a:pt x="13" y="85"/>
                </a:cubicBezTo>
                <a:cubicBezTo>
                  <a:pt x="13" y="85"/>
                  <a:pt x="13" y="86"/>
                  <a:pt x="14" y="87"/>
                </a:cubicBezTo>
                <a:cubicBezTo>
                  <a:pt x="14" y="87"/>
                  <a:pt x="14" y="87"/>
                  <a:pt x="14" y="88"/>
                </a:cubicBezTo>
                <a:cubicBezTo>
                  <a:pt x="14" y="87"/>
                  <a:pt x="15" y="87"/>
                  <a:pt x="15" y="88"/>
                </a:cubicBezTo>
                <a:cubicBezTo>
                  <a:pt x="15" y="88"/>
                  <a:pt x="15" y="87"/>
                  <a:pt x="15" y="86"/>
                </a:cubicBezTo>
                <a:cubicBezTo>
                  <a:pt x="15" y="86"/>
                  <a:pt x="16" y="85"/>
                  <a:pt x="16" y="84"/>
                </a:cubicBezTo>
                <a:cubicBezTo>
                  <a:pt x="15" y="84"/>
                  <a:pt x="17" y="84"/>
                  <a:pt x="17" y="84"/>
                </a:cubicBezTo>
                <a:cubicBezTo>
                  <a:pt x="17" y="83"/>
                  <a:pt x="17" y="82"/>
                  <a:pt x="17" y="82"/>
                </a:cubicBezTo>
                <a:cubicBezTo>
                  <a:pt x="17" y="82"/>
                  <a:pt x="16" y="81"/>
                  <a:pt x="17" y="81"/>
                </a:cubicBezTo>
                <a:cubicBezTo>
                  <a:pt x="17" y="81"/>
                  <a:pt x="18" y="80"/>
                  <a:pt x="18" y="80"/>
                </a:cubicBezTo>
                <a:cubicBezTo>
                  <a:pt x="18" y="79"/>
                  <a:pt x="16" y="79"/>
                  <a:pt x="16" y="78"/>
                </a:cubicBezTo>
                <a:cubicBezTo>
                  <a:pt x="16" y="77"/>
                  <a:pt x="17" y="77"/>
                  <a:pt x="16" y="76"/>
                </a:cubicBezTo>
                <a:cubicBezTo>
                  <a:pt x="16" y="75"/>
                  <a:pt x="17" y="74"/>
                  <a:pt x="16" y="74"/>
                </a:cubicBezTo>
                <a:cubicBezTo>
                  <a:pt x="16" y="73"/>
                  <a:pt x="16" y="72"/>
                  <a:pt x="17" y="71"/>
                </a:cubicBezTo>
                <a:cubicBezTo>
                  <a:pt x="17" y="70"/>
                  <a:pt x="18" y="70"/>
                  <a:pt x="19" y="70"/>
                </a:cubicBezTo>
                <a:cubicBezTo>
                  <a:pt x="19" y="70"/>
                  <a:pt x="20" y="70"/>
                  <a:pt x="20" y="70"/>
                </a:cubicBezTo>
                <a:cubicBezTo>
                  <a:pt x="20" y="69"/>
                  <a:pt x="20" y="69"/>
                  <a:pt x="20" y="69"/>
                </a:cubicBezTo>
                <a:cubicBezTo>
                  <a:pt x="20" y="68"/>
                  <a:pt x="19" y="68"/>
                  <a:pt x="20" y="67"/>
                </a:cubicBezTo>
                <a:cubicBezTo>
                  <a:pt x="20" y="67"/>
                  <a:pt x="21" y="66"/>
                  <a:pt x="21" y="65"/>
                </a:cubicBezTo>
                <a:cubicBezTo>
                  <a:pt x="21" y="64"/>
                  <a:pt x="21" y="63"/>
                  <a:pt x="21" y="63"/>
                </a:cubicBezTo>
                <a:cubicBezTo>
                  <a:pt x="22" y="62"/>
                  <a:pt x="22" y="63"/>
                  <a:pt x="23" y="62"/>
                </a:cubicBezTo>
                <a:cubicBezTo>
                  <a:pt x="24" y="62"/>
                  <a:pt x="23" y="61"/>
                  <a:pt x="23" y="61"/>
                </a:cubicBezTo>
                <a:cubicBezTo>
                  <a:pt x="24" y="61"/>
                  <a:pt x="24" y="60"/>
                  <a:pt x="24" y="59"/>
                </a:cubicBezTo>
                <a:cubicBezTo>
                  <a:pt x="25" y="59"/>
                  <a:pt x="25" y="59"/>
                  <a:pt x="25" y="58"/>
                </a:cubicBezTo>
                <a:cubicBezTo>
                  <a:pt x="25" y="58"/>
                  <a:pt x="26" y="57"/>
                  <a:pt x="26" y="57"/>
                </a:cubicBezTo>
                <a:cubicBezTo>
                  <a:pt x="26" y="56"/>
                  <a:pt x="27" y="55"/>
                  <a:pt x="27" y="55"/>
                </a:cubicBezTo>
                <a:cubicBezTo>
                  <a:pt x="28" y="55"/>
                  <a:pt x="29" y="55"/>
                  <a:pt x="29" y="55"/>
                </a:cubicBezTo>
                <a:cubicBezTo>
                  <a:pt x="29" y="54"/>
                  <a:pt x="29" y="53"/>
                  <a:pt x="30" y="53"/>
                </a:cubicBezTo>
                <a:cubicBezTo>
                  <a:pt x="30" y="53"/>
                  <a:pt x="31" y="53"/>
                  <a:pt x="32" y="53"/>
                </a:cubicBezTo>
                <a:cubicBezTo>
                  <a:pt x="32" y="54"/>
                  <a:pt x="33" y="54"/>
                  <a:pt x="33" y="53"/>
                </a:cubicBezTo>
                <a:cubicBezTo>
                  <a:pt x="33" y="52"/>
                  <a:pt x="34" y="51"/>
                  <a:pt x="35" y="51"/>
                </a:cubicBezTo>
                <a:cubicBezTo>
                  <a:pt x="35" y="51"/>
                  <a:pt x="35" y="51"/>
                  <a:pt x="35" y="52"/>
                </a:cubicBezTo>
                <a:cubicBezTo>
                  <a:pt x="35" y="51"/>
                  <a:pt x="36" y="50"/>
                  <a:pt x="36" y="50"/>
                </a:cubicBezTo>
                <a:cubicBezTo>
                  <a:pt x="37" y="51"/>
                  <a:pt x="38" y="52"/>
                  <a:pt x="39" y="52"/>
                </a:cubicBezTo>
                <a:cubicBezTo>
                  <a:pt x="40" y="52"/>
                  <a:pt x="41" y="53"/>
                  <a:pt x="41" y="52"/>
                </a:cubicBezTo>
                <a:cubicBezTo>
                  <a:pt x="41" y="52"/>
                  <a:pt x="42" y="53"/>
                  <a:pt x="43" y="52"/>
                </a:cubicBezTo>
                <a:cubicBezTo>
                  <a:pt x="43" y="52"/>
                  <a:pt x="43" y="54"/>
                  <a:pt x="44" y="53"/>
                </a:cubicBezTo>
                <a:cubicBezTo>
                  <a:pt x="45" y="52"/>
                  <a:pt x="44" y="51"/>
                  <a:pt x="45" y="51"/>
                </a:cubicBezTo>
                <a:cubicBezTo>
                  <a:pt x="46" y="52"/>
                  <a:pt x="45" y="50"/>
                  <a:pt x="45" y="50"/>
                </a:cubicBezTo>
                <a:cubicBezTo>
                  <a:pt x="45" y="49"/>
                  <a:pt x="47" y="49"/>
                  <a:pt x="47" y="48"/>
                </a:cubicBezTo>
                <a:cubicBezTo>
                  <a:pt x="47" y="47"/>
                  <a:pt x="49" y="48"/>
                  <a:pt x="49" y="48"/>
                </a:cubicBezTo>
                <a:cubicBezTo>
                  <a:pt x="49" y="47"/>
                  <a:pt x="50" y="47"/>
                  <a:pt x="51" y="48"/>
                </a:cubicBezTo>
                <a:cubicBezTo>
                  <a:pt x="51" y="48"/>
                  <a:pt x="53" y="49"/>
                  <a:pt x="53" y="49"/>
                </a:cubicBezTo>
                <a:cubicBezTo>
                  <a:pt x="53" y="49"/>
                  <a:pt x="53" y="50"/>
                  <a:pt x="53" y="50"/>
                </a:cubicBezTo>
                <a:cubicBezTo>
                  <a:pt x="53" y="50"/>
                  <a:pt x="54" y="50"/>
                  <a:pt x="54" y="50"/>
                </a:cubicBezTo>
                <a:cubicBezTo>
                  <a:pt x="55" y="50"/>
                  <a:pt x="55" y="49"/>
                  <a:pt x="56" y="49"/>
                </a:cubicBezTo>
                <a:cubicBezTo>
                  <a:pt x="56" y="49"/>
                  <a:pt x="57" y="49"/>
                  <a:pt x="57" y="48"/>
                </a:cubicBezTo>
                <a:cubicBezTo>
                  <a:pt x="56" y="48"/>
                  <a:pt x="55" y="48"/>
                  <a:pt x="55" y="48"/>
                </a:cubicBezTo>
                <a:moveTo>
                  <a:pt x="16" y="6"/>
                </a:moveTo>
                <a:cubicBezTo>
                  <a:pt x="17" y="7"/>
                  <a:pt x="15" y="8"/>
                  <a:pt x="15" y="9"/>
                </a:cubicBezTo>
                <a:cubicBezTo>
                  <a:pt x="14" y="10"/>
                  <a:pt x="16" y="10"/>
                  <a:pt x="17" y="11"/>
                </a:cubicBezTo>
                <a:cubicBezTo>
                  <a:pt x="18" y="12"/>
                  <a:pt x="19" y="12"/>
                  <a:pt x="20" y="11"/>
                </a:cubicBezTo>
                <a:cubicBezTo>
                  <a:pt x="21" y="11"/>
                  <a:pt x="20" y="9"/>
                  <a:pt x="21" y="10"/>
                </a:cubicBezTo>
                <a:cubicBezTo>
                  <a:pt x="22" y="10"/>
                  <a:pt x="22" y="9"/>
                  <a:pt x="22" y="9"/>
                </a:cubicBezTo>
                <a:cubicBezTo>
                  <a:pt x="23" y="8"/>
                  <a:pt x="23" y="9"/>
                  <a:pt x="22" y="10"/>
                </a:cubicBezTo>
                <a:cubicBezTo>
                  <a:pt x="22" y="11"/>
                  <a:pt x="23" y="10"/>
                  <a:pt x="24" y="10"/>
                </a:cubicBezTo>
                <a:cubicBezTo>
                  <a:pt x="25" y="9"/>
                  <a:pt x="25" y="10"/>
                  <a:pt x="25" y="10"/>
                </a:cubicBezTo>
                <a:cubicBezTo>
                  <a:pt x="25" y="11"/>
                  <a:pt x="23" y="11"/>
                  <a:pt x="23" y="12"/>
                </a:cubicBezTo>
                <a:cubicBezTo>
                  <a:pt x="22" y="13"/>
                  <a:pt x="20" y="12"/>
                  <a:pt x="19" y="13"/>
                </a:cubicBezTo>
                <a:cubicBezTo>
                  <a:pt x="18" y="14"/>
                  <a:pt x="20" y="14"/>
                  <a:pt x="21" y="14"/>
                </a:cubicBezTo>
                <a:cubicBezTo>
                  <a:pt x="22" y="13"/>
                  <a:pt x="25" y="13"/>
                  <a:pt x="26" y="13"/>
                </a:cubicBezTo>
                <a:cubicBezTo>
                  <a:pt x="26" y="14"/>
                  <a:pt x="25" y="14"/>
                  <a:pt x="24" y="14"/>
                </a:cubicBezTo>
                <a:cubicBezTo>
                  <a:pt x="22" y="14"/>
                  <a:pt x="22" y="14"/>
                  <a:pt x="22" y="15"/>
                </a:cubicBezTo>
                <a:cubicBezTo>
                  <a:pt x="22" y="15"/>
                  <a:pt x="20" y="14"/>
                  <a:pt x="19" y="15"/>
                </a:cubicBezTo>
                <a:cubicBezTo>
                  <a:pt x="19" y="16"/>
                  <a:pt x="21" y="16"/>
                  <a:pt x="22" y="17"/>
                </a:cubicBezTo>
                <a:cubicBezTo>
                  <a:pt x="22" y="17"/>
                  <a:pt x="23" y="17"/>
                  <a:pt x="24" y="17"/>
                </a:cubicBezTo>
                <a:cubicBezTo>
                  <a:pt x="24" y="17"/>
                  <a:pt x="23" y="18"/>
                  <a:pt x="23" y="18"/>
                </a:cubicBezTo>
                <a:cubicBezTo>
                  <a:pt x="23" y="18"/>
                  <a:pt x="24" y="19"/>
                  <a:pt x="25" y="19"/>
                </a:cubicBezTo>
                <a:cubicBezTo>
                  <a:pt x="25" y="20"/>
                  <a:pt x="26" y="19"/>
                  <a:pt x="26" y="19"/>
                </a:cubicBezTo>
                <a:cubicBezTo>
                  <a:pt x="26" y="18"/>
                  <a:pt x="27" y="15"/>
                  <a:pt x="29" y="15"/>
                </a:cubicBezTo>
                <a:cubicBezTo>
                  <a:pt x="30" y="14"/>
                  <a:pt x="29" y="14"/>
                  <a:pt x="29" y="13"/>
                </a:cubicBezTo>
                <a:cubicBezTo>
                  <a:pt x="30" y="12"/>
                  <a:pt x="31" y="13"/>
                  <a:pt x="30" y="12"/>
                </a:cubicBezTo>
                <a:cubicBezTo>
                  <a:pt x="30" y="11"/>
                  <a:pt x="30" y="11"/>
                  <a:pt x="31" y="10"/>
                </a:cubicBezTo>
                <a:cubicBezTo>
                  <a:pt x="32" y="9"/>
                  <a:pt x="33" y="10"/>
                  <a:pt x="34" y="9"/>
                </a:cubicBezTo>
                <a:cubicBezTo>
                  <a:pt x="35" y="9"/>
                  <a:pt x="36" y="10"/>
                  <a:pt x="34" y="10"/>
                </a:cubicBezTo>
                <a:cubicBezTo>
                  <a:pt x="33" y="10"/>
                  <a:pt x="34" y="11"/>
                  <a:pt x="35" y="11"/>
                </a:cubicBezTo>
                <a:cubicBezTo>
                  <a:pt x="36" y="12"/>
                  <a:pt x="35" y="12"/>
                  <a:pt x="35" y="12"/>
                </a:cubicBezTo>
                <a:cubicBezTo>
                  <a:pt x="36" y="12"/>
                  <a:pt x="36" y="13"/>
                  <a:pt x="35" y="14"/>
                </a:cubicBezTo>
                <a:cubicBezTo>
                  <a:pt x="34" y="15"/>
                  <a:pt x="35" y="15"/>
                  <a:pt x="37" y="15"/>
                </a:cubicBezTo>
                <a:cubicBezTo>
                  <a:pt x="39" y="14"/>
                  <a:pt x="38" y="15"/>
                  <a:pt x="38" y="16"/>
                </a:cubicBezTo>
                <a:cubicBezTo>
                  <a:pt x="39" y="16"/>
                  <a:pt x="40" y="16"/>
                  <a:pt x="41" y="15"/>
                </a:cubicBezTo>
                <a:cubicBezTo>
                  <a:pt x="42" y="14"/>
                  <a:pt x="43" y="14"/>
                  <a:pt x="43" y="13"/>
                </a:cubicBezTo>
                <a:cubicBezTo>
                  <a:pt x="43" y="13"/>
                  <a:pt x="42" y="13"/>
                  <a:pt x="42" y="13"/>
                </a:cubicBezTo>
                <a:cubicBezTo>
                  <a:pt x="41" y="13"/>
                  <a:pt x="39" y="13"/>
                  <a:pt x="40" y="13"/>
                </a:cubicBezTo>
                <a:cubicBezTo>
                  <a:pt x="40" y="12"/>
                  <a:pt x="40" y="12"/>
                  <a:pt x="39" y="12"/>
                </a:cubicBezTo>
                <a:cubicBezTo>
                  <a:pt x="38" y="12"/>
                  <a:pt x="37" y="11"/>
                  <a:pt x="38" y="11"/>
                </a:cubicBezTo>
                <a:cubicBezTo>
                  <a:pt x="38" y="11"/>
                  <a:pt x="37" y="10"/>
                  <a:pt x="36" y="10"/>
                </a:cubicBezTo>
                <a:cubicBezTo>
                  <a:pt x="36" y="10"/>
                  <a:pt x="36" y="9"/>
                  <a:pt x="36" y="8"/>
                </a:cubicBezTo>
                <a:cubicBezTo>
                  <a:pt x="36" y="8"/>
                  <a:pt x="34" y="8"/>
                  <a:pt x="34" y="8"/>
                </a:cubicBezTo>
                <a:cubicBezTo>
                  <a:pt x="35" y="7"/>
                  <a:pt x="34" y="7"/>
                  <a:pt x="33" y="7"/>
                </a:cubicBezTo>
                <a:cubicBezTo>
                  <a:pt x="33" y="8"/>
                  <a:pt x="32" y="8"/>
                  <a:pt x="32" y="7"/>
                </a:cubicBezTo>
                <a:cubicBezTo>
                  <a:pt x="32" y="6"/>
                  <a:pt x="31" y="7"/>
                  <a:pt x="30" y="7"/>
                </a:cubicBezTo>
                <a:cubicBezTo>
                  <a:pt x="30" y="7"/>
                  <a:pt x="30" y="5"/>
                  <a:pt x="29" y="5"/>
                </a:cubicBezTo>
                <a:cubicBezTo>
                  <a:pt x="29" y="4"/>
                  <a:pt x="28" y="6"/>
                  <a:pt x="28" y="6"/>
                </a:cubicBezTo>
                <a:cubicBezTo>
                  <a:pt x="27" y="6"/>
                  <a:pt x="28" y="5"/>
                  <a:pt x="28" y="4"/>
                </a:cubicBezTo>
                <a:cubicBezTo>
                  <a:pt x="28" y="3"/>
                  <a:pt x="26" y="3"/>
                  <a:pt x="26" y="3"/>
                </a:cubicBezTo>
                <a:cubicBezTo>
                  <a:pt x="26" y="4"/>
                  <a:pt x="25" y="2"/>
                  <a:pt x="25" y="2"/>
                </a:cubicBezTo>
                <a:cubicBezTo>
                  <a:pt x="24" y="2"/>
                  <a:pt x="25" y="3"/>
                  <a:pt x="24" y="3"/>
                </a:cubicBezTo>
                <a:cubicBezTo>
                  <a:pt x="24" y="3"/>
                  <a:pt x="23" y="4"/>
                  <a:pt x="24" y="4"/>
                </a:cubicBezTo>
                <a:cubicBezTo>
                  <a:pt x="25" y="5"/>
                  <a:pt x="25" y="7"/>
                  <a:pt x="25" y="8"/>
                </a:cubicBezTo>
                <a:cubicBezTo>
                  <a:pt x="25" y="8"/>
                  <a:pt x="23" y="6"/>
                  <a:pt x="23" y="5"/>
                </a:cubicBezTo>
                <a:cubicBezTo>
                  <a:pt x="23" y="4"/>
                  <a:pt x="22" y="3"/>
                  <a:pt x="21" y="4"/>
                </a:cubicBezTo>
                <a:cubicBezTo>
                  <a:pt x="21" y="5"/>
                  <a:pt x="20" y="5"/>
                  <a:pt x="20" y="6"/>
                </a:cubicBezTo>
                <a:cubicBezTo>
                  <a:pt x="21" y="6"/>
                  <a:pt x="20" y="7"/>
                  <a:pt x="20" y="6"/>
                </a:cubicBezTo>
                <a:cubicBezTo>
                  <a:pt x="20" y="5"/>
                  <a:pt x="19" y="5"/>
                  <a:pt x="18" y="5"/>
                </a:cubicBezTo>
                <a:cubicBezTo>
                  <a:pt x="18" y="5"/>
                  <a:pt x="19" y="4"/>
                  <a:pt x="20" y="4"/>
                </a:cubicBezTo>
                <a:cubicBezTo>
                  <a:pt x="21" y="4"/>
                  <a:pt x="19" y="3"/>
                  <a:pt x="19" y="3"/>
                </a:cubicBezTo>
                <a:cubicBezTo>
                  <a:pt x="18" y="4"/>
                  <a:pt x="17" y="3"/>
                  <a:pt x="17" y="4"/>
                </a:cubicBezTo>
                <a:cubicBezTo>
                  <a:pt x="16" y="4"/>
                  <a:pt x="16" y="4"/>
                  <a:pt x="15" y="4"/>
                </a:cubicBezTo>
                <a:cubicBezTo>
                  <a:pt x="15" y="3"/>
                  <a:pt x="14" y="5"/>
                  <a:pt x="14" y="4"/>
                </a:cubicBezTo>
                <a:cubicBezTo>
                  <a:pt x="13" y="4"/>
                  <a:pt x="13" y="5"/>
                  <a:pt x="14" y="7"/>
                </a:cubicBezTo>
                <a:cubicBezTo>
                  <a:pt x="14" y="8"/>
                  <a:pt x="15" y="6"/>
                  <a:pt x="16" y="6"/>
                </a:cubicBezTo>
                <a:moveTo>
                  <a:pt x="14" y="10"/>
                </a:moveTo>
                <a:cubicBezTo>
                  <a:pt x="14" y="11"/>
                  <a:pt x="15" y="12"/>
                  <a:pt x="15" y="11"/>
                </a:cubicBezTo>
                <a:cubicBezTo>
                  <a:pt x="16" y="11"/>
                  <a:pt x="15" y="10"/>
                  <a:pt x="14" y="10"/>
                </a:cubicBezTo>
                <a:cubicBezTo>
                  <a:pt x="13" y="9"/>
                  <a:pt x="13" y="8"/>
                  <a:pt x="12" y="8"/>
                </a:cubicBezTo>
                <a:cubicBezTo>
                  <a:pt x="12" y="9"/>
                  <a:pt x="13" y="10"/>
                  <a:pt x="14" y="10"/>
                </a:cubicBezTo>
                <a:moveTo>
                  <a:pt x="29" y="2"/>
                </a:moveTo>
                <a:cubicBezTo>
                  <a:pt x="30" y="3"/>
                  <a:pt x="29" y="3"/>
                  <a:pt x="29" y="3"/>
                </a:cubicBezTo>
                <a:cubicBezTo>
                  <a:pt x="31" y="5"/>
                  <a:pt x="36" y="3"/>
                  <a:pt x="37" y="4"/>
                </a:cubicBezTo>
                <a:cubicBezTo>
                  <a:pt x="38" y="4"/>
                  <a:pt x="32" y="5"/>
                  <a:pt x="33" y="5"/>
                </a:cubicBezTo>
                <a:cubicBezTo>
                  <a:pt x="33" y="6"/>
                  <a:pt x="37" y="6"/>
                  <a:pt x="38" y="6"/>
                </a:cubicBezTo>
                <a:cubicBezTo>
                  <a:pt x="38" y="5"/>
                  <a:pt x="39" y="7"/>
                  <a:pt x="40" y="7"/>
                </a:cubicBezTo>
                <a:cubicBezTo>
                  <a:pt x="42" y="7"/>
                  <a:pt x="42" y="6"/>
                  <a:pt x="43" y="6"/>
                </a:cubicBezTo>
                <a:cubicBezTo>
                  <a:pt x="44" y="6"/>
                  <a:pt x="46" y="5"/>
                  <a:pt x="46" y="5"/>
                </a:cubicBezTo>
                <a:cubicBezTo>
                  <a:pt x="46" y="4"/>
                  <a:pt x="49" y="3"/>
                  <a:pt x="49" y="2"/>
                </a:cubicBezTo>
                <a:cubicBezTo>
                  <a:pt x="49" y="1"/>
                  <a:pt x="45" y="2"/>
                  <a:pt x="44" y="2"/>
                </a:cubicBezTo>
                <a:cubicBezTo>
                  <a:pt x="44" y="1"/>
                  <a:pt x="42" y="0"/>
                  <a:pt x="41" y="1"/>
                </a:cubicBezTo>
                <a:cubicBezTo>
                  <a:pt x="41" y="2"/>
                  <a:pt x="40" y="2"/>
                  <a:pt x="40" y="2"/>
                </a:cubicBezTo>
                <a:cubicBezTo>
                  <a:pt x="40" y="1"/>
                  <a:pt x="40" y="0"/>
                  <a:pt x="39" y="0"/>
                </a:cubicBezTo>
                <a:cubicBezTo>
                  <a:pt x="37" y="1"/>
                  <a:pt x="39" y="2"/>
                  <a:pt x="38" y="3"/>
                </a:cubicBezTo>
                <a:cubicBezTo>
                  <a:pt x="38" y="3"/>
                  <a:pt x="37" y="2"/>
                  <a:pt x="37" y="2"/>
                </a:cubicBezTo>
                <a:cubicBezTo>
                  <a:pt x="36" y="1"/>
                  <a:pt x="35" y="2"/>
                  <a:pt x="35" y="1"/>
                </a:cubicBezTo>
                <a:cubicBezTo>
                  <a:pt x="35" y="1"/>
                  <a:pt x="33" y="0"/>
                  <a:pt x="32" y="0"/>
                </a:cubicBezTo>
                <a:cubicBezTo>
                  <a:pt x="32" y="0"/>
                  <a:pt x="33" y="1"/>
                  <a:pt x="32" y="1"/>
                </a:cubicBezTo>
                <a:cubicBezTo>
                  <a:pt x="32" y="1"/>
                  <a:pt x="31" y="1"/>
                  <a:pt x="31" y="1"/>
                </a:cubicBezTo>
                <a:cubicBezTo>
                  <a:pt x="30" y="1"/>
                  <a:pt x="31" y="1"/>
                  <a:pt x="31" y="2"/>
                </a:cubicBezTo>
                <a:cubicBezTo>
                  <a:pt x="31" y="2"/>
                  <a:pt x="30" y="1"/>
                  <a:pt x="29" y="1"/>
                </a:cubicBezTo>
                <a:cubicBezTo>
                  <a:pt x="29" y="1"/>
                  <a:pt x="29" y="1"/>
                  <a:pt x="28" y="1"/>
                </a:cubicBezTo>
                <a:cubicBezTo>
                  <a:pt x="28" y="2"/>
                  <a:pt x="29" y="2"/>
                  <a:pt x="2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76"/>
          <p:cNvSpPr>
            <a:spLocks/>
          </p:cNvSpPr>
          <p:nvPr/>
        </p:nvSpPr>
        <p:spPr bwMode="auto">
          <a:xfrm>
            <a:off x="4203456" y="2485333"/>
            <a:ext cx="32174" cy="14299"/>
          </a:xfrm>
          <a:custGeom>
            <a:avLst/>
            <a:gdLst>
              <a:gd name="T0" fmla="*/ 3 w 7"/>
              <a:gd name="T1" fmla="*/ 1 h 3"/>
              <a:gd name="T2" fmla="*/ 1 w 7"/>
              <a:gd name="T3" fmla="*/ 1 h 3"/>
              <a:gd name="T4" fmla="*/ 5 w 7"/>
              <a:gd name="T5" fmla="*/ 2 h 3"/>
              <a:gd name="T6" fmla="*/ 7 w 7"/>
              <a:gd name="T7" fmla="*/ 2 h 3"/>
              <a:gd name="T8" fmla="*/ 3 w 7"/>
              <a:gd name="T9" fmla="*/ 1 h 3"/>
            </a:gdLst>
            <a:ahLst/>
            <a:cxnLst>
              <a:cxn ang="0">
                <a:pos x="T0" y="T1"/>
              </a:cxn>
              <a:cxn ang="0">
                <a:pos x="T2" y="T3"/>
              </a:cxn>
              <a:cxn ang="0">
                <a:pos x="T4" y="T5"/>
              </a:cxn>
              <a:cxn ang="0">
                <a:pos x="T6" y="T7"/>
              </a:cxn>
              <a:cxn ang="0">
                <a:pos x="T8" y="T9"/>
              </a:cxn>
            </a:cxnLst>
            <a:rect l="0" t="0" r="r" b="b"/>
            <a:pathLst>
              <a:path w="7" h="3">
                <a:moveTo>
                  <a:pt x="3" y="1"/>
                </a:moveTo>
                <a:cubicBezTo>
                  <a:pt x="3" y="1"/>
                  <a:pt x="0" y="1"/>
                  <a:pt x="1" y="1"/>
                </a:cubicBezTo>
                <a:cubicBezTo>
                  <a:pt x="1" y="2"/>
                  <a:pt x="4" y="2"/>
                  <a:pt x="5" y="2"/>
                </a:cubicBezTo>
                <a:cubicBezTo>
                  <a:pt x="6" y="3"/>
                  <a:pt x="7" y="2"/>
                  <a:pt x="7" y="2"/>
                </a:cubicBezTo>
                <a:cubicBezTo>
                  <a:pt x="7" y="1"/>
                  <a:pt x="4"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77"/>
          <p:cNvSpPr>
            <a:spLocks noEditPoints="1"/>
          </p:cNvSpPr>
          <p:nvPr/>
        </p:nvSpPr>
        <p:spPr bwMode="auto">
          <a:xfrm>
            <a:off x="3570708" y="2753447"/>
            <a:ext cx="182317" cy="185892"/>
          </a:xfrm>
          <a:custGeom>
            <a:avLst/>
            <a:gdLst>
              <a:gd name="T0" fmla="*/ 34 w 38"/>
              <a:gd name="T1" fmla="*/ 5 h 38"/>
              <a:gd name="T2" fmla="*/ 27 w 38"/>
              <a:gd name="T3" fmla="*/ 2 h 38"/>
              <a:gd name="T4" fmla="*/ 27 w 38"/>
              <a:gd name="T5" fmla="*/ 6 h 38"/>
              <a:gd name="T6" fmla="*/ 24 w 38"/>
              <a:gd name="T7" fmla="*/ 8 h 38"/>
              <a:gd name="T8" fmla="*/ 24 w 38"/>
              <a:gd name="T9" fmla="*/ 11 h 38"/>
              <a:gd name="T10" fmla="*/ 26 w 38"/>
              <a:gd name="T11" fmla="*/ 10 h 38"/>
              <a:gd name="T12" fmla="*/ 26 w 38"/>
              <a:gd name="T13" fmla="*/ 9 h 38"/>
              <a:gd name="T14" fmla="*/ 31 w 38"/>
              <a:gd name="T15" fmla="*/ 9 h 38"/>
              <a:gd name="T16" fmla="*/ 35 w 38"/>
              <a:gd name="T17" fmla="*/ 6 h 38"/>
              <a:gd name="T18" fmla="*/ 36 w 38"/>
              <a:gd name="T19" fmla="*/ 4 h 38"/>
              <a:gd name="T20" fmla="*/ 23 w 38"/>
              <a:gd name="T21" fmla="*/ 16 h 38"/>
              <a:gd name="T22" fmla="*/ 21 w 38"/>
              <a:gd name="T23" fmla="*/ 21 h 38"/>
              <a:gd name="T24" fmla="*/ 17 w 38"/>
              <a:gd name="T25" fmla="*/ 22 h 38"/>
              <a:gd name="T26" fmla="*/ 14 w 38"/>
              <a:gd name="T27" fmla="*/ 26 h 38"/>
              <a:gd name="T28" fmla="*/ 10 w 38"/>
              <a:gd name="T29" fmla="*/ 27 h 38"/>
              <a:gd name="T30" fmla="*/ 4 w 38"/>
              <a:gd name="T31" fmla="*/ 30 h 38"/>
              <a:gd name="T32" fmla="*/ 6 w 38"/>
              <a:gd name="T33" fmla="*/ 30 h 38"/>
              <a:gd name="T34" fmla="*/ 13 w 38"/>
              <a:gd name="T35" fmla="*/ 31 h 38"/>
              <a:gd name="T36" fmla="*/ 16 w 38"/>
              <a:gd name="T37" fmla="*/ 29 h 38"/>
              <a:gd name="T38" fmla="*/ 20 w 38"/>
              <a:gd name="T39" fmla="*/ 29 h 38"/>
              <a:gd name="T40" fmla="*/ 22 w 38"/>
              <a:gd name="T41" fmla="*/ 28 h 38"/>
              <a:gd name="T42" fmla="*/ 25 w 38"/>
              <a:gd name="T43" fmla="*/ 24 h 38"/>
              <a:gd name="T44" fmla="*/ 28 w 38"/>
              <a:gd name="T45" fmla="*/ 18 h 38"/>
              <a:gd name="T46" fmla="*/ 24 w 38"/>
              <a:gd name="T47" fmla="*/ 13 h 38"/>
              <a:gd name="T48" fmla="*/ 7 w 38"/>
              <a:gd name="T49" fmla="*/ 31 h 38"/>
              <a:gd name="T50" fmla="*/ 8 w 38"/>
              <a:gd name="T51" fmla="*/ 33 h 38"/>
              <a:gd name="T52" fmla="*/ 12 w 38"/>
              <a:gd name="T53" fmla="*/ 30 h 38"/>
              <a:gd name="T54" fmla="*/ 5 w 38"/>
              <a:gd name="T55" fmla="*/ 33 h 38"/>
              <a:gd name="T56" fmla="*/ 1 w 38"/>
              <a:gd name="T57" fmla="*/ 32 h 38"/>
              <a:gd name="T58" fmla="*/ 2 w 38"/>
              <a:gd name="T59" fmla="*/ 33 h 38"/>
              <a:gd name="T60" fmla="*/ 3 w 38"/>
              <a:gd name="T61" fmla="*/ 38 h 38"/>
              <a:gd name="T62" fmla="*/ 5 w 38"/>
              <a:gd name="T6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38">
                <a:moveTo>
                  <a:pt x="36" y="4"/>
                </a:moveTo>
                <a:cubicBezTo>
                  <a:pt x="35" y="4"/>
                  <a:pt x="35" y="5"/>
                  <a:pt x="34" y="5"/>
                </a:cubicBezTo>
                <a:cubicBezTo>
                  <a:pt x="33" y="5"/>
                  <a:pt x="30" y="2"/>
                  <a:pt x="29" y="1"/>
                </a:cubicBezTo>
                <a:cubicBezTo>
                  <a:pt x="28" y="0"/>
                  <a:pt x="27" y="1"/>
                  <a:pt x="27" y="2"/>
                </a:cubicBezTo>
                <a:cubicBezTo>
                  <a:pt x="28" y="3"/>
                  <a:pt x="27" y="3"/>
                  <a:pt x="27" y="4"/>
                </a:cubicBezTo>
                <a:cubicBezTo>
                  <a:pt x="27" y="5"/>
                  <a:pt x="26" y="5"/>
                  <a:pt x="27" y="6"/>
                </a:cubicBezTo>
                <a:cubicBezTo>
                  <a:pt x="27" y="7"/>
                  <a:pt x="26" y="7"/>
                  <a:pt x="25" y="7"/>
                </a:cubicBezTo>
                <a:cubicBezTo>
                  <a:pt x="24" y="7"/>
                  <a:pt x="25" y="8"/>
                  <a:pt x="24" y="8"/>
                </a:cubicBezTo>
                <a:cubicBezTo>
                  <a:pt x="23" y="9"/>
                  <a:pt x="23" y="9"/>
                  <a:pt x="24" y="9"/>
                </a:cubicBezTo>
                <a:cubicBezTo>
                  <a:pt x="24" y="10"/>
                  <a:pt x="24" y="11"/>
                  <a:pt x="24" y="11"/>
                </a:cubicBezTo>
                <a:cubicBezTo>
                  <a:pt x="23" y="12"/>
                  <a:pt x="24" y="11"/>
                  <a:pt x="25" y="11"/>
                </a:cubicBezTo>
                <a:cubicBezTo>
                  <a:pt x="25" y="10"/>
                  <a:pt x="26" y="11"/>
                  <a:pt x="26" y="10"/>
                </a:cubicBezTo>
                <a:cubicBezTo>
                  <a:pt x="26" y="10"/>
                  <a:pt x="24" y="9"/>
                  <a:pt x="24" y="9"/>
                </a:cubicBezTo>
                <a:cubicBezTo>
                  <a:pt x="25" y="8"/>
                  <a:pt x="26" y="9"/>
                  <a:pt x="26" y="9"/>
                </a:cubicBezTo>
                <a:cubicBezTo>
                  <a:pt x="27" y="8"/>
                  <a:pt x="29" y="9"/>
                  <a:pt x="30" y="9"/>
                </a:cubicBezTo>
                <a:cubicBezTo>
                  <a:pt x="31" y="10"/>
                  <a:pt x="31" y="10"/>
                  <a:pt x="31" y="9"/>
                </a:cubicBezTo>
                <a:cubicBezTo>
                  <a:pt x="31" y="8"/>
                  <a:pt x="33" y="7"/>
                  <a:pt x="34" y="7"/>
                </a:cubicBezTo>
                <a:cubicBezTo>
                  <a:pt x="36" y="7"/>
                  <a:pt x="36" y="7"/>
                  <a:pt x="35" y="6"/>
                </a:cubicBezTo>
                <a:cubicBezTo>
                  <a:pt x="35" y="6"/>
                  <a:pt x="38" y="4"/>
                  <a:pt x="38" y="4"/>
                </a:cubicBezTo>
                <a:cubicBezTo>
                  <a:pt x="38" y="3"/>
                  <a:pt x="36" y="5"/>
                  <a:pt x="36" y="4"/>
                </a:cubicBezTo>
                <a:moveTo>
                  <a:pt x="24" y="13"/>
                </a:moveTo>
                <a:cubicBezTo>
                  <a:pt x="23" y="13"/>
                  <a:pt x="23" y="15"/>
                  <a:pt x="23" y="16"/>
                </a:cubicBezTo>
                <a:cubicBezTo>
                  <a:pt x="24" y="17"/>
                  <a:pt x="22" y="18"/>
                  <a:pt x="22" y="19"/>
                </a:cubicBezTo>
                <a:cubicBezTo>
                  <a:pt x="22" y="20"/>
                  <a:pt x="21" y="20"/>
                  <a:pt x="21" y="21"/>
                </a:cubicBezTo>
                <a:cubicBezTo>
                  <a:pt x="21" y="22"/>
                  <a:pt x="20" y="22"/>
                  <a:pt x="19" y="23"/>
                </a:cubicBezTo>
                <a:cubicBezTo>
                  <a:pt x="18" y="24"/>
                  <a:pt x="17" y="23"/>
                  <a:pt x="17" y="22"/>
                </a:cubicBezTo>
                <a:cubicBezTo>
                  <a:pt x="18" y="21"/>
                  <a:pt x="16" y="22"/>
                  <a:pt x="16" y="24"/>
                </a:cubicBezTo>
                <a:cubicBezTo>
                  <a:pt x="16" y="25"/>
                  <a:pt x="14" y="25"/>
                  <a:pt x="14" y="26"/>
                </a:cubicBezTo>
                <a:cubicBezTo>
                  <a:pt x="15" y="27"/>
                  <a:pt x="13" y="27"/>
                  <a:pt x="13" y="26"/>
                </a:cubicBezTo>
                <a:cubicBezTo>
                  <a:pt x="13" y="26"/>
                  <a:pt x="12" y="26"/>
                  <a:pt x="10" y="27"/>
                </a:cubicBezTo>
                <a:cubicBezTo>
                  <a:pt x="9" y="27"/>
                  <a:pt x="8" y="26"/>
                  <a:pt x="7" y="27"/>
                </a:cubicBezTo>
                <a:cubicBezTo>
                  <a:pt x="6" y="28"/>
                  <a:pt x="5" y="29"/>
                  <a:pt x="4" y="30"/>
                </a:cubicBezTo>
                <a:cubicBezTo>
                  <a:pt x="3" y="30"/>
                  <a:pt x="3" y="31"/>
                  <a:pt x="4" y="31"/>
                </a:cubicBezTo>
                <a:cubicBezTo>
                  <a:pt x="5" y="30"/>
                  <a:pt x="6" y="31"/>
                  <a:pt x="6" y="30"/>
                </a:cubicBezTo>
                <a:cubicBezTo>
                  <a:pt x="7" y="30"/>
                  <a:pt x="10" y="29"/>
                  <a:pt x="12" y="29"/>
                </a:cubicBezTo>
                <a:cubicBezTo>
                  <a:pt x="14" y="29"/>
                  <a:pt x="13" y="30"/>
                  <a:pt x="13" y="31"/>
                </a:cubicBezTo>
                <a:cubicBezTo>
                  <a:pt x="13" y="32"/>
                  <a:pt x="14" y="32"/>
                  <a:pt x="15" y="31"/>
                </a:cubicBezTo>
                <a:cubicBezTo>
                  <a:pt x="16" y="30"/>
                  <a:pt x="17" y="30"/>
                  <a:pt x="16" y="29"/>
                </a:cubicBezTo>
                <a:cubicBezTo>
                  <a:pt x="15" y="29"/>
                  <a:pt x="16" y="28"/>
                  <a:pt x="17" y="29"/>
                </a:cubicBezTo>
                <a:cubicBezTo>
                  <a:pt x="17" y="30"/>
                  <a:pt x="19" y="30"/>
                  <a:pt x="20" y="29"/>
                </a:cubicBezTo>
                <a:cubicBezTo>
                  <a:pt x="20" y="28"/>
                  <a:pt x="20" y="29"/>
                  <a:pt x="21" y="29"/>
                </a:cubicBezTo>
                <a:cubicBezTo>
                  <a:pt x="22" y="29"/>
                  <a:pt x="22" y="27"/>
                  <a:pt x="22" y="28"/>
                </a:cubicBezTo>
                <a:cubicBezTo>
                  <a:pt x="23" y="28"/>
                  <a:pt x="24" y="28"/>
                  <a:pt x="25" y="27"/>
                </a:cubicBezTo>
                <a:cubicBezTo>
                  <a:pt x="25" y="26"/>
                  <a:pt x="25" y="25"/>
                  <a:pt x="25" y="24"/>
                </a:cubicBezTo>
                <a:cubicBezTo>
                  <a:pt x="26" y="23"/>
                  <a:pt x="26" y="22"/>
                  <a:pt x="26" y="21"/>
                </a:cubicBezTo>
                <a:cubicBezTo>
                  <a:pt x="25" y="20"/>
                  <a:pt x="27" y="19"/>
                  <a:pt x="28" y="18"/>
                </a:cubicBezTo>
                <a:cubicBezTo>
                  <a:pt x="29" y="17"/>
                  <a:pt x="27" y="14"/>
                  <a:pt x="27" y="12"/>
                </a:cubicBezTo>
                <a:cubicBezTo>
                  <a:pt x="27" y="11"/>
                  <a:pt x="24" y="13"/>
                  <a:pt x="24" y="13"/>
                </a:cubicBezTo>
                <a:moveTo>
                  <a:pt x="9" y="30"/>
                </a:moveTo>
                <a:cubicBezTo>
                  <a:pt x="9" y="31"/>
                  <a:pt x="8" y="31"/>
                  <a:pt x="7" y="31"/>
                </a:cubicBezTo>
                <a:cubicBezTo>
                  <a:pt x="6" y="31"/>
                  <a:pt x="6" y="33"/>
                  <a:pt x="7" y="34"/>
                </a:cubicBezTo>
                <a:cubicBezTo>
                  <a:pt x="8" y="34"/>
                  <a:pt x="8" y="34"/>
                  <a:pt x="8" y="33"/>
                </a:cubicBezTo>
                <a:cubicBezTo>
                  <a:pt x="8" y="32"/>
                  <a:pt x="10" y="32"/>
                  <a:pt x="10" y="32"/>
                </a:cubicBezTo>
                <a:cubicBezTo>
                  <a:pt x="11" y="33"/>
                  <a:pt x="12" y="31"/>
                  <a:pt x="12" y="30"/>
                </a:cubicBezTo>
                <a:cubicBezTo>
                  <a:pt x="12" y="29"/>
                  <a:pt x="10" y="29"/>
                  <a:pt x="9" y="30"/>
                </a:cubicBezTo>
                <a:moveTo>
                  <a:pt x="5" y="33"/>
                </a:moveTo>
                <a:cubicBezTo>
                  <a:pt x="5" y="32"/>
                  <a:pt x="4" y="32"/>
                  <a:pt x="3" y="32"/>
                </a:cubicBezTo>
                <a:cubicBezTo>
                  <a:pt x="3" y="31"/>
                  <a:pt x="2" y="31"/>
                  <a:pt x="1" y="32"/>
                </a:cubicBezTo>
                <a:cubicBezTo>
                  <a:pt x="0" y="33"/>
                  <a:pt x="0" y="33"/>
                  <a:pt x="0" y="34"/>
                </a:cubicBezTo>
                <a:cubicBezTo>
                  <a:pt x="1" y="34"/>
                  <a:pt x="1" y="34"/>
                  <a:pt x="2" y="33"/>
                </a:cubicBezTo>
                <a:cubicBezTo>
                  <a:pt x="2" y="32"/>
                  <a:pt x="3" y="34"/>
                  <a:pt x="2" y="35"/>
                </a:cubicBezTo>
                <a:cubicBezTo>
                  <a:pt x="1" y="36"/>
                  <a:pt x="2" y="38"/>
                  <a:pt x="3" y="38"/>
                </a:cubicBezTo>
                <a:cubicBezTo>
                  <a:pt x="4" y="38"/>
                  <a:pt x="4" y="35"/>
                  <a:pt x="5" y="34"/>
                </a:cubicBezTo>
                <a:cubicBezTo>
                  <a:pt x="6" y="33"/>
                  <a:pt x="5" y="33"/>
                  <a:pt x="5" y="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378"/>
          <p:cNvSpPr>
            <a:spLocks noEditPoints="1"/>
          </p:cNvSpPr>
          <p:nvPr/>
        </p:nvSpPr>
        <p:spPr bwMode="auto">
          <a:xfrm>
            <a:off x="2988008" y="2642627"/>
            <a:ext cx="639898" cy="443281"/>
          </a:xfrm>
          <a:custGeom>
            <a:avLst/>
            <a:gdLst>
              <a:gd name="T0" fmla="*/ 126 w 133"/>
              <a:gd name="T1" fmla="*/ 17 h 92"/>
              <a:gd name="T2" fmla="*/ 120 w 133"/>
              <a:gd name="T3" fmla="*/ 12 h 92"/>
              <a:gd name="T4" fmla="*/ 115 w 133"/>
              <a:gd name="T5" fmla="*/ 5 h 92"/>
              <a:gd name="T6" fmla="*/ 107 w 133"/>
              <a:gd name="T7" fmla="*/ 0 h 92"/>
              <a:gd name="T8" fmla="*/ 102 w 133"/>
              <a:gd name="T9" fmla="*/ 4 h 92"/>
              <a:gd name="T10" fmla="*/ 97 w 133"/>
              <a:gd name="T11" fmla="*/ 11 h 92"/>
              <a:gd name="T12" fmla="*/ 91 w 133"/>
              <a:gd name="T13" fmla="*/ 14 h 92"/>
              <a:gd name="T14" fmla="*/ 95 w 133"/>
              <a:gd name="T15" fmla="*/ 17 h 92"/>
              <a:gd name="T16" fmla="*/ 95 w 133"/>
              <a:gd name="T17" fmla="*/ 21 h 92"/>
              <a:gd name="T18" fmla="*/ 83 w 133"/>
              <a:gd name="T19" fmla="*/ 25 h 92"/>
              <a:gd name="T20" fmla="*/ 75 w 133"/>
              <a:gd name="T21" fmla="*/ 32 h 92"/>
              <a:gd name="T22" fmla="*/ 62 w 133"/>
              <a:gd name="T23" fmla="*/ 33 h 92"/>
              <a:gd name="T24" fmla="*/ 48 w 133"/>
              <a:gd name="T25" fmla="*/ 31 h 92"/>
              <a:gd name="T26" fmla="*/ 41 w 133"/>
              <a:gd name="T27" fmla="*/ 25 h 92"/>
              <a:gd name="T28" fmla="*/ 36 w 133"/>
              <a:gd name="T29" fmla="*/ 18 h 92"/>
              <a:gd name="T30" fmla="*/ 30 w 133"/>
              <a:gd name="T31" fmla="*/ 13 h 92"/>
              <a:gd name="T32" fmla="*/ 27 w 133"/>
              <a:gd name="T33" fmla="*/ 15 h 92"/>
              <a:gd name="T34" fmla="*/ 22 w 133"/>
              <a:gd name="T35" fmla="*/ 19 h 92"/>
              <a:gd name="T36" fmla="*/ 18 w 133"/>
              <a:gd name="T37" fmla="*/ 24 h 92"/>
              <a:gd name="T38" fmla="*/ 16 w 133"/>
              <a:gd name="T39" fmla="*/ 30 h 92"/>
              <a:gd name="T40" fmla="*/ 11 w 133"/>
              <a:gd name="T41" fmla="*/ 35 h 92"/>
              <a:gd name="T42" fmla="*/ 4 w 133"/>
              <a:gd name="T43" fmla="*/ 37 h 92"/>
              <a:gd name="T44" fmla="*/ 0 w 133"/>
              <a:gd name="T45" fmla="*/ 39 h 92"/>
              <a:gd name="T46" fmla="*/ 3 w 133"/>
              <a:gd name="T47" fmla="*/ 46 h 92"/>
              <a:gd name="T48" fmla="*/ 8 w 133"/>
              <a:gd name="T49" fmla="*/ 50 h 92"/>
              <a:gd name="T50" fmla="*/ 14 w 133"/>
              <a:gd name="T51" fmla="*/ 51 h 92"/>
              <a:gd name="T52" fmla="*/ 12 w 133"/>
              <a:gd name="T53" fmla="*/ 56 h 92"/>
              <a:gd name="T54" fmla="*/ 13 w 133"/>
              <a:gd name="T55" fmla="*/ 61 h 92"/>
              <a:gd name="T56" fmla="*/ 17 w 133"/>
              <a:gd name="T57" fmla="*/ 63 h 92"/>
              <a:gd name="T58" fmla="*/ 30 w 133"/>
              <a:gd name="T59" fmla="*/ 69 h 92"/>
              <a:gd name="T60" fmla="*/ 32 w 133"/>
              <a:gd name="T61" fmla="*/ 70 h 92"/>
              <a:gd name="T62" fmla="*/ 39 w 133"/>
              <a:gd name="T63" fmla="*/ 69 h 92"/>
              <a:gd name="T64" fmla="*/ 43 w 133"/>
              <a:gd name="T65" fmla="*/ 66 h 92"/>
              <a:gd name="T66" fmla="*/ 49 w 133"/>
              <a:gd name="T67" fmla="*/ 68 h 92"/>
              <a:gd name="T68" fmla="*/ 52 w 133"/>
              <a:gd name="T69" fmla="*/ 70 h 92"/>
              <a:gd name="T70" fmla="*/ 52 w 133"/>
              <a:gd name="T71" fmla="*/ 78 h 92"/>
              <a:gd name="T72" fmla="*/ 55 w 133"/>
              <a:gd name="T73" fmla="*/ 83 h 92"/>
              <a:gd name="T74" fmla="*/ 59 w 133"/>
              <a:gd name="T75" fmla="*/ 83 h 92"/>
              <a:gd name="T76" fmla="*/ 64 w 133"/>
              <a:gd name="T77" fmla="*/ 81 h 92"/>
              <a:gd name="T78" fmla="*/ 70 w 133"/>
              <a:gd name="T79" fmla="*/ 82 h 92"/>
              <a:gd name="T80" fmla="*/ 75 w 133"/>
              <a:gd name="T81" fmla="*/ 84 h 92"/>
              <a:gd name="T82" fmla="*/ 78 w 133"/>
              <a:gd name="T83" fmla="*/ 85 h 92"/>
              <a:gd name="T84" fmla="*/ 91 w 133"/>
              <a:gd name="T85" fmla="*/ 80 h 92"/>
              <a:gd name="T86" fmla="*/ 97 w 133"/>
              <a:gd name="T87" fmla="*/ 76 h 92"/>
              <a:gd name="T88" fmla="*/ 99 w 133"/>
              <a:gd name="T89" fmla="*/ 71 h 92"/>
              <a:gd name="T90" fmla="*/ 103 w 133"/>
              <a:gd name="T91" fmla="*/ 66 h 92"/>
              <a:gd name="T92" fmla="*/ 102 w 133"/>
              <a:gd name="T93" fmla="*/ 63 h 92"/>
              <a:gd name="T94" fmla="*/ 101 w 133"/>
              <a:gd name="T95" fmla="*/ 59 h 92"/>
              <a:gd name="T96" fmla="*/ 102 w 133"/>
              <a:gd name="T97" fmla="*/ 56 h 92"/>
              <a:gd name="T98" fmla="*/ 100 w 133"/>
              <a:gd name="T99" fmla="*/ 48 h 92"/>
              <a:gd name="T100" fmla="*/ 104 w 133"/>
              <a:gd name="T101" fmla="*/ 45 h 92"/>
              <a:gd name="T102" fmla="*/ 95 w 133"/>
              <a:gd name="T103" fmla="*/ 43 h 92"/>
              <a:gd name="T104" fmla="*/ 104 w 133"/>
              <a:gd name="T105" fmla="*/ 36 h 92"/>
              <a:gd name="T106" fmla="*/ 108 w 133"/>
              <a:gd name="T107" fmla="*/ 39 h 92"/>
              <a:gd name="T108" fmla="*/ 115 w 133"/>
              <a:gd name="T109" fmla="*/ 34 h 92"/>
              <a:gd name="T110" fmla="*/ 121 w 133"/>
              <a:gd name="T111" fmla="*/ 32 h 92"/>
              <a:gd name="T112" fmla="*/ 125 w 133"/>
              <a:gd name="T113" fmla="*/ 31 h 92"/>
              <a:gd name="T114" fmla="*/ 127 w 133"/>
              <a:gd name="T115" fmla="*/ 24 h 92"/>
              <a:gd name="T116" fmla="*/ 132 w 133"/>
              <a:gd name="T117" fmla="*/ 18 h 92"/>
              <a:gd name="T118" fmla="*/ 104 w 133"/>
              <a:gd name="T119" fmla="*/ 75 h 92"/>
              <a:gd name="T120" fmla="*/ 78 w 133"/>
              <a:gd name="T121"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92">
                <a:moveTo>
                  <a:pt x="132" y="16"/>
                </a:moveTo>
                <a:cubicBezTo>
                  <a:pt x="132" y="15"/>
                  <a:pt x="131" y="16"/>
                  <a:pt x="131" y="16"/>
                </a:cubicBezTo>
                <a:cubicBezTo>
                  <a:pt x="130" y="16"/>
                  <a:pt x="129" y="16"/>
                  <a:pt x="128" y="17"/>
                </a:cubicBezTo>
                <a:cubicBezTo>
                  <a:pt x="128" y="18"/>
                  <a:pt x="127" y="17"/>
                  <a:pt x="126" y="17"/>
                </a:cubicBezTo>
                <a:cubicBezTo>
                  <a:pt x="125" y="17"/>
                  <a:pt x="124" y="17"/>
                  <a:pt x="124" y="16"/>
                </a:cubicBezTo>
                <a:cubicBezTo>
                  <a:pt x="124" y="16"/>
                  <a:pt x="124" y="15"/>
                  <a:pt x="124" y="15"/>
                </a:cubicBezTo>
                <a:cubicBezTo>
                  <a:pt x="124" y="14"/>
                  <a:pt x="123" y="14"/>
                  <a:pt x="122" y="13"/>
                </a:cubicBezTo>
                <a:cubicBezTo>
                  <a:pt x="122" y="13"/>
                  <a:pt x="120" y="12"/>
                  <a:pt x="120" y="12"/>
                </a:cubicBezTo>
                <a:cubicBezTo>
                  <a:pt x="120" y="13"/>
                  <a:pt x="119" y="12"/>
                  <a:pt x="118" y="12"/>
                </a:cubicBezTo>
                <a:cubicBezTo>
                  <a:pt x="117" y="12"/>
                  <a:pt x="117" y="11"/>
                  <a:pt x="117" y="10"/>
                </a:cubicBezTo>
                <a:cubicBezTo>
                  <a:pt x="117" y="10"/>
                  <a:pt x="116" y="9"/>
                  <a:pt x="116" y="8"/>
                </a:cubicBezTo>
                <a:cubicBezTo>
                  <a:pt x="116" y="7"/>
                  <a:pt x="115" y="7"/>
                  <a:pt x="115" y="5"/>
                </a:cubicBezTo>
                <a:cubicBezTo>
                  <a:pt x="114" y="3"/>
                  <a:pt x="113" y="4"/>
                  <a:pt x="114" y="3"/>
                </a:cubicBezTo>
                <a:cubicBezTo>
                  <a:pt x="114" y="2"/>
                  <a:pt x="112" y="2"/>
                  <a:pt x="112" y="2"/>
                </a:cubicBezTo>
                <a:cubicBezTo>
                  <a:pt x="112" y="1"/>
                  <a:pt x="110" y="1"/>
                  <a:pt x="109" y="1"/>
                </a:cubicBezTo>
                <a:cubicBezTo>
                  <a:pt x="108" y="0"/>
                  <a:pt x="108" y="1"/>
                  <a:pt x="107" y="0"/>
                </a:cubicBezTo>
                <a:cubicBezTo>
                  <a:pt x="106" y="0"/>
                  <a:pt x="104" y="1"/>
                  <a:pt x="104" y="1"/>
                </a:cubicBezTo>
                <a:cubicBezTo>
                  <a:pt x="103" y="1"/>
                  <a:pt x="102" y="0"/>
                  <a:pt x="101" y="2"/>
                </a:cubicBezTo>
                <a:cubicBezTo>
                  <a:pt x="100" y="3"/>
                  <a:pt x="101" y="3"/>
                  <a:pt x="101" y="3"/>
                </a:cubicBezTo>
                <a:cubicBezTo>
                  <a:pt x="101" y="3"/>
                  <a:pt x="102" y="4"/>
                  <a:pt x="102" y="4"/>
                </a:cubicBezTo>
                <a:cubicBezTo>
                  <a:pt x="102" y="5"/>
                  <a:pt x="101" y="5"/>
                  <a:pt x="101" y="5"/>
                </a:cubicBezTo>
                <a:cubicBezTo>
                  <a:pt x="100" y="5"/>
                  <a:pt x="99" y="7"/>
                  <a:pt x="99" y="7"/>
                </a:cubicBezTo>
                <a:cubicBezTo>
                  <a:pt x="99" y="8"/>
                  <a:pt x="98" y="9"/>
                  <a:pt x="98" y="10"/>
                </a:cubicBezTo>
                <a:cubicBezTo>
                  <a:pt x="98" y="10"/>
                  <a:pt x="98" y="11"/>
                  <a:pt x="97" y="11"/>
                </a:cubicBezTo>
                <a:cubicBezTo>
                  <a:pt x="97" y="11"/>
                  <a:pt x="96" y="12"/>
                  <a:pt x="95" y="12"/>
                </a:cubicBezTo>
                <a:cubicBezTo>
                  <a:pt x="95" y="12"/>
                  <a:pt x="93" y="12"/>
                  <a:pt x="93" y="11"/>
                </a:cubicBezTo>
                <a:cubicBezTo>
                  <a:pt x="93" y="11"/>
                  <a:pt x="93" y="11"/>
                  <a:pt x="93" y="11"/>
                </a:cubicBezTo>
                <a:cubicBezTo>
                  <a:pt x="91" y="14"/>
                  <a:pt x="91" y="14"/>
                  <a:pt x="91" y="14"/>
                </a:cubicBezTo>
                <a:cubicBezTo>
                  <a:pt x="91" y="16"/>
                  <a:pt x="91" y="16"/>
                  <a:pt x="91" y="16"/>
                </a:cubicBezTo>
                <a:cubicBezTo>
                  <a:pt x="91" y="16"/>
                  <a:pt x="90" y="16"/>
                  <a:pt x="90" y="17"/>
                </a:cubicBezTo>
                <a:cubicBezTo>
                  <a:pt x="91" y="18"/>
                  <a:pt x="91" y="17"/>
                  <a:pt x="93" y="17"/>
                </a:cubicBezTo>
                <a:cubicBezTo>
                  <a:pt x="94" y="17"/>
                  <a:pt x="95" y="18"/>
                  <a:pt x="95" y="17"/>
                </a:cubicBezTo>
                <a:cubicBezTo>
                  <a:pt x="95" y="16"/>
                  <a:pt x="96" y="16"/>
                  <a:pt x="97" y="17"/>
                </a:cubicBezTo>
                <a:cubicBezTo>
                  <a:pt x="98" y="18"/>
                  <a:pt x="100" y="19"/>
                  <a:pt x="100" y="20"/>
                </a:cubicBezTo>
                <a:cubicBezTo>
                  <a:pt x="100" y="21"/>
                  <a:pt x="98" y="20"/>
                  <a:pt x="97" y="20"/>
                </a:cubicBezTo>
                <a:cubicBezTo>
                  <a:pt x="97" y="20"/>
                  <a:pt x="96" y="21"/>
                  <a:pt x="95" y="21"/>
                </a:cubicBezTo>
                <a:cubicBezTo>
                  <a:pt x="94" y="21"/>
                  <a:pt x="93" y="21"/>
                  <a:pt x="92" y="22"/>
                </a:cubicBezTo>
                <a:cubicBezTo>
                  <a:pt x="91" y="23"/>
                  <a:pt x="91" y="24"/>
                  <a:pt x="90" y="24"/>
                </a:cubicBezTo>
                <a:cubicBezTo>
                  <a:pt x="89" y="24"/>
                  <a:pt x="88" y="24"/>
                  <a:pt x="87" y="25"/>
                </a:cubicBezTo>
                <a:cubicBezTo>
                  <a:pt x="85" y="26"/>
                  <a:pt x="84" y="25"/>
                  <a:pt x="83" y="25"/>
                </a:cubicBezTo>
                <a:cubicBezTo>
                  <a:pt x="83" y="25"/>
                  <a:pt x="82" y="25"/>
                  <a:pt x="81" y="26"/>
                </a:cubicBezTo>
                <a:cubicBezTo>
                  <a:pt x="80" y="27"/>
                  <a:pt x="82" y="27"/>
                  <a:pt x="82" y="28"/>
                </a:cubicBezTo>
                <a:cubicBezTo>
                  <a:pt x="81" y="29"/>
                  <a:pt x="80" y="29"/>
                  <a:pt x="79" y="30"/>
                </a:cubicBezTo>
                <a:cubicBezTo>
                  <a:pt x="78" y="31"/>
                  <a:pt x="76" y="32"/>
                  <a:pt x="75" y="32"/>
                </a:cubicBezTo>
                <a:cubicBezTo>
                  <a:pt x="74" y="32"/>
                  <a:pt x="72" y="31"/>
                  <a:pt x="70" y="32"/>
                </a:cubicBezTo>
                <a:cubicBezTo>
                  <a:pt x="68" y="33"/>
                  <a:pt x="67" y="34"/>
                  <a:pt x="66" y="34"/>
                </a:cubicBezTo>
                <a:cubicBezTo>
                  <a:pt x="65" y="34"/>
                  <a:pt x="65" y="33"/>
                  <a:pt x="64" y="33"/>
                </a:cubicBezTo>
                <a:cubicBezTo>
                  <a:pt x="63" y="33"/>
                  <a:pt x="63" y="33"/>
                  <a:pt x="62" y="33"/>
                </a:cubicBezTo>
                <a:cubicBezTo>
                  <a:pt x="61" y="32"/>
                  <a:pt x="61" y="33"/>
                  <a:pt x="60" y="32"/>
                </a:cubicBezTo>
                <a:cubicBezTo>
                  <a:pt x="58" y="31"/>
                  <a:pt x="56" y="31"/>
                  <a:pt x="56" y="31"/>
                </a:cubicBezTo>
                <a:cubicBezTo>
                  <a:pt x="55" y="31"/>
                  <a:pt x="51" y="31"/>
                  <a:pt x="50" y="31"/>
                </a:cubicBezTo>
                <a:cubicBezTo>
                  <a:pt x="49" y="31"/>
                  <a:pt x="48" y="31"/>
                  <a:pt x="48" y="31"/>
                </a:cubicBezTo>
                <a:cubicBezTo>
                  <a:pt x="47" y="30"/>
                  <a:pt x="47" y="30"/>
                  <a:pt x="46" y="29"/>
                </a:cubicBezTo>
                <a:cubicBezTo>
                  <a:pt x="46" y="27"/>
                  <a:pt x="45" y="27"/>
                  <a:pt x="45" y="27"/>
                </a:cubicBezTo>
                <a:cubicBezTo>
                  <a:pt x="44" y="27"/>
                  <a:pt x="44" y="26"/>
                  <a:pt x="43" y="26"/>
                </a:cubicBezTo>
                <a:cubicBezTo>
                  <a:pt x="43" y="26"/>
                  <a:pt x="42" y="25"/>
                  <a:pt x="41" y="25"/>
                </a:cubicBezTo>
                <a:cubicBezTo>
                  <a:pt x="40" y="25"/>
                  <a:pt x="37" y="24"/>
                  <a:pt x="36" y="23"/>
                </a:cubicBezTo>
                <a:cubicBezTo>
                  <a:pt x="36" y="23"/>
                  <a:pt x="37" y="22"/>
                  <a:pt x="37" y="22"/>
                </a:cubicBezTo>
                <a:cubicBezTo>
                  <a:pt x="37" y="21"/>
                  <a:pt x="38" y="20"/>
                  <a:pt x="37" y="19"/>
                </a:cubicBezTo>
                <a:cubicBezTo>
                  <a:pt x="37" y="19"/>
                  <a:pt x="36" y="18"/>
                  <a:pt x="36" y="18"/>
                </a:cubicBezTo>
                <a:cubicBezTo>
                  <a:pt x="36" y="17"/>
                  <a:pt x="35" y="16"/>
                  <a:pt x="34" y="16"/>
                </a:cubicBezTo>
                <a:cubicBezTo>
                  <a:pt x="33" y="16"/>
                  <a:pt x="33" y="16"/>
                  <a:pt x="32" y="15"/>
                </a:cubicBezTo>
                <a:cubicBezTo>
                  <a:pt x="31" y="15"/>
                  <a:pt x="31" y="15"/>
                  <a:pt x="30" y="13"/>
                </a:cubicBezTo>
                <a:cubicBezTo>
                  <a:pt x="30" y="13"/>
                  <a:pt x="30" y="13"/>
                  <a:pt x="30" y="13"/>
                </a:cubicBezTo>
                <a:cubicBezTo>
                  <a:pt x="30" y="13"/>
                  <a:pt x="30" y="13"/>
                  <a:pt x="30" y="13"/>
                </a:cubicBezTo>
                <a:cubicBezTo>
                  <a:pt x="29" y="13"/>
                  <a:pt x="29" y="13"/>
                  <a:pt x="29" y="12"/>
                </a:cubicBezTo>
                <a:cubicBezTo>
                  <a:pt x="29" y="13"/>
                  <a:pt x="28" y="13"/>
                  <a:pt x="28" y="14"/>
                </a:cubicBezTo>
                <a:cubicBezTo>
                  <a:pt x="28" y="14"/>
                  <a:pt x="28" y="15"/>
                  <a:pt x="27" y="15"/>
                </a:cubicBezTo>
                <a:cubicBezTo>
                  <a:pt x="27" y="15"/>
                  <a:pt x="26" y="16"/>
                  <a:pt x="26" y="17"/>
                </a:cubicBezTo>
                <a:cubicBezTo>
                  <a:pt x="26" y="18"/>
                  <a:pt x="26" y="18"/>
                  <a:pt x="26" y="18"/>
                </a:cubicBezTo>
                <a:cubicBezTo>
                  <a:pt x="26" y="19"/>
                  <a:pt x="24" y="19"/>
                  <a:pt x="24" y="19"/>
                </a:cubicBezTo>
                <a:cubicBezTo>
                  <a:pt x="24" y="19"/>
                  <a:pt x="23" y="19"/>
                  <a:pt x="22" y="19"/>
                </a:cubicBezTo>
                <a:cubicBezTo>
                  <a:pt x="21" y="19"/>
                  <a:pt x="21" y="18"/>
                  <a:pt x="20" y="19"/>
                </a:cubicBezTo>
                <a:cubicBezTo>
                  <a:pt x="20" y="20"/>
                  <a:pt x="19" y="23"/>
                  <a:pt x="19" y="23"/>
                </a:cubicBezTo>
                <a:cubicBezTo>
                  <a:pt x="19" y="24"/>
                  <a:pt x="20" y="24"/>
                  <a:pt x="19" y="24"/>
                </a:cubicBezTo>
                <a:cubicBezTo>
                  <a:pt x="18" y="24"/>
                  <a:pt x="18" y="24"/>
                  <a:pt x="18" y="24"/>
                </a:cubicBezTo>
                <a:cubicBezTo>
                  <a:pt x="17" y="24"/>
                  <a:pt x="16" y="24"/>
                  <a:pt x="15" y="24"/>
                </a:cubicBezTo>
                <a:cubicBezTo>
                  <a:pt x="15" y="24"/>
                  <a:pt x="14" y="25"/>
                  <a:pt x="14" y="25"/>
                </a:cubicBezTo>
                <a:cubicBezTo>
                  <a:pt x="15" y="25"/>
                  <a:pt x="15" y="27"/>
                  <a:pt x="15" y="27"/>
                </a:cubicBezTo>
                <a:cubicBezTo>
                  <a:pt x="15" y="28"/>
                  <a:pt x="16" y="29"/>
                  <a:pt x="16" y="30"/>
                </a:cubicBezTo>
                <a:cubicBezTo>
                  <a:pt x="15" y="30"/>
                  <a:pt x="14" y="31"/>
                  <a:pt x="14" y="31"/>
                </a:cubicBezTo>
                <a:cubicBezTo>
                  <a:pt x="14" y="32"/>
                  <a:pt x="15" y="32"/>
                  <a:pt x="14" y="33"/>
                </a:cubicBezTo>
                <a:cubicBezTo>
                  <a:pt x="14" y="33"/>
                  <a:pt x="13" y="33"/>
                  <a:pt x="12" y="34"/>
                </a:cubicBezTo>
                <a:cubicBezTo>
                  <a:pt x="12" y="34"/>
                  <a:pt x="11" y="34"/>
                  <a:pt x="11" y="35"/>
                </a:cubicBezTo>
                <a:cubicBezTo>
                  <a:pt x="10" y="35"/>
                  <a:pt x="10" y="36"/>
                  <a:pt x="9" y="36"/>
                </a:cubicBezTo>
                <a:cubicBezTo>
                  <a:pt x="8" y="35"/>
                  <a:pt x="7" y="35"/>
                  <a:pt x="7" y="36"/>
                </a:cubicBezTo>
                <a:cubicBezTo>
                  <a:pt x="6" y="37"/>
                  <a:pt x="6" y="37"/>
                  <a:pt x="5" y="37"/>
                </a:cubicBezTo>
                <a:cubicBezTo>
                  <a:pt x="5" y="37"/>
                  <a:pt x="4" y="37"/>
                  <a:pt x="4" y="37"/>
                </a:cubicBezTo>
                <a:cubicBezTo>
                  <a:pt x="4" y="36"/>
                  <a:pt x="3" y="37"/>
                  <a:pt x="3" y="37"/>
                </a:cubicBezTo>
                <a:cubicBezTo>
                  <a:pt x="2" y="37"/>
                  <a:pt x="2" y="38"/>
                  <a:pt x="2" y="38"/>
                </a:cubicBezTo>
                <a:cubicBezTo>
                  <a:pt x="1" y="38"/>
                  <a:pt x="1" y="38"/>
                  <a:pt x="1" y="38"/>
                </a:cubicBezTo>
                <a:cubicBezTo>
                  <a:pt x="1" y="39"/>
                  <a:pt x="0" y="39"/>
                  <a:pt x="0" y="39"/>
                </a:cubicBezTo>
                <a:cubicBezTo>
                  <a:pt x="1" y="41"/>
                  <a:pt x="1" y="41"/>
                  <a:pt x="1" y="41"/>
                </a:cubicBezTo>
                <a:cubicBezTo>
                  <a:pt x="1" y="41"/>
                  <a:pt x="3" y="42"/>
                  <a:pt x="3" y="43"/>
                </a:cubicBezTo>
                <a:cubicBezTo>
                  <a:pt x="3" y="43"/>
                  <a:pt x="3" y="46"/>
                  <a:pt x="3" y="46"/>
                </a:cubicBezTo>
                <a:cubicBezTo>
                  <a:pt x="3" y="46"/>
                  <a:pt x="3" y="46"/>
                  <a:pt x="3" y="46"/>
                </a:cubicBezTo>
                <a:cubicBezTo>
                  <a:pt x="4" y="46"/>
                  <a:pt x="5" y="47"/>
                  <a:pt x="5" y="47"/>
                </a:cubicBezTo>
                <a:cubicBezTo>
                  <a:pt x="5" y="48"/>
                  <a:pt x="5" y="49"/>
                  <a:pt x="6" y="49"/>
                </a:cubicBezTo>
                <a:cubicBezTo>
                  <a:pt x="7" y="49"/>
                  <a:pt x="8" y="50"/>
                  <a:pt x="8" y="50"/>
                </a:cubicBezTo>
                <a:cubicBezTo>
                  <a:pt x="8" y="50"/>
                  <a:pt x="8" y="50"/>
                  <a:pt x="8" y="50"/>
                </a:cubicBezTo>
                <a:cubicBezTo>
                  <a:pt x="9" y="50"/>
                  <a:pt x="9" y="50"/>
                  <a:pt x="9" y="50"/>
                </a:cubicBezTo>
                <a:cubicBezTo>
                  <a:pt x="9" y="50"/>
                  <a:pt x="9" y="50"/>
                  <a:pt x="9" y="50"/>
                </a:cubicBezTo>
                <a:cubicBezTo>
                  <a:pt x="10" y="49"/>
                  <a:pt x="11" y="49"/>
                  <a:pt x="12" y="49"/>
                </a:cubicBezTo>
                <a:cubicBezTo>
                  <a:pt x="13" y="49"/>
                  <a:pt x="15" y="50"/>
                  <a:pt x="14" y="51"/>
                </a:cubicBezTo>
                <a:cubicBezTo>
                  <a:pt x="14" y="51"/>
                  <a:pt x="13" y="53"/>
                  <a:pt x="12" y="53"/>
                </a:cubicBezTo>
                <a:cubicBezTo>
                  <a:pt x="12" y="53"/>
                  <a:pt x="12" y="53"/>
                  <a:pt x="11" y="53"/>
                </a:cubicBezTo>
                <a:cubicBezTo>
                  <a:pt x="11" y="54"/>
                  <a:pt x="11" y="54"/>
                  <a:pt x="11" y="54"/>
                </a:cubicBezTo>
                <a:cubicBezTo>
                  <a:pt x="11" y="55"/>
                  <a:pt x="12" y="55"/>
                  <a:pt x="12" y="56"/>
                </a:cubicBezTo>
                <a:cubicBezTo>
                  <a:pt x="13" y="57"/>
                  <a:pt x="12" y="58"/>
                  <a:pt x="11" y="57"/>
                </a:cubicBezTo>
                <a:cubicBezTo>
                  <a:pt x="11" y="56"/>
                  <a:pt x="10" y="58"/>
                  <a:pt x="11" y="58"/>
                </a:cubicBezTo>
                <a:cubicBezTo>
                  <a:pt x="11" y="58"/>
                  <a:pt x="11" y="60"/>
                  <a:pt x="11" y="60"/>
                </a:cubicBezTo>
                <a:cubicBezTo>
                  <a:pt x="12" y="60"/>
                  <a:pt x="13" y="61"/>
                  <a:pt x="13" y="61"/>
                </a:cubicBezTo>
                <a:cubicBezTo>
                  <a:pt x="14" y="61"/>
                  <a:pt x="15" y="62"/>
                  <a:pt x="15" y="62"/>
                </a:cubicBezTo>
                <a:cubicBezTo>
                  <a:pt x="15" y="62"/>
                  <a:pt x="15" y="63"/>
                  <a:pt x="15" y="63"/>
                </a:cubicBezTo>
                <a:cubicBezTo>
                  <a:pt x="15" y="63"/>
                  <a:pt x="15" y="63"/>
                  <a:pt x="15" y="63"/>
                </a:cubicBezTo>
                <a:cubicBezTo>
                  <a:pt x="16" y="63"/>
                  <a:pt x="17" y="63"/>
                  <a:pt x="17" y="63"/>
                </a:cubicBezTo>
                <a:cubicBezTo>
                  <a:pt x="17" y="62"/>
                  <a:pt x="18" y="62"/>
                  <a:pt x="19" y="63"/>
                </a:cubicBezTo>
                <a:cubicBezTo>
                  <a:pt x="19" y="64"/>
                  <a:pt x="22" y="66"/>
                  <a:pt x="23" y="66"/>
                </a:cubicBezTo>
                <a:cubicBezTo>
                  <a:pt x="24" y="67"/>
                  <a:pt x="27" y="68"/>
                  <a:pt x="27" y="68"/>
                </a:cubicBezTo>
                <a:cubicBezTo>
                  <a:pt x="28" y="68"/>
                  <a:pt x="29" y="69"/>
                  <a:pt x="30" y="69"/>
                </a:cubicBezTo>
                <a:cubicBezTo>
                  <a:pt x="30" y="69"/>
                  <a:pt x="31" y="69"/>
                  <a:pt x="31" y="69"/>
                </a:cubicBezTo>
                <a:cubicBezTo>
                  <a:pt x="31" y="69"/>
                  <a:pt x="31" y="69"/>
                  <a:pt x="31" y="68"/>
                </a:cubicBezTo>
                <a:cubicBezTo>
                  <a:pt x="32" y="68"/>
                  <a:pt x="32" y="69"/>
                  <a:pt x="32" y="69"/>
                </a:cubicBezTo>
                <a:cubicBezTo>
                  <a:pt x="32" y="70"/>
                  <a:pt x="32" y="70"/>
                  <a:pt x="32" y="70"/>
                </a:cubicBezTo>
                <a:cubicBezTo>
                  <a:pt x="32" y="70"/>
                  <a:pt x="33" y="70"/>
                  <a:pt x="33" y="69"/>
                </a:cubicBezTo>
                <a:cubicBezTo>
                  <a:pt x="33" y="68"/>
                  <a:pt x="34" y="68"/>
                  <a:pt x="34" y="68"/>
                </a:cubicBezTo>
                <a:cubicBezTo>
                  <a:pt x="35" y="68"/>
                  <a:pt x="35" y="68"/>
                  <a:pt x="36" y="68"/>
                </a:cubicBezTo>
                <a:cubicBezTo>
                  <a:pt x="37" y="69"/>
                  <a:pt x="37" y="68"/>
                  <a:pt x="39" y="69"/>
                </a:cubicBezTo>
                <a:cubicBezTo>
                  <a:pt x="39" y="69"/>
                  <a:pt x="39" y="69"/>
                  <a:pt x="39" y="69"/>
                </a:cubicBezTo>
                <a:cubicBezTo>
                  <a:pt x="40" y="69"/>
                  <a:pt x="40" y="68"/>
                  <a:pt x="41" y="68"/>
                </a:cubicBezTo>
                <a:cubicBezTo>
                  <a:pt x="41" y="67"/>
                  <a:pt x="41" y="67"/>
                  <a:pt x="41" y="67"/>
                </a:cubicBezTo>
                <a:cubicBezTo>
                  <a:pt x="42" y="67"/>
                  <a:pt x="42" y="66"/>
                  <a:pt x="43" y="66"/>
                </a:cubicBezTo>
                <a:cubicBezTo>
                  <a:pt x="44" y="65"/>
                  <a:pt x="45" y="66"/>
                  <a:pt x="46" y="66"/>
                </a:cubicBezTo>
                <a:cubicBezTo>
                  <a:pt x="46" y="65"/>
                  <a:pt x="47" y="65"/>
                  <a:pt x="47" y="65"/>
                </a:cubicBezTo>
                <a:cubicBezTo>
                  <a:pt x="47" y="66"/>
                  <a:pt x="48" y="66"/>
                  <a:pt x="48" y="67"/>
                </a:cubicBezTo>
                <a:cubicBezTo>
                  <a:pt x="48" y="67"/>
                  <a:pt x="49" y="68"/>
                  <a:pt x="49" y="68"/>
                </a:cubicBezTo>
                <a:cubicBezTo>
                  <a:pt x="49" y="67"/>
                  <a:pt x="50" y="67"/>
                  <a:pt x="50" y="67"/>
                </a:cubicBezTo>
                <a:cubicBezTo>
                  <a:pt x="50" y="67"/>
                  <a:pt x="51" y="67"/>
                  <a:pt x="51" y="68"/>
                </a:cubicBezTo>
                <a:cubicBezTo>
                  <a:pt x="51" y="69"/>
                  <a:pt x="51" y="69"/>
                  <a:pt x="52" y="69"/>
                </a:cubicBezTo>
                <a:cubicBezTo>
                  <a:pt x="52" y="69"/>
                  <a:pt x="52" y="69"/>
                  <a:pt x="52" y="70"/>
                </a:cubicBezTo>
                <a:cubicBezTo>
                  <a:pt x="52" y="71"/>
                  <a:pt x="53" y="73"/>
                  <a:pt x="52" y="74"/>
                </a:cubicBezTo>
                <a:cubicBezTo>
                  <a:pt x="51" y="74"/>
                  <a:pt x="50" y="76"/>
                  <a:pt x="50" y="77"/>
                </a:cubicBezTo>
                <a:cubicBezTo>
                  <a:pt x="50" y="77"/>
                  <a:pt x="50" y="78"/>
                  <a:pt x="50" y="78"/>
                </a:cubicBezTo>
                <a:cubicBezTo>
                  <a:pt x="51" y="77"/>
                  <a:pt x="53" y="78"/>
                  <a:pt x="52" y="78"/>
                </a:cubicBezTo>
                <a:cubicBezTo>
                  <a:pt x="52" y="78"/>
                  <a:pt x="53" y="80"/>
                  <a:pt x="53" y="80"/>
                </a:cubicBezTo>
                <a:cubicBezTo>
                  <a:pt x="54" y="80"/>
                  <a:pt x="54" y="80"/>
                  <a:pt x="54" y="81"/>
                </a:cubicBezTo>
                <a:cubicBezTo>
                  <a:pt x="54" y="81"/>
                  <a:pt x="53" y="82"/>
                  <a:pt x="54" y="82"/>
                </a:cubicBezTo>
                <a:cubicBezTo>
                  <a:pt x="55" y="82"/>
                  <a:pt x="55" y="82"/>
                  <a:pt x="55" y="83"/>
                </a:cubicBezTo>
                <a:cubicBezTo>
                  <a:pt x="55" y="84"/>
                  <a:pt x="56" y="84"/>
                  <a:pt x="57" y="84"/>
                </a:cubicBezTo>
                <a:cubicBezTo>
                  <a:pt x="57" y="83"/>
                  <a:pt x="57" y="83"/>
                  <a:pt x="58" y="83"/>
                </a:cubicBezTo>
                <a:cubicBezTo>
                  <a:pt x="58" y="83"/>
                  <a:pt x="58" y="84"/>
                  <a:pt x="59" y="84"/>
                </a:cubicBezTo>
                <a:cubicBezTo>
                  <a:pt x="59" y="85"/>
                  <a:pt x="59" y="83"/>
                  <a:pt x="59" y="83"/>
                </a:cubicBezTo>
                <a:cubicBezTo>
                  <a:pt x="59" y="82"/>
                  <a:pt x="59" y="81"/>
                  <a:pt x="59" y="82"/>
                </a:cubicBezTo>
                <a:cubicBezTo>
                  <a:pt x="59" y="82"/>
                  <a:pt x="60" y="82"/>
                  <a:pt x="61" y="81"/>
                </a:cubicBezTo>
                <a:cubicBezTo>
                  <a:pt x="61" y="81"/>
                  <a:pt x="62" y="82"/>
                  <a:pt x="62" y="81"/>
                </a:cubicBezTo>
                <a:cubicBezTo>
                  <a:pt x="63" y="80"/>
                  <a:pt x="63" y="81"/>
                  <a:pt x="64" y="81"/>
                </a:cubicBezTo>
                <a:cubicBezTo>
                  <a:pt x="65" y="80"/>
                  <a:pt x="65" y="81"/>
                  <a:pt x="66" y="81"/>
                </a:cubicBezTo>
                <a:cubicBezTo>
                  <a:pt x="66" y="80"/>
                  <a:pt x="67" y="79"/>
                  <a:pt x="67" y="80"/>
                </a:cubicBezTo>
                <a:cubicBezTo>
                  <a:pt x="68" y="80"/>
                  <a:pt x="68" y="80"/>
                  <a:pt x="69" y="80"/>
                </a:cubicBezTo>
                <a:cubicBezTo>
                  <a:pt x="71" y="81"/>
                  <a:pt x="70" y="81"/>
                  <a:pt x="70" y="82"/>
                </a:cubicBezTo>
                <a:cubicBezTo>
                  <a:pt x="70" y="82"/>
                  <a:pt x="71" y="83"/>
                  <a:pt x="72" y="83"/>
                </a:cubicBezTo>
                <a:cubicBezTo>
                  <a:pt x="72" y="83"/>
                  <a:pt x="72" y="84"/>
                  <a:pt x="72" y="84"/>
                </a:cubicBezTo>
                <a:cubicBezTo>
                  <a:pt x="73" y="84"/>
                  <a:pt x="74" y="84"/>
                  <a:pt x="74" y="83"/>
                </a:cubicBezTo>
                <a:cubicBezTo>
                  <a:pt x="74" y="83"/>
                  <a:pt x="75" y="83"/>
                  <a:pt x="75" y="84"/>
                </a:cubicBezTo>
                <a:cubicBezTo>
                  <a:pt x="75" y="84"/>
                  <a:pt x="76" y="84"/>
                  <a:pt x="76" y="84"/>
                </a:cubicBezTo>
                <a:cubicBezTo>
                  <a:pt x="77" y="83"/>
                  <a:pt x="77" y="84"/>
                  <a:pt x="77" y="84"/>
                </a:cubicBezTo>
                <a:cubicBezTo>
                  <a:pt x="77" y="85"/>
                  <a:pt x="77" y="86"/>
                  <a:pt x="77" y="86"/>
                </a:cubicBezTo>
                <a:cubicBezTo>
                  <a:pt x="78" y="87"/>
                  <a:pt x="78" y="86"/>
                  <a:pt x="78" y="85"/>
                </a:cubicBezTo>
                <a:cubicBezTo>
                  <a:pt x="78" y="85"/>
                  <a:pt x="79" y="84"/>
                  <a:pt x="81" y="84"/>
                </a:cubicBezTo>
                <a:cubicBezTo>
                  <a:pt x="83" y="83"/>
                  <a:pt x="85" y="81"/>
                  <a:pt x="85" y="81"/>
                </a:cubicBezTo>
                <a:cubicBezTo>
                  <a:pt x="85" y="81"/>
                  <a:pt x="87" y="82"/>
                  <a:pt x="88" y="81"/>
                </a:cubicBezTo>
                <a:cubicBezTo>
                  <a:pt x="88" y="81"/>
                  <a:pt x="91" y="80"/>
                  <a:pt x="91" y="80"/>
                </a:cubicBezTo>
                <a:cubicBezTo>
                  <a:pt x="92" y="80"/>
                  <a:pt x="92" y="80"/>
                  <a:pt x="93" y="79"/>
                </a:cubicBezTo>
                <a:cubicBezTo>
                  <a:pt x="93" y="79"/>
                  <a:pt x="93" y="79"/>
                  <a:pt x="94" y="78"/>
                </a:cubicBezTo>
                <a:cubicBezTo>
                  <a:pt x="95" y="78"/>
                  <a:pt x="95" y="77"/>
                  <a:pt x="95" y="77"/>
                </a:cubicBezTo>
                <a:cubicBezTo>
                  <a:pt x="95" y="77"/>
                  <a:pt x="97" y="76"/>
                  <a:pt x="97" y="76"/>
                </a:cubicBezTo>
                <a:cubicBezTo>
                  <a:pt x="97" y="76"/>
                  <a:pt x="98" y="75"/>
                  <a:pt x="98" y="75"/>
                </a:cubicBezTo>
                <a:cubicBezTo>
                  <a:pt x="98" y="74"/>
                  <a:pt x="99" y="74"/>
                  <a:pt x="99" y="74"/>
                </a:cubicBezTo>
                <a:cubicBezTo>
                  <a:pt x="99" y="74"/>
                  <a:pt x="99" y="73"/>
                  <a:pt x="99" y="72"/>
                </a:cubicBezTo>
                <a:cubicBezTo>
                  <a:pt x="100" y="72"/>
                  <a:pt x="99" y="72"/>
                  <a:pt x="99" y="71"/>
                </a:cubicBezTo>
                <a:cubicBezTo>
                  <a:pt x="99" y="71"/>
                  <a:pt x="100" y="71"/>
                  <a:pt x="100" y="71"/>
                </a:cubicBezTo>
                <a:cubicBezTo>
                  <a:pt x="101" y="70"/>
                  <a:pt x="101" y="70"/>
                  <a:pt x="101" y="69"/>
                </a:cubicBezTo>
                <a:cubicBezTo>
                  <a:pt x="101" y="68"/>
                  <a:pt x="102" y="68"/>
                  <a:pt x="103" y="68"/>
                </a:cubicBezTo>
                <a:cubicBezTo>
                  <a:pt x="103" y="68"/>
                  <a:pt x="103" y="67"/>
                  <a:pt x="103" y="66"/>
                </a:cubicBezTo>
                <a:cubicBezTo>
                  <a:pt x="103" y="65"/>
                  <a:pt x="104" y="65"/>
                  <a:pt x="104" y="65"/>
                </a:cubicBezTo>
                <a:cubicBezTo>
                  <a:pt x="103" y="65"/>
                  <a:pt x="104" y="64"/>
                  <a:pt x="105" y="64"/>
                </a:cubicBezTo>
                <a:cubicBezTo>
                  <a:pt x="105" y="64"/>
                  <a:pt x="104" y="63"/>
                  <a:pt x="104" y="63"/>
                </a:cubicBezTo>
                <a:cubicBezTo>
                  <a:pt x="103" y="64"/>
                  <a:pt x="103" y="63"/>
                  <a:pt x="102" y="63"/>
                </a:cubicBezTo>
                <a:cubicBezTo>
                  <a:pt x="102" y="64"/>
                  <a:pt x="101" y="63"/>
                  <a:pt x="102" y="63"/>
                </a:cubicBezTo>
                <a:cubicBezTo>
                  <a:pt x="102" y="62"/>
                  <a:pt x="103" y="62"/>
                  <a:pt x="104" y="61"/>
                </a:cubicBezTo>
                <a:cubicBezTo>
                  <a:pt x="104" y="61"/>
                  <a:pt x="103" y="60"/>
                  <a:pt x="103" y="60"/>
                </a:cubicBezTo>
                <a:cubicBezTo>
                  <a:pt x="102" y="60"/>
                  <a:pt x="101" y="59"/>
                  <a:pt x="101" y="59"/>
                </a:cubicBezTo>
                <a:cubicBezTo>
                  <a:pt x="100" y="59"/>
                  <a:pt x="101" y="58"/>
                  <a:pt x="102" y="59"/>
                </a:cubicBezTo>
                <a:cubicBezTo>
                  <a:pt x="103" y="59"/>
                  <a:pt x="104" y="59"/>
                  <a:pt x="104" y="59"/>
                </a:cubicBezTo>
                <a:cubicBezTo>
                  <a:pt x="104" y="59"/>
                  <a:pt x="103" y="57"/>
                  <a:pt x="102" y="57"/>
                </a:cubicBezTo>
                <a:cubicBezTo>
                  <a:pt x="101" y="57"/>
                  <a:pt x="102" y="56"/>
                  <a:pt x="102" y="56"/>
                </a:cubicBezTo>
                <a:cubicBezTo>
                  <a:pt x="101" y="55"/>
                  <a:pt x="100" y="54"/>
                  <a:pt x="100" y="53"/>
                </a:cubicBezTo>
                <a:cubicBezTo>
                  <a:pt x="100" y="52"/>
                  <a:pt x="99" y="52"/>
                  <a:pt x="98" y="52"/>
                </a:cubicBezTo>
                <a:cubicBezTo>
                  <a:pt x="98" y="51"/>
                  <a:pt x="98" y="50"/>
                  <a:pt x="99" y="50"/>
                </a:cubicBezTo>
                <a:cubicBezTo>
                  <a:pt x="100" y="49"/>
                  <a:pt x="100" y="48"/>
                  <a:pt x="100" y="48"/>
                </a:cubicBezTo>
                <a:cubicBezTo>
                  <a:pt x="101" y="48"/>
                  <a:pt x="101" y="48"/>
                  <a:pt x="102" y="48"/>
                </a:cubicBezTo>
                <a:cubicBezTo>
                  <a:pt x="102" y="47"/>
                  <a:pt x="103" y="47"/>
                  <a:pt x="103" y="47"/>
                </a:cubicBezTo>
                <a:cubicBezTo>
                  <a:pt x="103" y="46"/>
                  <a:pt x="105" y="46"/>
                  <a:pt x="105" y="46"/>
                </a:cubicBezTo>
                <a:cubicBezTo>
                  <a:pt x="106" y="46"/>
                  <a:pt x="105" y="44"/>
                  <a:pt x="104" y="45"/>
                </a:cubicBezTo>
                <a:cubicBezTo>
                  <a:pt x="103" y="45"/>
                  <a:pt x="102" y="45"/>
                  <a:pt x="102" y="44"/>
                </a:cubicBezTo>
                <a:cubicBezTo>
                  <a:pt x="101" y="43"/>
                  <a:pt x="100" y="45"/>
                  <a:pt x="99" y="46"/>
                </a:cubicBezTo>
                <a:cubicBezTo>
                  <a:pt x="98" y="46"/>
                  <a:pt x="97" y="45"/>
                  <a:pt x="98" y="44"/>
                </a:cubicBezTo>
                <a:cubicBezTo>
                  <a:pt x="98" y="43"/>
                  <a:pt x="97" y="43"/>
                  <a:pt x="95" y="43"/>
                </a:cubicBezTo>
                <a:cubicBezTo>
                  <a:pt x="94" y="43"/>
                  <a:pt x="94" y="41"/>
                  <a:pt x="95" y="40"/>
                </a:cubicBezTo>
                <a:cubicBezTo>
                  <a:pt x="96" y="40"/>
                  <a:pt x="98" y="41"/>
                  <a:pt x="98" y="40"/>
                </a:cubicBezTo>
                <a:cubicBezTo>
                  <a:pt x="99" y="38"/>
                  <a:pt x="99" y="39"/>
                  <a:pt x="101" y="38"/>
                </a:cubicBezTo>
                <a:cubicBezTo>
                  <a:pt x="102" y="36"/>
                  <a:pt x="103" y="35"/>
                  <a:pt x="104" y="36"/>
                </a:cubicBezTo>
                <a:cubicBezTo>
                  <a:pt x="105" y="37"/>
                  <a:pt x="103" y="39"/>
                  <a:pt x="103" y="39"/>
                </a:cubicBezTo>
                <a:cubicBezTo>
                  <a:pt x="103" y="40"/>
                  <a:pt x="103" y="40"/>
                  <a:pt x="103" y="41"/>
                </a:cubicBezTo>
                <a:cubicBezTo>
                  <a:pt x="102" y="42"/>
                  <a:pt x="103" y="42"/>
                  <a:pt x="104" y="41"/>
                </a:cubicBezTo>
                <a:cubicBezTo>
                  <a:pt x="105" y="40"/>
                  <a:pt x="107" y="39"/>
                  <a:pt x="108" y="39"/>
                </a:cubicBezTo>
                <a:cubicBezTo>
                  <a:pt x="109" y="39"/>
                  <a:pt x="109" y="39"/>
                  <a:pt x="109" y="39"/>
                </a:cubicBezTo>
                <a:cubicBezTo>
                  <a:pt x="109" y="38"/>
                  <a:pt x="110" y="38"/>
                  <a:pt x="110" y="38"/>
                </a:cubicBezTo>
                <a:cubicBezTo>
                  <a:pt x="111" y="37"/>
                  <a:pt x="114" y="36"/>
                  <a:pt x="114" y="35"/>
                </a:cubicBezTo>
                <a:cubicBezTo>
                  <a:pt x="114" y="35"/>
                  <a:pt x="115" y="34"/>
                  <a:pt x="115" y="34"/>
                </a:cubicBezTo>
                <a:cubicBezTo>
                  <a:pt x="116" y="34"/>
                  <a:pt x="116" y="34"/>
                  <a:pt x="117" y="34"/>
                </a:cubicBezTo>
                <a:cubicBezTo>
                  <a:pt x="118" y="34"/>
                  <a:pt x="119" y="35"/>
                  <a:pt x="118" y="34"/>
                </a:cubicBezTo>
                <a:cubicBezTo>
                  <a:pt x="118" y="33"/>
                  <a:pt x="118" y="33"/>
                  <a:pt x="119" y="33"/>
                </a:cubicBezTo>
                <a:cubicBezTo>
                  <a:pt x="120" y="33"/>
                  <a:pt x="120" y="32"/>
                  <a:pt x="121" y="32"/>
                </a:cubicBezTo>
                <a:cubicBezTo>
                  <a:pt x="121" y="32"/>
                  <a:pt x="121" y="30"/>
                  <a:pt x="122" y="30"/>
                </a:cubicBezTo>
                <a:cubicBezTo>
                  <a:pt x="123" y="30"/>
                  <a:pt x="123" y="31"/>
                  <a:pt x="124" y="31"/>
                </a:cubicBezTo>
                <a:cubicBezTo>
                  <a:pt x="124" y="31"/>
                  <a:pt x="124" y="31"/>
                  <a:pt x="124" y="31"/>
                </a:cubicBezTo>
                <a:cubicBezTo>
                  <a:pt x="125" y="31"/>
                  <a:pt x="125" y="31"/>
                  <a:pt x="125" y="31"/>
                </a:cubicBezTo>
                <a:cubicBezTo>
                  <a:pt x="125" y="30"/>
                  <a:pt x="125" y="29"/>
                  <a:pt x="125" y="28"/>
                </a:cubicBezTo>
                <a:cubicBezTo>
                  <a:pt x="125" y="28"/>
                  <a:pt x="125" y="27"/>
                  <a:pt x="125" y="27"/>
                </a:cubicBezTo>
                <a:cubicBezTo>
                  <a:pt x="125" y="26"/>
                  <a:pt x="125" y="25"/>
                  <a:pt x="125" y="25"/>
                </a:cubicBezTo>
                <a:cubicBezTo>
                  <a:pt x="126" y="25"/>
                  <a:pt x="126" y="24"/>
                  <a:pt x="127" y="24"/>
                </a:cubicBezTo>
                <a:cubicBezTo>
                  <a:pt x="128" y="25"/>
                  <a:pt x="129" y="25"/>
                  <a:pt x="129" y="24"/>
                </a:cubicBezTo>
                <a:cubicBezTo>
                  <a:pt x="129" y="24"/>
                  <a:pt x="130" y="24"/>
                  <a:pt x="130" y="23"/>
                </a:cubicBezTo>
                <a:cubicBezTo>
                  <a:pt x="130" y="22"/>
                  <a:pt x="131" y="22"/>
                  <a:pt x="131" y="21"/>
                </a:cubicBezTo>
                <a:cubicBezTo>
                  <a:pt x="131" y="20"/>
                  <a:pt x="132" y="19"/>
                  <a:pt x="132" y="18"/>
                </a:cubicBezTo>
                <a:cubicBezTo>
                  <a:pt x="133" y="18"/>
                  <a:pt x="132" y="18"/>
                  <a:pt x="132" y="16"/>
                </a:cubicBezTo>
                <a:moveTo>
                  <a:pt x="100" y="78"/>
                </a:moveTo>
                <a:cubicBezTo>
                  <a:pt x="100" y="81"/>
                  <a:pt x="101" y="82"/>
                  <a:pt x="101" y="82"/>
                </a:cubicBezTo>
                <a:cubicBezTo>
                  <a:pt x="102" y="82"/>
                  <a:pt x="105" y="76"/>
                  <a:pt x="104" y="75"/>
                </a:cubicBezTo>
                <a:cubicBezTo>
                  <a:pt x="104" y="75"/>
                  <a:pt x="101" y="76"/>
                  <a:pt x="100" y="78"/>
                </a:cubicBezTo>
                <a:moveTo>
                  <a:pt x="77" y="87"/>
                </a:moveTo>
                <a:cubicBezTo>
                  <a:pt x="76" y="87"/>
                  <a:pt x="74" y="89"/>
                  <a:pt x="75" y="90"/>
                </a:cubicBezTo>
                <a:cubicBezTo>
                  <a:pt x="76" y="92"/>
                  <a:pt x="78" y="91"/>
                  <a:pt x="78" y="90"/>
                </a:cubicBezTo>
                <a:cubicBezTo>
                  <a:pt x="79" y="89"/>
                  <a:pt x="80" y="88"/>
                  <a:pt x="80" y="87"/>
                </a:cubicBezTo>
                <a:cubicBezTo>
                  <a:pt x="80" y="87"/>
                  <a:pt x="78" y="87"/>
                  <a:pt x="77"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379"/>
          <p:cNvSpPr>
            <a:spLocks noEditPoints="1"/>
          </p:cNvSpPr>
          <p:nvPr/>
        </p:nvSpPr>
        <p:spPr bwMode="auto">
          <a:xfrm>
            <a:off x="3434864" y="3078758"/>
            <a:ext cx="107245" cy="142994"/>
          </a:xfrm>
          <a:custGeom>
            <a:avLst/>
            <a:gdLst>
              <a:gd name="T0" fmla="*/ 12 w 22"/>
              <a:gd name="T1" fmla="*/ 12 h 30"/>
              <a:gd name="T2" fmla="*/ 15 w 22"/>
              <a:gd name="T3" fmla="*/ 14 h 30"/>
              <a:gd name="T4" fmla="*/ 15 w 22"/>
              <a:gd name="T5" fmla="*/ 16 h 30"/>
              <a:gd name="T6" fmla="*/ 16 w 22"/>
              <a:gd name="T7" fmla="*/ 17 h 30"/>
              <a:gd name="T8" fmla="*/ 17 w 22"/>
              <a:gd name="T9" fmla="*/ 20 h 30"/>
              <a:gd name="T10" fmla="*/ 18 w 22"/>
              <a:gd name="T11" fmla="*/ 19 h 30"/>
              <a:gd name="T12" fmla="*/ 19 w 22"/>
              <a:gd name="T13" fmla="*/ 18 h 30"/>
              <a:gd name="T14" fmla="*/ 18 w 22"/>
              <a:gd name="T15" fmla="*/ 15 h 30"/>
              <a:gd name="T16" fmla="*/ 16 w 22"/>
              <a:gd name="T17" fmla="*/ 13 h 30"/>
              <a:gd name="T18" fmla="*/ 14 w 22"/>
              <a:gd name="T19" fmla="*/ 11 h 30"/>
              <a:gd name="T20" fmla="*/ 11 w 22"/>
              <a:gd name="T21" fmla="*/ 11 h 30"/>
              <a:gd name="T22" fmla="*/ 10 w 22"/>
              <a:gd name="T23" fmla="*/ 9 h 30"/>
              <a:gd name="T24" fmla="*/ 12 w 22"/>
              <a:gd name="T25" fmla="*/ 6 h 30"/>
              <a:gd name="T26" fmla="*/ 12 w 22"/>
              <a:gd name="T27" fmla="*/ 2 h 30"/>
              <a:gd name="T28" fmla="*/ 11 w 22"/>
              <a:gd name="T29" fmla="*/ 1 h 30"/>
              <a:gd name="T30" fmla="*/ 8 w 22"/>
              <a:gd name="T31" fmla="*/ 1 h 30"/>
              <a:gd name="T32" fmla="*/ 7 w 22"/>
              <a:gd name="T33" fmla="*/ 6 h 30"/>
              <a:gd name="T34" fmla="*/ 6 w 22"/>
              <a:gd name="T35" fmla="*/ 6 h 30"/>
              <a:gd name="T36" fmla="*/ 7 w 22"/>
              <a:gd name="T37" fmla="*/ 9 h 30"/>
              <a:gd name="T38" fmla="*/ 8 w 22"/>
              <a:gd name="T39" fmla="*/ 11 h 30"/>
              <a:gd name="T40" fmla="*/ 10 w 22"/>
              <a:gd name="T41" fmla="*/ 11 h 30"/>
              <a:gd name="T42" fmla="*/ 12 w 22"/>
              <a:gd name="T43" fmla="*/ 12 h 30"/>
              <a:gd name="T44" fmla="*/ 8 w 22"/>
              <a:gd name="T45" fmla="*/ 12 h 30"/>
              <a:gd name="T46" fmla="*/ 10 w 22"/>
              <a:gd name="T47" fmla="*/ 15 h 30"/>
              <a:gd name="T48" fmla="*/ 8 w 22"/>
              <a:gd name="T49" fmla="*/ 12 h 30"/>
              <a:gd name="T50" fmla="*/ 11 w 22"/>
              <a:gd name="T51" fmla="*/ 19 h 30"/>
              <a:gd name="T52" fmla="*/ 12 w 22"/>
              <a:gd name="T53" fmla="*/ 18 h 30"/>
              <a:gd name="T54" fmla="*/ 13 w 22"/>
              <a:gd name="T55" fmla="*/ 20 h 30"/>
              <a:gd name="T56" fmla="*/ 13 w 22"/>
              <a:gd name="T57" fmla="*/ 22 h 30"/>
              <a:gd name="T58" fmla="*/ 15 w 22"/>
              <a:gd name="T59" fmla="*/ 19 h 30"/>
              <a:gd name="T60" fmla="*/ 15 w 22"/>
              <a:gd name="T61" fmla="*/ 18 h 30"/>
              <a:gd name="T62" fmla="*/ 11 w 22"/>
              <a:gd name="T63" fmla="*/ 16 h 30"/>
              <a:gd name="T64" fmla="*/ 11 w 22"/>
              <a:gd name="T65" fmla="*/ 19 h 30"/>
              <a:gd name="T66" fmla="*/ 4 w 22"/>
              <a:gd name="T67" fmla="*/ 20 h 30"/>
              <a:gd name="T68" fmla="*/ 1 w 22"/>
              <a:gd name="T69" fmla="*/ 24 h 30"/>
              <a:gd name="T70" fmla="*/ 5 w 22"/>
              <a:gd name="T71" fmla="*/ 20 h 30"/>
              <a:gd name="T72" fmla="*/ 5 w 22"/>
              <a:gd name="T73" fmla="*/ 18 h 30"/>
              <a:gd name="T74" fmla="*/ 4 w 22"/>
              <a:gd name="T75" fmla="*/ 20 h 30"/>
              <a:gd name="T76" fmla="*/ 15 w 22"/>
              <a:gd name="T77" fmla="*/ 21 h 30"/>
              <a:gd name="T78" fmla="*/ 17 w 22"/>
              <a:gd name="T79" fmla="*/ 20 h 30"/>
              <a:gd name="T80" fmla="*/ 15 w 22"/>
              <a:gd name="T81" fmla="*/ 21 h 30"/>
              <a:gd name="T82" fmla="*/ 21 w 22"/>
              <a:gd name="T83" fmla="*/ 26 h 30"/>
              <a:gd name="T84" fmla="*/ 21 w 22"/>
              <a:gd name="T85" fmla="*/ 22 h 30"/>
              <a:gd name="T86" fmla="*/ 19 w 22"/>
              <a:gd name="T87" fmla="*/ 21 h 30"/>
              <a:gd name="T88" fmla="*/ 18 w 22"/>
              <a:gd name="T89" fmla="*/ 23 h 30"/>
              <a:gd name="T90" fmla="*/ 16 w 22"/>
              <a:gd name="T91" fmla="*/ 24 h 30"/>
              <a:gd name="T92" fmla="*/ 15 w 22"/>
              <a:gd name="T93" fmla="*/ 23 h 30"/>
              <a:gd name="T94" fmla="*/ 12 w 22"/>
              <a:gd name="T95" fmla="*/ 25 h 30"/>
              <a:gd name="T96" fmla="*/ 11 w 22"/>
              <a:gd name="T97" fmla="*/ 27 h 30"/>
              <a:gd name="T98" fmla="*/ 13 w 22"/>
              <a:gd name="T99" fmla="*/ 26 h 30"/>
              <a:gd name="T100" fmla="*/ 15 w 22"/>
              <a:gd name="T101" fmla="*/ 25 h 30"/>
              <a:gd name="T102" fmla="*/ 17 w 22"/>
              <a:gd name="T103" fmla="*/ 29 h 30"/>
              <a:gd name="T104" fmla="*/ 19 w 22"/>
              <a:gd name="T105" fmla="*/ 30 h 30"/>
              <a:gd name="T106" fmla="*/ 19 w 22"/>
              <a:gd name="T107" fmla="*/ 27 h 30"/>
              <a:gd name="T108" fmla="*/ 21 w 22"/>
              <a:gd name="T10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30">
                <a:moveTo>
                  <a:pt x="12" y="12"/>
                </a:moveTo>
                <a:cubicBezTo>
                  <a:pt x="13" y="12"/>
                  <a:pt x="15" y="13"/>
                  <a:pt x="15" y="14"/>
                </a:cubicBezTo>
                <a:cubicBezTo>
                  <a:pt x="14" y="14"/>
                  <a:pt x="15" y="16"/>
                  <a:pt x="15" y="16"/>
                </a:cubicBezTo>
                <a:cubicBezTo>
                  <a:pt x="16" y="15"/>
                  <a:pt x="17" y="16"/>
                  <a:pt x="16" y="17"/>
                </a:cubicBezTo>
                <a:cubicBezTo>
                  <a:pt x="15" y="18"/>
                  <a:pt x="17" y="19"/>
                  <a:pt x="17" y="20"/>
                </a:cubicBezTo>
                <a:cubicBezTo>
                  <a:pt x="17" y="21"/>
                  <a:pt x="18" y="20"/>
                  <a:pt x="18" y="19"/>
                </a:cubicBezTo>
                <a:cubicBezTo>
                  <a:pt x="18" y="18"/>
                  <a:pt x="18" y="18"/>
                  <a:pt x="19" y="18"/>
                </a:cubicBezTo>
                <a:cubicBezTo>
                  <a:pt x="20" y="17"/>
                  <a:pt x="19" y="16"/>
                  <a:pt x="18" y="15"/>
                </a:cubicBezTo>
                <a:cubicBezTo>
                  <a:pt x="18" y="14"/>
                  <a:pt x="16" y="14"/>
                  <a:pt x="16" y="13"/>
                </a:cubicBezTo>
                <a:cubicBezTo>
                  <a:pt x="16" y="12"/>
                  <a:pt x="14" y="12"/>
                  <a:pt x="14" y="11"/>
                </a:cubicBezTo>
                <a:cubicBezTo>
                  <a:pt x="14" y="11"/>
                  <a:pt x="12" y="10"/>
                  <a:pt x="11" y="11"/>
                </a:cubicBezTo>
                <a:cubicBezTo>
                  <a:pt x="10" y="11"/>
                  <a:pt x="11" y="10"/>
                  <a:pt x="10" y="9"/>
                </a:cubicBezTo>
                <a:cubicBezTo>
                  <a:pt x="9" y="8"/>
                  <a:pt x="11" y="7"/>
                  <a:pt x="12" y="6"/>
                </a:cubicBezTo>
                <a:cubicBezTo>
                  <a:pt x="13" y="5"/>
                  <a:pt x="11" y="3"/>
                  <a:pt x="12" y="2"/>
                </a:cubicBezTo>
                <a:cubicBezTo>
                  <a:pt x="12" y="1"/>
                  <a:pt x="12" y="1"/>
                  <a:pt x="11" y="1"/>
                </a:cubicBezTo>
                <a:cubicBezTo>
                  <a:pt x="11" y="1"/>
                  <a:pt x="9" y="0"/>
                  <a:pt x="8" y="1"/>
                </a:cubicBezTo>
                <a:cubicBezTo>
                  <a:pt x="7" y="1"/>
                  <a:pt x="8" y="6"/>
                  <a:pt x="7" y="6"/>
                </a:cubicBezTo>
                <a:cubicBezTo>
                  <a:pt x="7" y="6"/>
                  <a:pt x="7" y="5"/>
                  <a:pt x="6" y="6"/>
                </a:cubicBezTo>
                <a:cubicBezTo>
                  <a:pt x="6" y="6"/>
                  <a:pt x="6" y="9"/>
                  <a:pt x="7" y="9"/>
                </a:cubicBezTo>
                <a:cubicBezTo>
                  <a:pt x="8" y="9"/>
                  <a:pt x="8" y="9"/>
                  <a:pt x="8" y="11"/>
                </a:cubicBezTo>
                <a:cubicBezTo>
                  <a:pt x="7" y="12"/>
                  <a:pt x="9" y="12"/>
                  <a:pt x="10" y="11"/>
                </a:cubicBezTo>
                <a:cubicBezTo>
                  <a:pt x="11" y="11"/>
                  <a:pt x="11" y="12"/>
                  <a:pt x="12" y="12"/>
                </a:cubicBezTo>
                <a:moveTo>
                  <a:pt x="8" y="12"/>
                </a:moveTo>
                <a:cubicBezTo>
                  <a:pt x="8" y="13"/>
                  <a:pt x="8" y="15"/>
                  <a:pt x="10" y="15"/>
                </a:cubicBezTo>
                <a:cubicBezTo>
                  <a:pt x="11" y="14"/>
                  <a:pt x="8" y="12"/>
                  <a:pt x="8" y="12"/>
                </a:cubicBezTo>
                <a:moveTo>
                  <a:pt x="11" y="19"/>
                </a:moveTo>
                <a:cubicBezTo>
                  <a:pt x="12" y="19"/>
                  <a:pt x="12" y="19"/>
                  <a:pt x="12" y="18"/>
                </a:cubicBezTo>
                <a:cubicBezTo>
                  <a:pt x="13" y="18"/>
                  <a:pt x="13" y="19"/>
                  <a:pt x="13" y="20"/>
                </a:cubicBezTo>
                <a:cubicBezTo>
                  <a:pt x="12" y="21"/>
                  <a:pt x="12" y="22"/>
                  <a:pt x="13" y="22"/>
                </a:cubicBezTo>
                <a:cubicBezTo>
                  <a:pt x="14" y="23"/>
                  <a:pt x="16" y="19"/>
                  <a:pt x="15" y="19"/>
                </a:cubicBezTo>
                <a:cubicBezTo>
                  <a:pt x="15" y="18"/>
                  <a:pt x="14" y="19"/>
                  <a:pt x="15" y="18"/>
                </a:cubicBezTo>
                <a:cubicBezTo>
                  <a:pt x="15" y="18"/>
                  <a:pt x="12" y="16"/>
                  <a:pt x="11" y="16"/>
                </a:cubicBezTo>
                <a:cubicBezTo>
                  <a:pt x="10" y="16"/>
                  <a:pt x="11" y="19"/>
                  <a:pt x="11" y="19"/>
                </a:cubicBezTo>
                <a:moveTo>
                  <a:pt x="4" y="20"/>
                </a:moveTo>
                <a:cubicBezTo>
                  <a:pt x="3" y="21"/>
                  <a:pt x="0" y="23"/>
                  <a:pt x="1" y="24"/>
                </a:cubicBezTo>
                <a:cubicBezTo>
                  <a:pt x="1" y="24"/>
                  <a:pt x="4" y="21"/>
                  <a:pt x="5" y="20"/>
                </a:cubicBezTo>
                <a:cubicBezTo>
                  <a:pt x="6" y="19"/>
                  <a:pt x="6" y="18"/>
                  <a:pt x="5" y="18"/>
                </a:cubicBezTo>
                <a:cubicBezTo>
                  <a:pt x="5" y="17"/>
                  <a:pt x="5" y="19"/>
                  <a:pt x="4" y="20"/>
                </a:cubicBezTo>
                <a:moveTo>
                  <a:pt x="15" y="21"/>
                </a:moveTo>
                <a:cubicBezTo>
                  <a:pt x="15" y="22"/>
                  <a:pt x="17" y="21"/>
                  <a:pt x="17" y="20"/>
                </a:cubicBezTo>
                <a:cubicBezTo>
                  <a:pt x="16" y="20"/>
                  <a:pt x="15" y="21"/>
                  <a:pt x="15" y="21"/>
                </a:cubicBezTo>
                <a:moveTo>
                  <a:pt x="21" y="26"/>
                </a:moveTo>
                <a:cubicBezTo>
                  <a:pt x="22" y="26"/>
                  <a:pt x="21" y="23"/>
                  <a:pt x="21" y="22"/>
                </a:cubicBezTo>
                <a:cubicBezTo>
                  <a:pt x="21" y="20"/>
                  <a:pt x="18" y="20"/>
                  <a:pt x="19" y="21"/>
                </a:cubicBezTo>
                <a:cubicBezTo>
                  <a:pt x="20" y="22"/>
                  <a:pt x="18" y="22"/>
                  <a:pt x="18" y="23"/>
                </a:cubicBezTo>
                <a:cubicBezTo>
                  <a:pt x="18" y="24"/>
                  <a:pt x="16" y="23"/>
                  <a:pt x="16" y="24"/>
                </a:cubicBezTo>
                <a:cubicBezTo>
                  <a:pt x="17" y="24"/>
                  <a:pt x="15" y="24"/>
                  <a:pt x="15" y="23"/>
                </a:cubicBezTo>
                <a:cubicBezTo>
                  <a:pt x="14" y="23"/>
                  <a:pt x="13" y="24"/>
                  <a:pt x="12" y="25"/>
                </a:cubicBezTo>
                <a:cubicBezTo>
                  <a:pt x="11" y="25"/>
                  <a:pt x="10" y="27"/>
                  <a:pt x="11" y="27"/>
                </a:cubicBezTo>
                <a:cubicBezTo>
                  <a:pt x="12" y="27"/>
                  <a:pt x="12" y="26"/>
                  <a:pt x="13" y="26"/>
                </a:cubicBezTo>
                <a:cubicBezTo>
                  <a:pt x="14" y="26"/>
                  <a:pt x="14" y="25"/>
                  <a:pt x="15" y="25"/>
                </a:cubicBezTo>
                <a:cubicBezTo>
                  <a:pt x="16" y="26"/>
                  <a:pt x="15" y="29"/>
                  <a:pt x="17" y="29"/>
                </a:cubicBezTo>
                <a:cubicBezTo>
                  <a:pt x="18" y="29"/>
                  <a:pt x="18" y="30"/>
                  <a:pt x="19" y="30"/>
                </a:cubicBezTo>
                <a:cubicBezTo>
                  <a:pt x="20" y="30"/>
                  <a:pt x="19" y="28"/>
                  <a:pt x="19" y="27"/>
                </a:cubicBezTo>
                <a:cubicBezTo>
                  <a:pt x="19" y="27"/>
                  <a:pt x="20" y="27"/>
                  <a:pt x="2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380"/>
          <p:cNvSpPr>
            <a:spLocks noEditPoints="1"/>
          </p:cNvSpPr>
          <p:nvPr/>
        </p:nvSpPr>
        <p:spPr bwMode="auto">
          <a:xfrm>
            <a:off x="3692253" y="3314698"/>
            <a:ext cx="125120" cy="82221"/>
          </a:xfrm>
          <a:custGeom>
            <a:avLst/>
            <a:gdLst>
              <a:gd name="T0" fmla="*/ 20 w 26"/>
              <a:gd name="T1" fmla="*/ 16 h 17"/>
              <a:gd name="T2" fmla="*/ 19 w 26"/>
              <a:gd name="T3" fmla="*/ 15 h 17"/>
              <a:gd name="T4" fmla="*/ 17 w 26"/>
              <a:gd name="T5" fmla="*/ 13 h 17"/>
              <a:gd name="T6" fmla="*/ 15 w 26"/>
              <a:gd name="T7" fmla="*/ 11 h 17"/>
              <a:gd name="T8" fmla="*/ 15 w 26"/>
              <a:gd name="T9" fmla="*/ 9 h 17"/>
              <a:gd name="T10" fmla="*/ 15 w 26"/>
              <a:gd name="T11" fmla="*/ 7 h 17"/>
              <a:gd name="T12" fmla="*/ 11 w 26"/>
              <a:gd name="T13" fmla="*/ 5 h 17"/>
              <a:gd name="T14" fmla="*/ 2 w 26"/>
              <a:gd name="T15" fmla="*/ 0 h 17"/>
              <a:gd name="T16" fmla="*/ 0 w 26"/>
              <a:gd name="T17" fmla="*/ 0 h 17"/>
              <a:gd name="T18" fmla="*/ 0 w 26"/>
              <a:gd name="T19" fmla="*/ 14 h 17"/>
              <a:gd name="T20" fmla="*/ 3 w 26"/>
              <a:gd name="T21" fmla="*/ 14 h 17"/>
              <a:gd name="T22" fmla="*/ 5 w 26"/>
              <a:gd name="T23" fmla="*/ 13 h 17"/>
              <a:gd name="T24" fmla="*/ 7 w 26"/>
              <a:gd name="T25" fmla="*/ 11 h 17"/>
              <a:gd name="T26" fmla="*/ 11 w 26"/>
              <a:gd name="T27" fmla="*/ 12 h 17"/>
              <a:gd name="T28" fmla="*/ 16 w 26"/>
              <a:gd name="T29" fmla="*/ 17 h 17"/>
              <a:gd name="T30" fmla="*/ 21 w 26"/>
              <a:gd name="T31" fmla="*/ 17 h 17"/>
              <a:gd name="T32" fmla="*/ 20 w 26"/>
              <a:gd name="T33" fmla="*/ 16 h 17"/>
              <a:gd name="T34" fmla="*/ 24 w 26"/>
              <a:gd name="T35" fmla="*/ 4 h 17"/>
              <a:gd name="T36" fmla="*/ 22 w 26"/>
              <a:gd name="T37" fmla="*/ 6 h 17"/>
              <a:gd name="T38" fmla="*/ 17 w 26"/>
              <a:gd name="T39" fmla="*/ 6 h 17"/>
              <a:gd name="T40" fmla="*/ 20 w 26"/>
              <a:gd name="T41" fmla="*/ 8 h 17"/>
              <a:gd name="T42" fmla="*/ 25 w 26"/>
              <a:gd name="T43" fmla="*/ 6 h 17"/>
              <a:gd name="T44" fmla="*/ 26 w 26"/>
              <a:gd name="T45" fmla="*/ 4 h 17"/>
              <a:gd name="T46" fmla="*/ 24 w 26"/>
              <a:gd name="T4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7">
                <a:moveTo>
                  <a:pt x="20" y="16"/>
                </a:moveTo>
                <a:cubicBezTo>
                  <a:pt x="20" y="16"/>
                  <a:pt x="19" y="15"/>
                  <a:pt x="19" y="15"/>
                </a:cubicBezTo>
                <a:cubicBezTo>
                  <a:pt x="19" y="14"/>
                  <a:pt x="18" y="14"/>
                  <a:pt x="17" y="13"/>
                </a:cubicBezTo>
                <a:cubicBezTo>
                  <a:pt x="16" y="13"/>
                  <a:pt x="16" y="11"/>
                  <a:pt x="15" y="11"/>
                </a:cubicBezTo>
                <a:cubicBezTo>
                  <a:pt x="14" y="10"/>
                  <a:pt x="13" y="9"/>
                  <a:pt x="15" y="9"/>
                </a:cubicBezTo>
                <a:cubicBezTo>
                  <a:pt x="16" y="9"/>
                  <a:pt x="16" y="8"/>
                  <a:pt x="15" y="7"/>
                </a:cubicBezTo>
                <a:cubicBezTo>
                  <a:pt x="14" y="6"/>
                  <a:pt x="11" y="6"/>
                  <a:pt x="11" y="5"/>
                </a:cubicBezTo>
                <a:cubicBezTo>
                  <a:pt x="11" y="4"/>
                  <a:pt x="5" y="1"/>
                  <a:pt x="2" y="0"/>
                </a:cubicBezTo>
                <a:cubicBezTo>
                  <a:pt x="2" y="0"/>
                  <a:pt x="1" y="0"/>
                  <a:pt x="0" y="0"/>
                </a:cubicBezTo>
                <a:cubicBezTo>
                  <a:pt x="0" y="14"/>
                  <a:pt x="0" y="14"/>
                  <a:pt x="0" y="14"/>
                </a:cubicBezTo>
                <a:cubicBezTo>
                  <a:pt x="1" y="14"/>
                  <a:pt x="2" y="14"/>
                  <a:pt x="3" y="14"/>
                </a:cubicBezTo>
                <a:cubicBezTo>
                  <a:pt x="6" y="14"/>
                  <a:pt x="5" y="13"/>
                  <a:pt x="5" y="13"/>
                </a:cubicBezTo>
                <a:cubicBezTo>
                  <a:pt x="6" y="13"/>
                  <a:pt x="6" y="12"/>
                  <a:pt x="7" y="11"/>
                </a:cubicBezTo>
                <a:cubicBezTo>
                  <a:pt x="7" y="10"/>
                  <a:pt x="10" y="11"/>
                  <a:pt x="11" y="12"/>
                </a:cubicBezTo>
                <a:cubicBezTo>
                  <a:pt x="13" y="13"/>
                  <a:pt x="15" y="17"/>
                  <a:pt x="16" y="17"/>
                </a:cubicBezTo>
                <a:cubicBezTo>
                  <a:pt x="18" y="16"/>
                  <a:pt x="19" y="17"/>
                  <a:pt x="21" y="17"/>
                </a:cubicBezTo>
                <a:cubicBezTo>
                  <a:pt x="22" y="17"/>
                  <a:pt x="21" y="16"/>
                  <a:pt x="20" y="16"/>
                </a:cubicBezTo>
                <a:moveTo>
                  <a:pt x="24" y="4"/>
                </a:moveTo>
                <a:cubicBezTo>
                  <a:pt x="24" y="5"/>
                  <a:pt x="23" y="5"/>
                  <a:pt x="22" y="6"/>
                </a:cubicBezTo>
                <a:cubicBezTo>
                  <a:pt x="20" y="7"/>
                  <a:pt x="17" y="5"/>
                  <a:pt x="17" y="6"/>
                </a:cubicBezTo>
                <a:cubicBezTo>
                  <a:pt x="17" y="7"/>
                  <a:pt x="19" y="8"/>
                  <a:pt x="20" y="8"/>
                </a:cubicBezTo>
                <a:cubicBezTo>
                  <a:pt x="22" y="8"/>
                  <a:pt x="25" y="6"/>
                  <a:pt x="25" y="6"/>
                </a:cubicBezTo>
                <a:cubicBezTo>
                  <a:pt x="25" y="5"/>
                  <a:pt x="26" y="4"/>
                  <a:pt x="26" y="4"/>
                </a:cubicBezTo>
                <a:cubicBezTo>
                  <a:pt x="25" y="3"/>
                  <a:pt x="24" y="4"/>
                  <a:pt x="24"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81"/>
          <p:cNvSpPr>
            <a:spLocks/>
          </p:cNvSpPr>
          <p:nvPr/>
        </p:nvSpPr>
        <p:spPr bwMode="auto">
          <a:xfrm>
            <a:off x="3048780" y="3178854"/>
            <a:ext cx="25024" cy="42898"/>
          </a:xfrm>
          <a:custGeom>
            <a:avLst/>
            <a:gdLst>
              <a:gd name="T0" fmla="*/ 1 w 5"/>
              <a:gd name="T1" fmla="*/ 0 h 9"/>
              <a:gd name="T2" fmla="*/ 0 w 5"/>
              <a:gd name="T3" fmla="*/ 2 h 9"/>
              <a:gd name="T4" fmla="*/ 0 w 5"/>
              <a:gd name="T5" fmla="*/ 5 h 9"/>
              <a:gd name="T6" fmla="*/ 1 w 5"/>
              <a:gd name="T7" fmla="*/ 8 h 9"/>
              <a:gd name="T8" fmla="*/ 5 w 5"/>
              <a:gd name="T9" fmla="*/ 5 h 9"/>
              <a:gd name="T10" fmla="*/ 1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1" y="0"/>
                </a:moveTo>
                <a:cubicBezTo>
                  <a:pt x="0" y="0"/>
                  <a:pt x="0" y="1"/>
                  <a:pt x="0" y="2"/>
                </a:cubicBezTo>
                <a:cubicBezTo>
                  <a:pt x="0" y="3"/>
                  <a:pt x="0" y="4"/>
                  <a:pt x="0" y="5"/>
                </a:cubicBezTo>
                <a:cubicBezTo>
                  <a:pt x="0" y="6"/>
                  <a:pt x="0" y="7"/>
                  <a:pt x="1" y="8"/>
                </a:cubicBezTo>
                <a:cubicBezTo>
                  <a:pt x="2" y="9"/>
                  <a:pt x="4" y="7"/>
                  <a:pt x="5" y="5"/>
                </a:cubicBezTo>
                <a:cubicBezTo>
                  <a:pt x="5" y="3"/>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382"/>
          <p:cNvSpPr>
            <a:spLocks/>
          </p:cNvSpPr>
          <p:nvPr/>
        </p:nvSpPr>
        <p:spPr bwMode="auto">
          <a:xfrm>
            <a:off x="2655547" y="3404069"/>
            <a:ext cx="75072" cy="157293"/>
          </a:xfrm>
          <a:custGeom>
            <a:avLst/>
            <a:gdLst>
              <a:gd name="T0" fmla="*/ 13 w 16"/>
              <a:gd name="T1" fmla="*/ 1 h 32"/>
              <a:gd name="T2" fmla="*/ 13 w 16"/>
              <a:gd name="T3" fmla="*/ 2 h 32"/>
              <a:gd name="T4" fmla="*/ 12 w 16"/>
              <a:gd name="T5" fmla="*/ 3 h 32"/>
              <a:gd name="T6" fmla="*/ 11 w 16"/>
              <a:gd name="T7" fmla="*/ 4 h 32"/>
              <a:gd name="T8" fmla="*/ 10 w 16"/>
              <a:gd name="T9" fmla="*/ 5 h 32"/>
              <a:gd name="T10" fmla="*/ 10 w 16"/>
              <a:gd name="T11" fmla="*/ 6 h 32"/>
              <a:gd name="T12" fmla="*/ 8 w 16"/>
              <a:gd name="T13" fmla="*/ 8 h 32"/>
              <a:gd name="T14" fmla="*/ 5 w 16"/>
              <a:gd name="T15" fmla="*/ 9 h 32"/>
              <a:gd name="T16" fmla="*/ 2 w 16"/>
              <a:gd name="T17" fmla="*/ 10 h 32"/>
              <a:gd name="T18" fmla="*/ 1 w 16"/>
              <a:gd name="T19" fmla="*/ 13 h 32"/>
              <a:gd name="T20" fmla="*/ 2 w 16"/>
              <a:gd name="T21" fmla="*/ 17 h 32"/>
              <a:gd name="T22" fmla="*/ 1 w 16"/>
              <a:gd name="T23" fmla="*/ 21 h 32"/>
              <a:gd name="T24" fmla="*/ 0 w 16"/>
              <a:gd name="T25" fmla="*/ 27 h 32"/>
              <a:gd name="T26" fmla="*/ 2 w 16"/>
              <a:gd name="T27" fmla="*/ 31 h 32"/>
              <a:gd name="T28" fmla="*/ 6 w 16"/>
              <a:gd name="T29" fmla="*/ 32 h 32"/>
              <a:gd name="T30" fmla="*/ 8 w 16"/>
              <a:gd name="T31" fmla="*/ 31 h 32"/>
              <a:gd name="T32" fmla="*/ 11 w 16"/>
              <a:gd name="T33" fmla="*/ 22 h 32"/>
              <a:gd name="T34" fmla="*/ 14 w 16"/>
              <a:gd name="T35" fmla="*/ 13 h 32"/>
              <a:gd name="T36" fmla="*/ 14 w 16"/>
              <a:gd name="T37" fmla="*/ 11 h 32"/>
              <a:gd name="T38" fmla="*/ 15 w 16"/>
              <a:gd name="T39" fmla="*/ 9 h 32"/>
              <a:gd name="T40" fmla="*/ 16 w 16"/>
              <a:gd name="T41" fmla="*/ 9 h 32"/>
              <a:gd name="T42" fmla="*/ 15 w 16"/>
              <a:gd name="T43" fmla="*/ 5 h 32"/>
              <a:gd name="T44" fmla="*/ 13 w 16"/>
              <a:gd name="T4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13" y="1"/>
                </a:moveTo>
                <a:cubicBezTo>
                  <a:pt x="13" y="0"/>
                  <a:pt x="13" y="1"/>
                  <a:pt x="13" y="2"/>
                </a:cubicBezTo>
                <a:cubicBezTo>
                  <a:pt x="12" y="2"/>
                  <a:pt x="12" y="3"/>
                  <a:pt x="12" y="3"/>
                </a:cubicBezTo>
                <a:cubicBezTo>
                  <a:pt x="12" y="4"/>
                  <a:pt x="12" y="4"/>
                  <a:pt x="11" y="4"/>
                </a:cubicBezTo>
                <a:cubicBezTo>
                  <a:pt x="10" y="4"/>
                  <a:pt x="10" y="4"/>
                  <a:pt x="10" y="5"/>
                </a:cubicBezTo>
                <a:cubicBezTo>
                  <a:pt x="10" y="6"/>
                  <a:pt x="10" y="6"/>
                  <a:pt x="10" y="6"/>
                </a:cubicBezTo>
                <a:cubicBezTo>
                  <a:pt x="10" y="7"/>
                  <a:pt x="9" y="8"/>
                  <a:pt x="8" y="8"/>
                </a:cubicBezTo>
                <a:cubicBezTo>
                  <a:pt x="7" y="8"/>
                  <a:pt x="6" y="9"/>
                  <a:pt x="5" y="9"/>
                </a:cubicBezTo>
                <a:cubicBezTo>
                  <a:pt x="4" y="9"/>
                  <a:pt x="3" y="10"/>
                  <a:pt x="2" y="10"/>
                </a:cubicBezTo>
                <a:cubicBezTo>
                  <a:pt x="1" y="10"/>
                  <a:pt x="2" y="12"/>
                  <a:pt x="1" y="13"/>
                </a:cubicBezTo>
                <a:cubicBezTo>
                  <a:pt x="1" y="14"/>
                  <a:pt x="1" y="15"/>
                  <a:pt x="2" y="17"/>
                </a:cubicBezTo>
                <a:cubicBezTo>
                  <a:pt x="2" y="18"/>
                  <a:pt x="3" y="19"/>
                  <a:pt x="1" y="21"/>
                </a:cubicBezTo>
                <a:cubicBezTo>
                  <a:pt x="0" y="23"/>
                  <a:pt x="0" y="25"/>
                  <a:pt x="0" y="27"/>
                </a:cubicBezTo>
                <a:cubicBezTo>
                  <a:pt x="1" y="28"/>
                  <a:pt x="1" y="30"/>
                  <a:pt x="2" y="31"/>
                </a:cubicBezTo>
                <a:cubicBezTo>
                  <a:pt x="3" y="32"/>
                  <a:pt x="5" y="32"/>
                  <a:pt x="6" y="32"/>
                </a:cubicBezTo>
                <a:cubicBezTo>
                  <a:pt x="6" y="31"/>
                  <a:pt x="7" y="32"/>
                  <a:pt x="8" y="31"/>
                </a:cubicBezTo>
                <a:cubicBezTo>
                  <a:pt x="9" y="30"/>
                  <a:pt x="10" y="25"/>
                  <a:pt x="11" y="22"/>
                </a:cubicBezTo>
                <a:cubicBezTo>
                  <a:pt x="12" y="18"/>
                  <a:pt x="14" y="14"/>
                  <a:pt x="14" y="13"/>
                </a:cubicBezTo>
                <a:cubicBezTo>
                  <a:pt x="13" y="12"/>
                  <a:pt x="14" y="11"/>
                  <a:pt x="14" y="11"/>
                </a:cubicBezTo>
                <a:cubicBezTo>
                  <a:pt x="14" y="10"/>
                  <a:pt x="14" y="8"/>
                  <a:pt x="15" y="9"/>
                </a:cubicBezTo>
                <a:cubicBezTo>
                  <a:pt x="15" y="10"/>
                  <a:pt x="16" y="10"/>
                  <a:pt x="16" y="9"/>
                </a:cubicBezTo>
                <a:cubicBezTo>
                  <a:pt x="16" y="8"/>
                  <a:pt x="15" y="6"/>
                  <a:pt x="15" y="5"/>
                </a:cubicBezTo>
                <a:cubicBezTo>
                  <a:pt x="15" y="3"/>
                  <a:pt x="14" y="2"/>
                  <a:pt x="1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83"/>
          <p:cNvSpPr>
            <a:spLocks noEditPoints="1"/>
          </p:cNvSpPr>
          <p:nvPr/>
        </p:nvSpPr>
        <p:spPr bwMode="auto">
          <a:xfrm>
            <a:off x="2648397" y="3071608"/>
            <a:ext cx="125120" cy="78647"/>
          </a:xfrm>
          <a:custGeom>
            <a:avLst/>
            <a:gdLst>
              <a:gd name="T0" fmla="*/ 19 w 26"/>
              <a:gd name="T1" fmla="*/ 1 h 16"/>
              <a:gd name="T2" fmla="*/ 14 w 26"/>
              <a:gd name="T3" fmla="*/ 1 h 16"/>
              <a:gd name="T4" fmla="*/ 11 w 26"/>
              <a:gd name="T5" fmla="*/ 4 h 16"/>
              <a:gd name="T6" fmla="*/ 9 w 26"/>
              <a:gd name="T7" fmla="*/ 5 h 16"/>
              <a:gd name="T8" fmla="*/ 6 w 26"/>
              <a:gd name="T9" fmla="*/ 4 h 16"/>
              <a:gd name="T10" fmla="*/ 4 w 26"/>
              <a:gd name="T11" fmla="*/ 4 h 16"/>
              <a:gd name="T12" fmla="*/ 2 w 26"/>
              <a:gd name="T13" fmla="*/ 4 h 16"/>
              <a:gd name="T14" fmla="*/ 1 w 26"/>
              <a:gd name="T15" fmla="*/ 4 h 16"/>
              <a:gd name="T16" fmla="*/ 1 w 26"/>
              <a:gd name="T17" fmla="*/ 6 h 16"/>
              <a:gd name="T18" fmla="*/ 0 w 26"/>
              <a:gd name="T19" fmla="*/ 6 h 16"/>
              <a:gd name="T20" fmla="*/ 0 w 26"/>
              <a:gd name="T21" fmla="*/ 8 h 16"/>
              <a:gd name="T22" fmla="*/ 1 w 26"/>
              <a:gd name="T23" fmla="*/ 11 h 16"/>
              <a:gd name="T24" fmla="*/ 2 w 26"/>
              <a:gd name="T25" fmla="*/ 14 h 16"/>
              <a:gd name="T26" fmla="*/ 6 w 26"/>
              <a:gd name="T27" fmla="*/ 14 h 16"/>
              <a:gd name="T28" fmla="*/ 8 w 26"/>
              <a:gd name="T29" fmla="*/ 13 h 16"/>
              <a:gd name="T30" fmla="*/ 11 w 26"/>
              <a:gd name="T31" fmla="*/ 12 h 16"/>
              <a:gd name="T32" fmla="*/ 13 w 26"/>
              <a:gd name="T33" fmla="*/ 11 h 16"/>
              <a:gd name="T34" fmla="*/ 15 w 26"/>
              <a:gd name="T35" fmla="*/ 10 h 16"/>
              <a:gd name="T36" fmla="*/ 19 w 26"/>
              <a:gd name="T37" fmla="*/ 9 h 16"/>
              <a:gd name="T38" fmla="*/ 22 w 26"/>
              <a:gd name="T39" fmla="*/ 6 h 16"/>
              <a:gd name="T40" fmla="*/ 23 w 26"/>
              <a:gd name="T41" fmla="*/ 6 h 16"/>
              <a:gd name="T42" fmla="*/ 21 w 26"/>
              <a:gd name="T43" fmla="*/ 0 h 16"/>
              <a:gd name="T44" fmla="*/ 19 w 26"/>
              <a:gd name="T45" fmla="*/ 1 h 16"/>
              <a:gd name="T46" fmla="*/ 24 w 26"/>
              <a:gd name="T47" fmla="*/ 15 h 16"/>
              <a:gd name="T48" fmla="*/ 26 w 26"/>
              <a:gd name="T49" fmla="*/ 15 h 16"/>
              <a:gd name="T50" fmla="*/ 24 w 26"/>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6">
                <a:moveTo>
                  <a:pt x="19" y="1"/>
                </a:moveTo>
                <a:cubicBezTo>
                  <a:pt x="17" y="1"/>
                  <a:pt x="15" y="1"/>
                  <a:pt x="14" y="1"/>
                </a:cubicBezTo>
                <a:cubicBezTo>
                  <a:pt x="14" y="1"/>
                  <a:pt x="11" y="3"/>
                  <a:pt x="11" y="4"/>
                </a:cubicBezTo>
                <a:cubicBezTo>
                  <a:pt x="10" y="5"/>
                  <a:pt x="10" y="5"/>
                  <a:pt x="9" y="5"/>
                </a:cubicBezTo>
                <a:cubicBezTo>
                  <a:pt x="9" y="4"/>
                  <a:pt x="6" y="4"/>
                  <a:pt x="6" y="4"/>
                </a:cubicBezTo>
                <a:cubicBezTo>
                  <a:pt x="6" y="4"/>
                  <a:pt x="4" y="4"/>
                  <a:pt x="4" y="4"/>
                </a:cubicBezTo>
                <a:cubicBezTo>
                  <a:pt x="3" y="4"/>
                  <a:pt x="2" y="3"/>
                  <a:pt x="2" y="4"/>
                </a:cubicBezTo>
                <a:cubicBezTo>
                  <a:pt x="2" y="4"/>
                  <a:pt x="1" y="4"/>
                  <a:pt x="1" y="4"/>
                </a:cubicBezTo>
                <a:cubicBezTo>
                  <a:pt x="1" y="5"/>
                  <a:pt x="1" y="5"/>
                  <a:pt x="1" y="6"/>
                </a:cubicBezTo>
                <a:cubicBezTo>
                  <a:pt x="1" y="6"/>
                  <a:pt x="1" y="6"/>
                  <a:pt x="0" y="6"/>
                </a:cubicBezTo>
                <a:cubicBezTo>
                  <a:pt x="0" y="7"/>
                  <a:pt x="0" y="7"/>
                  <a:pt x="0" y="8"/>
                </a:cubicBezTo>
                <a:cubicBezTo>
                  <a:pt x="0" y="8"/>
                  <a:pt x="0" y="10"/>
                  <a:pt x="1" y="11"/>
                </a:cubicBezTo>
                <a:cubicBezTo>
                  <a:pt x="2" y="12"/>
                  <a:pt x="1" y="14"/>
                  <a:pt x="2" y="14"/>
                </a:cubicBezTo>
                <a:cubicBezTo>
                  <a:pt x="2" y="15"/>
                  <a:pt x="4" y="15"/>
                  <a:pt x="6" y="14"/>
                </a:cubicBezTo>
                <a:cubicBezTo>
                  <a:pt x="7" y="13"/>
                  <a:pt x="8" y="13"/>
                  <a:pt x="8" y="13"/>
                </a:cubicBezTo>
                <a:cubicBezTo>
                  <a:pt x="9" y="13"/>
                  <a:pt x="11" y="12"/>
                  <a:pt x="11" y="12"/>
                </a:cubicBezTo>
                <a:cubicBezTo>
                  <a:pt x="11" y="11"/>
                  <a:pt x="12" y="11"/>
                  <a:pt x="13" y="11"/>
                </a:cubicBezTo>
                <a:cubicBezTo>
                  <a:pt x="14" y="11"/>
                  <a:pt x="14" y="11"/>
                  <a:pt x="15" y="10"/>
                </a:cubicBezTo>
                <a:cubicBezTo>
                  <a:pt x="15" y="10"/>
                  <a:pt x="17" y="9"/>
                  <a:pt x="19" y="9"/>
                </a:cubicBezTo>
                <a:cubicBezTo>
                  <a:pt x="22" y="8"/>
                  <a:pt x="21" y="7"/>
                  <a:pt x="22" y="6"/>
                </a:cubicBezTo>
                <a:cubicBezTo>
                  <a:pt x="22" y="6"/>
                  <a:pt x="23" y="6"/>
                  <a:pt x="23" y="6"/>
                </a:cubicBezTo>
                <a:cubicBezTo>
                  <a:pt x="22" y="4"/>
                  <a:pt x="21" y="1"/>
                  <a:pt x="21" y="0"/>
                </a:cubicBezTo>
                <a:cubicBezTo>
                  <a:pt x="20" y="0"/>
                  <a:pt x="19" y="1"/>
                  <a:pt x="19" y="1"/>
                </a:cubicBezTo>
                <a:moveTo>
                  <a:pt x="24" y="15"/>
                </a:moveTo>
                <a:cubicBezTo>
                  <a:pt x="25" y="16"/>
                  <a:pt x="26" y="15"/>
                  <a:pt x="26" y="15"/>
                </a:cubicBezTo>
                <a:cubicBezTo>
                  <a:pt x="26" y="15"/>
                  <a:pt x="23" y="15"/>
                  <a:pt x="24"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84"/>
          <p:cNvSpPr>
            <a:spLocks noEditPoints="1"/>
          </p:cNvSpPr>
          <p:nvPr/>
        </p:nvSpPr>
        <p:spPr bwMode="auto">
          <a:xfrm>
            <a:off x="3391965" y="3396919"/>
            <a:ext cx="439706" cy="389658"/>
          </a:xfrm>
          <a:custGeom>
            <a:avLst/>
            <a:gdLst>
              <a:gd name="T0" fmla="*/ 89 w 91"/>
              <a:gd name="T1" fmla="*/ 35 h 81"/>
              <a:gd name="T2" fmla="*/ 86 w 91"/>
              <a:gd name="T3" fmla="*/ 32 h 81"/>
              <a:gd name="T4" fmla="*/ 83 w 91"/>
              <a:gd name="T5" fmla="*/ 28 h 81"/>
              <a:gd name="T6" fmla="*/ 80 w 91"/>
              <a:gd name="T7" fmla="*/ 25 h 81"/>
              <a:gd name="T8" fmla="*/ 74 w 91"/>
              <a:gd name="T9" fmla="*/ 18 h 81"/>
              <a:gd name="T10" fmla="*/ 72 w 91"/>
              <a:gd name="T11" fmla="*/ 11 h 81"/>
              <a:gd name="T12" fmla="*/ 68 w 91"/>
              <a:gd name="T13" fmla="*/ 7 h 81"/>
              <a:gd name="T14" fmla="*/ 64 w 91"/>
              <a:gd name="T15" fmla="*/ 2 h 81"/>
              <a:gd name="T16" fmla="*/ 63 w 91"/>
              <a:gd name="T17" fmla="*/ 10 h 81"/>
              <a:gd name="T18" fmla="*/ 58 w 91"/>
              <a:gd name="T19" fmla="*/ 15 h 81"/>
              <a:gd name="T20" fmla="*/ 52 w 91"/>
              <a:gd name="T21" fmla="*/ 12 h 81"/>
              <a:gd name="T22" fmla="*/ 51 w 91"/>
              <a:gd name="T23" fmla="*/ 7 h 81"/>
              <a:gd name="T24" fmla="*/ 52 w 91"/>
              <a:gd name="T25" fmla="*/ 4 h 81"/>
              <a:gd name="T26" fmla="*/ 49 w 91"/>
              <a:gd name="T27" fmla="*/ 4 h 81"/>
              <a:gd name="T28" fmla="*/ 43 w 91"/>
              <a:gd name="T29" fmla="*/ 3 h 81"/>
              <a:gd name="T30" fmla="*/ 38 w 91"/>
              <a:gd name="T31" fmla="*/ 6 h 81"/>
              <a:gd name="T32" fmla="*/ 36 w 91"/>
              <a:gd name="T33" fmla="*/ 10 h 81"/>
              <a:gd name="T34" fmla="*/ 33 w 91"/>
              <a:gd name="T35" fmla="*/ 9 h 81"/>
              <a:gd name="T36" fmla="*/ 29 w 91"/>
              <a:gd name="T37" fmla="*/ 9 h 81"/>
              <a:gd name="T38" fmla="*/ 26 w 91"/>
              <a:gd name="T39" fmla="*/ 11 h 81"/>
              <a:gd name="T40" fmla="*/ 24 w 91"/>
              <a:gd name="T41" fmla="*/ 15 h 81"/>
              <a:gd name="T42" fmla="*/ 21 w 91"/>
              <a:gd name="T43" fmla="*/ 15 h 81"/>
              <a:gd name="T44" fmla="*/ 13 w 91"/>
              <a:gd name="T45" fmla="*/ 22 h 81"/>
              <a:gd name="T46" fmla="*/ 7 w 91"/>
              <a:gd name="T47" fmla="*/ 24 h 81"/>
              <a:gd name="T48" fmla="*/ 2 w 91"/>
              <a:gd name="T49" fmla="*/ 26 h 81"/>
              <a:gd name="T50" fmla="*/ 1 w 91"/>
              <a:gd name="T51" fmla="*/ 33 h 81"/>
              <a:gd name="T52" fmla="*/ 2 w 91"/>
              <a:gd name="T53" fmla="*/ 37 h 81"/>
              <a:gd name="T54" fmla="*/ 4 w 91"/>
              <a:gd name="T55" fmla="*/ 45 h 81"/>
              <a:gd name="T56" fmla="*/ 4 w 91"/>
              <a:gd name="T57" fmla="*/ 55 h 81"/>
              <a:gd name="T58" fmla="*/ 11 w 91"/>
              <a:gd name="T59" fmla="*/ 58 h 81"/>
              <a:gd name="T60" fmla="*/ 20 w 91"/>
              <a:gd name="T61" fmla="*/ 55 h 81"/>
              <a:gd name="T62" fmla="*/ 31 w 91"/>
              <a:gd name="T63" fmla="*/ 51 h 81"/>
              <a:gd name="T64" fmla="*/ 43 w 91"/>
              <a:gd name="T65" fmla="*/ 51 h 81"/>
              <a:gd name="T66" fmla="*/ 47 w 91"/>
              <a:gd name="T67" fmla="*/ 53 h 81"/>
              <a:gd name="T68" fmla="*/ 51 w 91"/>
              <a:gd name="T69" fmla="*/ 57 h 81"/>
              <a:gd name="T70" fmla="*/ 54 w 91"/>
              <a:gd name="T71" fmla="*/ 56 h 81"/>
              <a:gd name="T72" fmla="*/ 56 w 91"/>
              <a:gd name="T73" fmla="*/ 57 h 81"/>
              <a:gd name="T74" fmla="*/ 59 w 91"/>
              <a:gd name="T75" fmla="*/ 62 h 81"/>
              <a:gd name="T76" fmla="*/ 67 w 91"/>
              <a:gd name="T77" fmla="*/ 68 h 81"/>
              <a:gd name="T78" fmla="*/ 71 w 91"/>
              <a:gd name="T79" fmla="*/ 67 h 81"/>
              <a:gd name="T80" fmla="*/ 74 w 91"/>
              <a:gd name="T81" fmla="*/ 69 h 81"/>
              <a:gd name="T82" fmla="*/ 82 w 91"/>
              <a:gd name="T83" fmla="*/ 65 h 81"/>
              <a:gd name="T84" fmla="*/ 87 w 91"/>
              <a:gd name="T85" fmla="*/ 52 h 81"/>
              <a:gd name="T86" fmla="*/ 90 w 91"/>
              <a:gd name="T87" fmla="*/ 45 h 81"/>
              <a:gd name="T88" fmla="*/ 41 w 91"/>
              <a:gd name="T89" fmla="*/ 2 h 81"/>
              <a:gd name="T90" fmla="*/ 52 w 91"/>
              <a:gd name="T91" fmla="*/ 60 h 81"/>
              <a:gd name="T92" fmla="*/ 74 w 91"/>
              <a:gd name="T93" fmla="*/ 74 h 81"/>
              <a:gd name="T94" fmla="*/ 74 w 91"/>
              <a:gd name="T95" fmla="*/ 81 h 81"/>
              <a:gd name="T96" fmla="*/ 77 w 91"/>
              <a:gd name="T97" fmla="*/ 79 h 81"/>
              <a:gd name="T98" fmla="*/ 74 w 91"/>
              <a:gd name="T99" fmla="*/ 7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81">
                <a:moveTo>
                  <a:pt x="90" y="41"/>
                </a:moveTo>
                <a:cubicBezTo>
                  <a:pt x="90" y="40"/>
                  <a:pt x="90" y="39"/>
                  <a:pt x="90" y="39"/>
                </a:cubicBezTo>
                <a:cubicBezTo>
                  <a:pt x="89" y="39"/>
                  <a:pt x="89" y="37"/>
                  <a:pt x="89" y="35"/>
                </a:cubicBezTo>
                <a:cubicBezTo>
                  <a:pt x="90" y="34"/>
                  <a:pt x="90" y="34"/>
                  <a:pt x="89" y="35"/>
                </a:cubicBezTo>
                <a:cubicBezTo>
                  <a:pt x="88" y="36"/>
                  <a:pt x="88" y="34"/>
                  <a:pt x="87" y="33"/>
                </a:cubicBezTo>
                <a:cubicBezTo>
                  <a:pt x="87" y="33"/>
                  <a:pt x="87" y="31"/>
                  <a:pt x="86" y="32"/>
                </a:cubicBezTo>
                <a:cubicBezTo>
                  <a:pt x="85" y="32"/>
                  <a:pt x="85" y="30"/>
                  <a:pt x="85" y="31"/>
                </a:cubicBezTo>
                <a:cubicBezTo>
                  <a:pt x="84" y="31"/>
                  <a:pt x="84" y="29"/>
                  <a:pt x="84" y="28"/>
                </a:cubicBezTo>
                <a:cubicBezTo>
                  <a:pt x="84" y="27"/>
                  <a:pt x="83" y="28"/>
                  <a:pt x="83" y="28"/>
                </a:cubicBezTo>
                <a:cubicBezTo>
                  <a:pt x="83" y="27"/>
                  <a:pt x="82" y="27"/>
                  <a:pt x="82" y="28"/>
                </a:cubicBezTo>
                <a:cubicBezTo>
                  <a:pt x="81" y="28"/>
                  <a:pt x="81" y="27"/>
                  <a:pt x="81" y="26"/>
                </a:cubicBezTo>
                <a:cubicBezTo>
                  <a:pt x="81" y="26"/>
                  <a:pt x="81" y="25"/>
                  <a:pt x="80" y="25"/>
                </a:cubicBezTo>
                <a:cubicBezTo>
                  <a:pt x="80" y="24"/>
                  <a:pt x="80" y="24"/>
                  <a:pt x="80" y="23"/>
                </a:cubicBezTo>
                <a:cubicBezTo>
                  <a:pt x="80" y="22"/>
                  <a:pt x="75" y="20"/>
                  <a:pt x="74" y="20"/>
                </a:cubicBezTo>
                <a:cubicBezTo>
                  <a:pt x="74" y="20"/>
                  <a:pt x="74" y="19"/>
                  <a:pt x="74" y="18"/>
                </a:cubicBezTo>
                <a:cubicBezTo>
                  <a:pt x="74" y="18"/>
                  <a:pt x="73" y="17"/>
                  <a:pt x="73" y="16"/>
                </a:cubicBezTo>
                <a:cubicBezTo>
                  <a:pt x="73" y="15"/>
                  <a:pt x="72" y="14"/>
                  <a:pt x="72" y="13"/>
                </a:cubicBezTo>
                <a:cubicBezTo>
                  <a:pt x="72" y="13"/>
                  <a:pt x="72" y="12"/>
                  <a:pt x="72" y="11"/>
                </a:cubicBezTo>
                <a:cubicBezTo>
                  <a:pt x="72" y="10"/>
                  <a:pt x="70" y="9"/>
                  <a:pt x="70" y="9"/>
                </a:cubicBezTo>
                <a:cubicBezTo>
                  <a:pt x="70" y="8"/>
                  <a:pt x="69" y="9"/>
                  <a:pt x="69" y="9"/>
                </a:cubicBezTo>
                <a:cubicBezTo>
                  <a:pt x="68" y="9"/>
                  <a:pt x="68" y="8"/>
                  <a:pt x="68" y="7"/>
                </a:cubicBezTo>
                <a:cubicBezTo>
                  <a:pt x="68" y="6"/>
                  <a:pt x="68" y="4"/>
                  <a:pt x="67" y="3"/>
                </a:cubicBezTo>
                <a:cubicBezTo>
                  <a:pt x="66" y="3"/>
                  <a:pt x="66" y="1"/>
                  <a:pt x="66" y="1"/>
                </a:cubicBezTo>
                <a:cubicBezTo>
                  <a:pt x="65" y="0"/>
                  <a:pt x="64" y="2"/>
                  <a:pt x="64" y="2"/>
                </a:cubicBezTo>
                <a:cubicBezTo>
                  <a:pt x="64" y="3"/>
                  <a:pt x="64" y="4"/>
                  <a:pt x="64" y="4"/>
                </a:cubicBezTo>
                <a:cubicBezTo>
                  <a:pt x="63" y="4"/>
                  <a:pt x="64" y="6"/>
                  <a:pt x="64" y="6"/>
                </a:cubicBezTo>
                <a:cubicBezTo>
                  <a:pt x="63" y="7"/>
                  <a:pt x="63" y="9"/>
                  <a:pt x="63" y="10"/>
                </a:cubicBezTo>
                <a:cubicBezTo>
                  <a:pt x="63" y="12"/>
                  <a:pt x="63" y="13"/>
                  <a:pt x="63" y="14"/>
                </a:cubicBezTo>
                <a:cubicBezTo>
                  <a:pt x="62" y="15"/>
                  <a:pt x="62" y="16"/>
                  <a:pt x="61" y="16"/>
                </a:cubicBezTo>
                <a:cubicBezTo>
                  <a:pt x="60" y="17"/>
                  <a:pt x="58" y="16"/>
                  <a:pt x="58" y="15"/>
                </a:cubicBezTo>
                <a:cubicBezTo>
                  <a:pt x="58" y="15"/>
                  <a:pt x="57" y="14"/>
                  <a:pt x="56" y="14"/>
                </a:cubicBezTo>
                <a:cubicBezTo>
                  <a:pt x="55" y="14"/>
                  <a:pt x="55" y="13"/>
                  <a:pt x="54" y="13"/>
                </a:cubicBezTo>
                <a:cubicBezTo>
                  <a:pt x="53" y="12"/>
                  <a:pt x="52" y="13"/>
                  <a:pt x="52" y="12"/>
                </a:cubicBezTo>
                <a:cubicBezTo>
                  <a:pt x="51" y="11"/>
                  <a:pt x="51" y="11"/>
                  <a:pt x="50" y="10"/>
                </a:cubicBezTo>
                <a:cubicBezTo>
                  <a:pt x="49" y="10"/>
                  <a:pt x="50" y="10"/>
                  <a:pt x="50" y="9"/>
                </a:cubicBezTo>
                <a:cubicBezTo>
                  <a:pt x="51" y="8"/>
                  <a:pt x="51" y="8"/>
                  <a:pt x="51" y="7"/>
                </a:cubicBezTo>
                <a:cubicBezTo>
                  <a:pt x="50" y="6"/>
                  <a:pt x="51" y="7"/>
                  <a:pt x="52" y="6"/>
                </a:cubicBezTo>
                <a:cubicBezTo>
                  <a:pt x="53" y="6"/>
                  <a:pt x="52" y="5"/>
                  <a:pt x="53" y="5"/>
                </a:cubicBezTo>
                <a:cubicBezTo>
                  <a:pt x="54" y="4"/>
                  <a:pt x="53" y="4"/>
                  <a:pt x="52" y="4"/>
                </a:cubicBezTo>
                <a:cubicBezTo>
                  <a:pt x="52" y="3"/>
                  <a:pt x="52" y="4"/>
                  <a:pt x="51" y="4"/>
                </a:cubicBezTo>
                <a:cubicBezTo>
                  <a:pt x="51" y="5"/>
                  <a:pt x="51" y="3"/>
                  <a:pt x="51" y="3"/>
                </a:cubicBezTo>
                <a:cubicBezTo>
                  <a:pt x="50" y="3"/>
                  <a:pt x="49" y="5"/>
                  <a:pt x="49" y="4"/>
                </a:cubicBezTo>
                <a:cubicBezTo>
                  <a:pt x="48" y="3"/>
                  <a:pt x="46" y="3"/>
                  <a:pt x="45" y="3"/>
                </a:cubicBezTo>
                <a:cubicBezTo>
                  <a:pt x="44" y="2"/>
                  <a:pt x="43" y="1"/>
                  <a:pt x="43" y="1"/>
                </a:cubicBezTo>
                <a:cubicBezTo>
                  <a:pt x="42" y="2"/>
                  <a:pt x="43" y="2"/>
                  <a:pt x="43" y="3"/>
                </a:cubicBezTo>
                <a:cubicBezTo>
                  <a:pt x="44" y="4"/>
                  <a:pt x="41" y="4"/>
                  <a:pt x="40" y="4"/>
                </a:cubicBezTo>
                <a:cubicBezTo>
                  <a:pt x="39" y="4"/>
                  <a:pt x="40" y="5"/>
                  <a:pt x="39" y="4"/>
                </a:cubicBezTo>
                <a:cubicBezTo>
                  <a:pt x="39" y="4"/>
                  <a:pt x="38" y="6"/>
                  <a:pt x="38" y="6"/>
                </a:cubicBezTo>
                <a:cubicBezTo>
                  <a:pt x="37" y="7"/>
                  <a:pt x="38" y="8"/>
                  <a:pt x="37" y="8"/>
                </a:cubicBezTo>
                <a:cubicBezTo>
                  <a:pt x="36" y="9"/>
                  <a:pt x="36" y="9"/>
                  <a:pt x="37" y="10"/>
                </a:cubicBezTo>
                <a:cubicBezTo>
                  <a:pt x="38" y="11"/>
                  <a:pt x="37" y="11"/>
                  <a:pt x="36" y="10"/>
                </a:cubicBezTo>
                <a:cubicBezTo>
                  <a:pt x="35" y="9"/>
                  <a:pt x="34" y="9"/>
                  <a:pt x="35" y="10"/>
                </a:cubicBezTo>
                <a:cubicBezTo>
                  <a:pt x="35" y="11"/>
                  <a:pt x="34" y="11"/>
                  <a:pt x="34" y="10"/>
                </a:cubicBezTo>
                <a:cubicBezTo>
                  <a:pt x="34" y="9"/>
                  <a:pt x="33" y="9"/>
                  <a:pt x="33" y="9"/>
                </a:cubicBezTo>
                <a:cubicBezTo>
                  <a:pt x="32" y="8"/>
                  <a:pt x="31" y="7"/>
                  <a:pt x="31" y="7"/>
                </a:cubicBezTo>
                <a:cubicBezTo>
                  <a:pt x="30" y="7"/>
                  <a:pt x="30" y="8"/>
                  <a:pt x="29" y="8"/>
                </a:cubicBezTo>
                <a:cubicBezTo>
                  <a:pt x="29" y="8"/>
                  <a:pt x="29" y="8"/>
                  <a:pt x="29" y="9"/>
                </a:cubicBezTo>
                <a:cubicBezTo>
                  <a:pt x="29" y="10"/>
                  <a:pt x="28" y="9"/>
                  <a:pt x="27" y="9"/>
                </a:cubicBezTo>
                <a:cubicBezTo>
                  <a:pt x="26" y="9"/>
                  <a:pt x="27" y="10"/>
                  <a:pt x="27" y="10"/>
                </a:cubicBezTo>
                <a:cubicBezTo>
                  <a:pt x="26" y="10"/>
                  <a:pt x="26" y="11"/>
                  <a:pt x="26" y="11"/>
                </a:cubicBezTo>
                <a:cubicBezTo>
                  <a:pt x="25" y="11"/>
                  <a:pt x="25" y="12"/>
                  <a:pt x="25" y="13"/>
                </a:cubicBezTo>
                <a:cubicBezTo>
                  <a:pt x="25" y="14"/>
                  <a:pt x="24" y="13"/>
                  <a:pt x="24" y="13"/>
                </a:cubicBezTo>
                <a:cubicBezTo>
                  <a:pt x="23" y="13"/>
                  <a:pt x="24" y="14"/>
                  <a:pt x="24" y="15"/>
                </a:cubicBezTo>
                <a:cubicBezTo>
                  <a:pt x="24" y="15"/>
                  <a:pt x="24" y="15"/>
                  <a:pt x="23" y="16"/>
                </a:cubicBezTo>
                <a:cubicBezTo>
                  <a:pt x="23" y="16"/>
                  <a:pt x="22" y="15"/>
                  <a:pt x="22" y="14"/>
                </a:cubicBezTo>
                <a:cubicBezTo>
                  <a:pt x="22" y="13"/>
                  <a:pt x="21" y="14"/>
                  <a:pt x="21" y="15"/>
                </a:cubicBezTo>
                <a:cubicBezTo>
                  <a:pt x="20" y="16"/>
                  <a:pt x="21" y="17"/>
                  <a:pt x="21" y="18"/>
                </a:cubicBezTo>
                <a:cubicBezTo>
                  <a:pt x="20" y="18"/>
                  <a:pt x="18" y="19"/>
                  <a:pt x="17" y="21"/>
                </a:cubicBezTo>
                <a:cubicBezTo>
                  <a:pt x="16" y="22"/>
                  <a:pt x="14" y="21"/>
                  <a:pt x="13" y="22"/>
                </a:cubicBezTo>
                <a:cubicBezTo>
                  <a:pt x="13" y="22"/>
                  <a:pt x="12" y="22"/>
                  <a:pt x="11" y="22"/>
                </a:cubicBezTo>
                <a:cubicBezTo>
                  <a:pt x="11" y="23"/>
                  <a:pt x="9" y="24"/>
                  <a:pt x="9" y="23"/>
                </a:cubicBezTo>
                <a:cubicBezTo>
                  <a:pt x="9" y="23"/>
                  <a:pt x="7" y="23"/>
                  <a:pt x="7" y="24"/>
                </a:cubicBezTo>
                <a:cubicBezTo>
                  <a:pt x="6" y="25"/>
                  <a:pt x="5" y="26"/>
                  <a:pt x="4" y="26"/>
                </a:cubicBezTo>
                <a:cubicBezTo>
                  <a:pt x="3" y="26"/>
                  <a:pt x="3" y="27"/>
                  <a:pt x="3" y="27"/>
                </a:cubicBezTo>
                <a:cubicBezTo>
                  <a:pt x="2" y="27"/>
                  <a:pt x="2" y="26"/>
                  <a:pt x="2" y="26"/>
                </a:cubicBezTo>
                <a:cubicBezTo>
                  <a:pt x="2" y="25"/>
                  <a:pt x="2" y="26"/>
                  <a:pt x="1" y="27"/>
                </a:cubicBezTo>
                <a:cubicBezTo>
                  <a:pt x="1" y="28"/>
                  <a:pt x="2" y="29"/>
                  <a:pt x="1" y="30"/>
                </a:cubicBezTo>
                <a:cubicBezTo>
                  <a:pt x="1" y="31"/>
                  <a:pt x="0" y="32"/>
                  <a:pt x="1" y="33"/>
                </a:cubicBezTo>
                <a:cubicBezTo>
                  <a:pt x="2" y="35"/>
                  <a:pt x="3" y="36"/>
                  <a:pt x="2" y="36"/>
                </a:cubicBezTo>
                <a:cubicBezTo>
                  <a:pt x="2" y="37"/>
                  <a:pt x="1" y="35"/>
                  <a:pt x="1" y="35"/>
                </a:cubicBezTo>
                <a:cubicBezTo>
                  <a:pt x="1" y="36"/>
                  <a:pt x="2" y="36"/>
                  <a:pt x="2" y="37"/>
                </a:cubicBezTo>
                <a:cubicBezTo>
                  <a:pt x="1" y="37"/>
                  <a:pt x="0" y="35"/>
                  <a:pt x="0" y="36"/>
                </a:cubicBezTo>
                <a:cubicBezTo>
                  <a:pt x="0" y="36"/>
                  <a:pt x="2" y="39"/>
                  <a:pt x="2" y="41"/>
                </a:cubicBezTo>
                <a:cubicBezTo>
                  <a:pt x="2" y="42"/>
                  <a:pt x="4" y="43"/>
                  <a:pt x="4" y="45"/>
                </a:cubicBezTo>
                <a:cubicBezTo>
                  <a:pt x="4" y="47"/>
                  <a:pt x="6" y="49"/>
                  <a:pt x="6" y="50"/>
                </a:cubicBezTo>
                <a:cubicBezTo>
                  <a:pt x="6" y="50"/>
                  <a:pt x="5" y="51"/>
                  <a:pt x="6" y="53"/>
                </a:cubicBezTo>
                <a:cubicBezTo>
                  <a:pt x="6" y="54"/>
                  <a:pt x="5" y="55"/>
                  <a:pt x="4" y="55"/>
                </a:cubicBezTo>
                <a:cubicBezTo>
                  <a:pt x="3" y="55"/>
                  <a:pt x="4" y="56"/>
                  <a:pt x="5" y="56"/>
                </a:cubicBezTo>
                <a:cubicBezTo>
                  <a:pt x="6" y="56"/>
                  <a:pt x="5" y="57"/>
                  <a:pt x="6" y="58"/>
                </a:cubicBezTo>
                <a:cubicBezTo>
                  <a:pt x="8" y="58"/>
                  <a:pt x="10" y="58"/>
                  <a:pt x="11" y="58"/>
                </a:cubicBezTo>
                <a:cubicBezTo>
                  <a:pt x="12" y="58"/>
                  <a:pt x="12" y="57"/>
                  <a:pt x="13" y="57"/>
                </a:cubicBezTo>
                <a:cubicBezTo>
                  <a:pt x="14" y="57"/>
                  <a:pt x="14" y="56"/>
                  <a:pt x="15" y="56"/>
                </a:cubicBezTo>
                <a:cubicBezTo>
                  <a:pt x="15" y="55"/>
                  <a:pt x="18" y="55"/>
                  <a:pt x="20" y="55"/>
                </a:cubicBezTo>
                <a:cubicBezTo>
                  <a:pt x="23" y="55"/>
                  <a:pt x="24" y="55"/>
                  <a:pt x="24" y="53"/>
                </a:cubicBezTo>
                <a:cubicBezTo>
                  <a:pt x="25" y="53"/>
                  <a:pt x="27" y="53"/>
                  <a:pt x="27" y="52"/>
                </a:cubicBezTo>
                <a:cubicBezTo>
                  <a:pt x="28" y="51"/>
                  <a:pt x="29" y="51"/>
                  <a:pt x="31" y="51"/>
                </a:cubicBezTo>
                <a:cubicBezTo>
                  <a:pt x="33" y="51"/>
                  <a:pt x="34" y="50"/>
                  <a:pt x="36" y="50"/>
                </a:cubicBezTo>
                <a:cubicBezTo>
                  <a:pt x="37" y="49"/>
                  <a:pt x="39" y="49"/>
                  <a:pt x="40" y="49"/>
                </a:cubicBezTo>
                <a:cubicBezTo>
                  <a:pt x="41" y="49"/>
                  <a:pt x="42" y="51"/>
                  <a:pt x="43" y="51"/>
                </a:cubicBezTo>
                <a:cubicBezTo>
                  <a:pt x="44" y="50"/>
                  <a:pt x="45" y="51"/>
                  <a:pt x="45" y="51"/>
                </a:cubicBezTo>
                <a:cubicBezTo>
                  <a:pt x="46" y="51"/>
                  <a:pt x="46" y="51"/>
                  <a:pt x="47" y="51"/>
                </a:cubicBezTo>
                <a:cubicBezTo>
                  <a:pt x="47" y="52"/>
                  <a:pt x="47" y="52"/>
                  <a:pt x="47" y="53"/>
                </a:cubicBezTo>
                <a:cubicBezTo>
                  <a:pt x="46" y="53"/>
                  <a:pt x="48" y="53"/>
                  <a:pt x="49" y="55"/>
                </a:cubicBezTo>
                <a:cubicBezTo>
                  <a:pt x="50" y="56"/>
                  <a:pt x="49" y="56"/>
                  <a:pt x="49" y="57"/>
                </a:cubicBezTo>
                <a:cubicBezTo>
                  <a:pt x="50" y="58"/>
                  <a:pt x="50" y="58"/>
                  <a:pt x="51" y="57"/>
                </a:cubicBezTo>
                <a:cubicBezTo>
                  <a:pt x="52" y="55"/>
                  <a:pt x="53" y="56"/>
                  <a:pt x="53" y="55"/>
                </a:cubicBezTo>
                <a:cubicBezTo>
                  <a:pt x="54" y="54"/>
                  <a:pt x="55" y="52"/>
                  <a:pt x="55" y="53"/>
                </a:cubicBezTo>
                <a:cubicBezTo>
                  <a:pt x="56" y="53"/>
                  <a:pt x="55" y="54"/>
                  <a:pt x="54" y="56"/>
                </a:cubicBezTo>
                <a:cubicBezTo>
                  <a:pt x="54" y="58"/>
                  <a:pt x="53" y="57"/>
                  <a:pt x="53" y="58"/>
                </a:cubicBezTo>
                <a:cubicBezTo>
                  <a:pt x="53" y="58"/>
                  <a:pt x="55" y="59"/>
                  <a:pt x="55" y="58"/>
                </a:cubicBezTo>
                <a:cubicBezTo>
                  <a:pt x="55" y="56"/>
                  <a:pt x="55" y="56"/>
                  <a:pt x="56" y="57"/>
                </a:cubicBezTo>
                <a:cubicBezTo>
                  <a:pt x="57" y="58"/>
                  <a:pt x="56" y="59"/>
                  <a:pt x="56" y="59"/>
                </a:cubicBezTo>
                <a:cubicBezTo>
                  <a:pt x="56" y="60"/>
                  <a:pt x="57" y="59"/>
                  <a:pt x="58" y="59"/>
                </a:cubicBezTo>
                <a:cubicBezTo>
                  <a:pt x="58" y="59"/>
                  <a:pt x="60" y="61"/>
                  <a:pt x="59" y="62"/>
                </a:cubicBezTo>
                <a:cubicBezTo>
                  <a:pt x="59" y="63"/>
                  <a:pt x="59" y="64"/>
                  <a:pt x="61" y="65"/>
                </a:cubicBezTo>
                <a:cubicBezTo>
                  <a:pt x="62" y="66"/>
                  <a:pt x="62" y="66"/>
                  <a:pt x="63" y="66"/>
                </a:cubicBezTo>
                <a:cubicBezTo>
                  <a:pt x="64" y="66"/>
                  <a:pt x="67" y="67"/>
                  <a:pt x="67" y="68"/>
                </a:cubicBezTo>
                <a:cubicBezTo>
                  <a:pt x="68" y="68"/>
                  <a:pt x="70" y="67"/>
                  <a:pt x="70" y="66"/>
                </a:cubicBezTo>
                <a:cubicBezTo>
                  <a:pt x="70" y="65"/>
                  <a:pt x="72" y="66"/>
                  <a:pt x="71" y="66"/>
                </a:cubicBezTo>
                <a:cubicBezTo>
                  <a:pt x="70" y="67"/>
                  <a:pt x="71" y="68"/>
                  <a:pt x="71" y="67"/>
                </a:cubicBezTo>
                <a:cubicBezTo>
                  <a:pt x="71" y="66"/>
                  <a:pt x="72" y="66"/>
                  <a:pt x="72" y="67"/>
                </a:cubicBezTo>
                <a:cubicBezTo>
                  <a:pt x="72" y="67"/>
                  <a:pt x="73" y="67"/>
                  <a:pt x="73" y="68"/>
                </a:cubicBezTo>
                <a:cubicBezTo>
                  <a:pt x="74" y="69"/>
                  <a:pt x="74" y="69"/>
                  <a:pt x="74" y="69"/>
                </a:cubicBezTo>
                <a:cubicBezTo>
                  <a:pt x="74" y="68"/>
                  <a:pt x="74" y="68"/>
                  <a:pt x="75" y="67"/>
                </a:cubicBezTo>
                <a:cubicBezTo>
                  <a:pt x="76" y="67"/>
                  <a:pt x="76" y="66"/>
                  <a:pt x="77" y="66"/>
                </a:cubicBezTo>
                <a:cubicBezTo>
                  <a:pt x="78" y="65"/>
                  <a:pt x="82" y="65"/>
                  <a:pt x="82" y="65"/>
                </a:cubicBezTo>
                <a:cubicBezTo>
                  <a:pt x="82" y="65"/>
                  <a:pt x="82" y="62"/>
                  <a:pt x="83" y="61"/>
                </a:cubicBezTo>
                <a:cubicBezTo>
                  <a:pt x="83" y="59"/>
                  <a:pt x="84" y="59"/>
                  <a:pt x="84" y="57"/>
                </a:cubicBezTo>
                <a:cubicBezTo>
                  <a:pt x="85" y="56"/>
                  <a:pt x="86" y="53"/>
                  <a:pt x="87" y="52"/>
                </a:cubicBezTo>
                <a:cubicBezTo>
                  <a:pt x="87" y="52"/>
                  <a:pt x="88" y="52"/>
                  <a:pt x="88" y="51"/>
                </a:cubicBezTo>
                <a:cubicBezTo>
                  <a:pt x="88" y="50"/>
                  <a:pt x="89" y="49"/>
                  <a:pt x="89" y="48"/>
                </a:cubicBezTo>
                <a:cubicBezTo>
                  <a:pt x="89" y="47"/>
                  <a:pt x="90" y="45"/>
                  <a:pt x="90" y="45"/>
                </a:cubicBezTo>
                <a:cubicBezTo>
                  <a:pt x="90" y="45"/>
                  <a:pt x="89" y="44"/>
                  <a:pt x="90" y="43"/>
                </a:cubicBezTo>
                <a:cubicBezTo>
                  <a:pt x="91" y="42"/>
                  <a:pt x="90" y="41"/>
                  <a:pt x="90" y="41"/>
                </a:cubicBezTo>
                <a:moveTo>
                  <a:pt x="41" y="2"/>
                </a:moveTo>
                <a:cubicBezTo>
                  <a:pt x="41" y="2"/>
                  <a:pt x="37" y="2"/>
                  <a:pt x="38" y="3"/>
                </a:cubicBezTo>
                <a:cubicBezTo>
                  <a:pt x="39" y="3"/>
                  <a:pt x="41" y="3"/>
                  <a:pt x="41" y="2"/>
                </a:cubicBezTo>
                <a:moveTo>
                  <a:pt x="52" y="60"/>
                </a:moveTo>
                <a:cubicBezTo>
                  <a:pt x="53" y="61"/>
                  <a:pt x="54" y="61"/>
                  <a:pt x="55" y="60"/>
                </a:cubicBezTo>
                <a:cubicBezTo>
                  <a:pt x="55" y="59"/>
                  <a:pt x="51" y="60"/>
                  <a:pt x="52" y="60"/>
                </a:cubicBezTo>
                <a:moveTo>
                  <a:pt x="74" y="74"/>
                </a:moveTo>
                <a:cubicBezTo>
                  <a:pt x="73" y="74"/>
                  <a:pt x="71" y="73"/>
                  <a:pt x="70" y="73"/>
                </a:cubicBezTo>
                <a:cubicBezTo>
                  <a:pt x="70" y="73"/>
                  <a:pt x="72" y="76"/>
                  <a:pt x="71" y="77"/>
                </a:cubicBezTo>
                <a:cubicBezTo>
                  <a:pt x="71" y="78"/>
                  <a:pt x="73" y="81"/>
                  <a:pt x="74" y="81"/>
                </a:cubicBezTo>
                <a:cubicBezTo>
                  <a:pt x="75" y="81"/>
                  <a:pt x="75" y="80"/>
                  <a:pt x="76" y="80"/>
                </a:cubicBezTo>
                <a:cubicBezTo>
                  <a:pt x="76" y="80"/>
                  <a:pt x="76" y="79"/>
                  <a:pt x="76" y="79"/>
                </a:cubicBezTo>
                <a:cubicBezTo>
                  <a:pt x="76" y="78"/>
                  <a:pt x="77" y="79"/>
                  <a:pt x="77" y="79"/>
                </a:cubicBezTo>
                <a:cubicBezTo>
                  <a:pt x="78" y="79"/>
                  <a:pt x="77" y="77"/>
                  <a:pt x="78" y="77"/>
                </a:cubicBezTo>
                <a:cubicBezTo>
                  <a:pt x="79" y="77"/>
                  <a:pt x="78" y="74"/>
                  <a:pt x="78" y="73"/>
                </a:cubicBezTo>
                <a:cubicBezTo>
                  <a:pt x="78" y="72"/>
                  <a:pt x="75" y="74"/>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85"/>
          <p:cNvSpPr>
            <a:spLocks/>
          </p:cNvSpPr>
          <p:nvPr/>
        </p:nvSpPr>
        <p:spPr bwMode="auto">
          <a:xfrm>
            <a:off x="2759217" y="2792770"/>
            <a:ext cx="150144" cy="96521"/>
          </a:xfrm>
          <a:custGeom>
            <a:avLst/>
            <a:gdLst>
              <a:gd name="T0" fmla="*/ 31 w 31"/>
              <a:gd name="T1" fmla="*/ 12 h 20"/>
              <a:gd name="T2" fmla="*/ 29 w 31"/>
              <a:gd name="T3" fmla="*/ 12 h 20"/>
              <a:gd name="T4" fmla="*/ 27 w 31"/>
              <a:gd name="T5" fmla="*/ 10 h 20"/>
              <a:gd name="T6" fmla="*/ 24 w 31"/>
              <a:gd name="T7" fmla="*/ 9 h 20"/>
              <a:gd name="T8" fmla="*/ 22 w 31"/>
              <a:gd name="T9" fmla="*/ 7 h 20"/>
              <a:gd name="T10" fmla="*/ 21 w 31"/>
              <a:gd name="T11" fmla="*/ 5 h 20"/>
              <a:gd name="T12" fmla="*/ 20 w 31"/>
              <a:gd name="T13" fmla="*/ 4 h 20"/>
              <a:gd name="T14" fmla="*/ 17 w 31"/>
              <a:gd name="T15" fmla="*/ 3 h 20"/>
              <a:gd name="T16" fmla="*/ 16 w 31"/>
              <a:gd name="T17" fmla="*/ 1 h 20"/>
              <a:gd name="T18" fmla="*/ 14 w 31"/>
              <a:gd name="T19" fmla="*/ 0 h 20"/>
              <a:gd name="T20" fmla="*/ 13 w 31"/>
              <a:gd name="T21" fmla="*/ 0 h 20"/>
              <a:gd name="T22" fmla="*/ 12 w 31"/>
              <a:gd name="T23" fmla="*/ 0 h 20"/>
              <a:gd name="T24" fmla="*/ 11 w 31"/>
              <a:gd name="T25" fmla="*/ 1 h 20"/>
              <a:gd name="T26" fmla="*/ 9 w 31"/>
              <a:gd name="T27" fmla="*/ 2 h 20"/>
              <a:gd name="T28" fmla="*/ 9 w 31"/>
              <a:gd name="T29" fmla="*/ 4 h 20"/>
              <a:gd name="T30" fmla="*/ 7 w 31"/>
              <a:gd name="T31" fmla="*/ 3 h 20"/>
              <a:gd name="T32" fmla="*/ 6 w 31"/>
              <a:gd name="T33" fmla="*/ 3 h 20"/>
              <a:gd name="T34" fmla="*/ 3 w 31"/>
              <a:gd name="T35" fmla="*/ 1 h 20"/>
              <a:gd name="T36" fmla="*/ 1 w 31"/>
              <a:gd name="T37" fmla="*/ 2 h 20"/>
              <a:gd name="T38" fmla="*/ 2 w 31"/>
              <a:gd name="T39" fmla="*/ 1 h 20"/>
              <a:gd name="T40" fmla="*/ 3 w 31"/>
              <a:gd name="T41" fmla="*/ 4 h 20"/>
              <a:gd name="T42" fmla="*/ 4 w 31"/>
              <a:gd name="T43" fmla="*/ 5 h 20"/>
              <a:gd name="T44" fmla="*/ 2 w 31"/>
              <a:gd name="T45" fmla="*/ 5 h 20"/>
              <a:gd name="T46" fmla="*/ 0 w 31"/>
              <a:gd name="T47" fmla="*/ 5 h 20"/>
              <a:gd name="T48" fmla="*/ 1 w 31"/>
              <a:gd name="T49" fmla="*/ 7 h 20"/>
              <a:gd name="T50" fmla="*/ 1 w 31"/>
              <a:gd name="T51" fmla="*/ 8 h 20"/>
              <a:gd name="T52" fmla="*/ 2 w 31"/>
              <a:gd name="T53" fmla="*/ 9 h 20"/>
              <a:gd name="T54" fmla="*/ 2 w 31"/>
              <a:gd name="T55" fmla="*/ 11 h 20"/>
              <a:gd name="T56" fmla="*/ 2 w 31"/>
              <a:gd name="T57" fmla="*/ 14 h 20"/>
              <a:gd name="T58" fmla="*/ 4 w 31"/>
              <a:gd name="T59" fmla="*/ 13 h 20"/>
              <a:gd name="T60" fmla="*/ 6 w 31"/>
              <a:gd name="T61" fmla="*/ 12 h 20"/>
              <a:gd name="T62" fmla="*/ 8 w 31"/>
              <a:gd name="T63" fmla="*/ 12 h 20"/>
              <a:gd name="T64" fmla="*/ 10 w 31"/>
              <a:gd name="T65" fmla="*/ 12 h 20"/>
              <a:gd name="T66" fmla="*/ 12 w 31"/>
              <a:gd name="T67" fmla="*/ 13 h 20"/>
              <a:gd name="T68" fmla="*/ 13 w 31"/>
              <a:gd name="T69" fmla="*/ 13 h 20"/>
              <a:gd name="T70" fmla="*/ 15 w 31"/>
              <a:gd name="T71" fmla="*/ 14 h 20"/>
              <a:gd name="T72" fmla="*/ 16 w 31"/>
              <a:gd name="T73" fmla="*/ 14 h 20"/>
              <a:gd name="T74" fmla="*/ 17 w 31"/>
              <a:gd name="T75" fmla="*/ 16 h 20"/>
              <a:gd name="T76" fmla="*/ 19 w 31"/>
              <a:gd name="T77" fmla="*/ 16 h 20"/>
              <a:gd name="T78" fmla="*/ 19 w 31"/>
              <a:gd name="T79" fmla="*/ 19 h 20"/>
              <a:gd name="T80" fmla="*/ 20 w 31"/>
              <a:gd name="T81" fmla="*/ 19 h 20"/>
              <a:gd name="T82" fmla="*/ 21 w 31"/>
              <a:gd name="T83" fmla="*/ 19 h 20"/>
              <a:gd name="T84" fmla="*/ 23 w 31"/>
              <a:gd name="T85" fmla="*/ 18 h 20"/>
              <a:gd name="T86" fmla="*/ 26 w 31"/>
              <a:gd name="T87" fmla="*/ 17 h 20"/>
              <a:gd name="T88" fmla="*/ 28 w 31"/>
              <a:gd name="T89" fmla="*/ 14 h 20"/>
              <a:gd name="T90" fmla="*/ 29 w 31"/>
              <a:gd name="T91" fmla="*/ 13 h 20"/>
              <a:gd name="T92" fmla="*/ 31 w 31"/>
              <a:gd name="T93" fmla="*/ 14 h 20"/>
              <a:gd name="T94" fmla="*/ 31 w 31"/>
              <a:gd name="T9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0">
                <a:moveTo>
                  <a:pt x="31" y="12"/>
                </a:moveTo>
                <a:cubicBezTo>
                  <a:pt x="31" y="12"/>
                  <a:pt x="30" y="12"/>
                  <a:pt x="29" y="12"/>
                </a:cubicBezTo>
                <a:cubicBezTo>
                  <a:pt x="28" y="12"/>
                  <a:pt x="28" y="10"/>
                  <a:pt x="27" y="10"/>
                </a:cubicBezTo>
                <a:cubicBezTo>
                  <a:pt x="26" y="10"/>
                  <a:pt x="25" y="9"/>
                  <a:pt x="24" y="9"/>
                </a:cubicBezTo>
                <a:cubicBezTo>
                  <a:pt x="24" y="8"/>
                  <a:pt x="22" y="7"/>
                  <a:pt x="22" y="7"/>
                </a:cubicBezTo>
                <a:cubicBezTo>
                  <a:pt x="22" y="7"/>
                  <a:pt x="21" y="6"/>
                  <a:pt x="21" y="5"/>
                </a:cubicBezTo>
                <a:cubicBezTo>
                  <a:pt x="21" y="5"/>
                  <a:pt x="21" y="4"/>
                  <a:pt x="20" y="4"/>
                </a:cubicBezTo>
                <a:cubicBezTo>
                  <a:pt x="20" y="4"/>
                  <a:pt x="17" y="4"/>
                  <a:pt x="17" y="3"/>
                </a:cubicBezTo>
                <a:cubicBezTo>
                  <a:pt x="17" y="3"/>
                  <a:pt x="17" y="1"/>
                  <a:pt x="16" y="1"/>
                </a:cubicBezTo>
                <a:cubicBezTo>
                  <a:pt x="15" y="1"/>
                  <a:pt x="15" y="1"/>
                  <a:pt x="14" y="0"/>
                </a:cubicBezTo>
                <a:cubicBezTo>
                  <a:pt x="14" y="0"/>
                  <a:pt x="13" y="0"/>
                  <a:pt x="13" y="0"/>
                </a:cubicBezTo>
                <a:cubicBezTo>
                  <a:pt x="13" y="0"/>
                  <a:pt x="12" y="0"/>
                  <a:pt x="12" y="0"/>
                </a:cubicBezTo>
                <a:cubicBezTo>
                  <a:pt x="12" y="0"/>
                  <a:pt x="12" y="1"/>
                  <a:pt x="11" y="1"/>
                </a:cubicBezTo>
                <a:cubicBezTo>
                  <a:pt x="10" y="1"/>
                  <a:pt x="9" y="2"/>
                  <a:pt x="9" y="2"/>
                </a:cubicBezTo>
                <a:cubicBezTo>
                  <a:pt x="9" y="3"/>
                  <a:pt x="10" y="4"/>
                  <a:pt x="9" y="4"/>
                </a:cubicBezTo>
                <a:cubicBezTo>
                  <a:pt x="8" y="3"/>
                  <a:pt x="8" y="3"/>
                  <a:pt x="7" y="3"/>
                </a:cubicBezTo>
                <a:cubicBezTo>
                  <a:pt x="7" y="3"/>
                  <a:pt x="6" y="4"/>
                  <a:pt x="6" y="3"/>
                </a:cubicBezTo>
                <a:cubicBezTo>
                  <a:pt x="5" y="2"/>
                  <a:pt x="4" y="1"/>
                  <a:pt x="3" y="1"/>
                </a:cubicBezTo>
                <a:cubicBezTo>
                  <a:pt x="2" y="1"/>
                  <a:pt x="0" y="1"/>
                  <a:pt x="1" y="2"/>
                </a:cubicBezTo>
                <a:cubicBezTo>
                  <a:pt x="1" y="2"/>
                  <a:pt x="1" y="1"/>
                  <a:pt x="2" y="1"/>
                </a:cubicBezTo>
                <a:cubicBezTo>
                  <a:pt x="3" y="2"/>
                  <a:pt x="2" y="3"/>
                  <a:pt x="3" y="4"/>
                </a:cubicBezTo>
                <a:cubicBezTo>
                  <a:pt x="4" y="4"/>
                  <a:pt x="5" y="5"/>
                  <a:pt x="4" y="5"/>
                </a:cubicBezTo>
                <a:cubicBezTo>
                  <a:pt x="4" y="5"/>
                  <a:pt x="3" y="6"/>
                  <a:pt x="2" y="5"/>
                </a:cubicBezTo>
                <a:cubicBezTo>
                  <a:pt x="1" y="5"/>
                  <a:pt x="0" y="4"/>
                  <a:pt x="0" y="5"/>
                </a:cubicBezTo>
                <a:cubicBezTo>
                  <a:pt x="0" y="6"/>
                  <a:pt x="0" y="7"/>
                  <a:pt x="1" y="7"/>
                </a:cubicBezTo>
                <a:cubicBezTo>
                  <a:pt x="2" y="7"/>
                  <a:pt x="1" y="8"/>
                  <a:pt x="1" y="8"/>
                </a:cubicBezTo>
                <a:cubicBezTo>
                  <a:pt x="0" y="9"/>
                  <a:pt x="2" y="8"/>
                  <a:pt x="2" y="9"/>
                </a:cubicBezTo>
                <a:cubicBezTo>
                  <a:pt x="2" y="10"/>
                  <a:pt x="3" y="10"/>
                  <a:pt x="2" y="11"/>
                </a:cubicBezTo>
                <a:cubicBezTo>
                  <a:pt x="2" y="11"/>
                  <a:pt x="2" y="13"/>
                  <a:pt x="2" y="14"/>
                </a:cubicBezTo>
                <a:cubicBezTo>
                  <a:pt x="3" y="14"/>
                  <a:pt x="4" y="14"/>
                  <a:pt x="4" y="13"/>
                </a:cubicBezTo>
                <a:cubicBezTo>
                  <a:pt x="5" y="13"/>
                  <a:pt x="6" y="12"/>
                  <a:pt x="6" y="12"/>
                </a:cubicBezTo>
                <a:cubicBezTo>
                  <a:pt x="7" y="12"/>
                  <a:pt x="7" y="12"/>
                  <a:pt x="8" y="12"/>
                </a:cubicBezTo>
                <a:cubicBezTo>
                  <a:pt x="8" y="11"/>
                  <a:pt x="10" y="11"/>
                  <a:pt x="10" y="12"/>
                </a:cubicBezTo>
                <a:cubicBezTo>
                  <a:pt x="11" y="12"/>
                  <a:pt x="12" y="13"/>
                  <a:pt x="12" y="13"/>
                </a:cubicBezTo>
                <a:cubicBezTo>
                  <a:pt x="12" y="13"/>
                  <a:pt x="12" y="13"/>
                  <a:pt x="13" y="13"/>
                </a:cubicBezTo>
                <a:cubicBezTo>
                  <a:pt x="14" y="13"/>
                  <a:pt x="15" y="13"/>
                  <a:pt x="15" y="14"/>
                </a:cubicBezTo>
                <a:cubicBezTo>
                  <a:pt x="15" y="14"/>
                  <a:pt x="15" y="14"/>
                  <a:pt x="16" y="14"/>
                </a:cubicBezTo>
                <a:cubicBezTo>
                  <a:pt x="16" y="14"/>
                  <a:pt x="17" y="16"/>
                  <a:pt x="17" y="16"/>
                </a:cubicBezTo>
                <a:cubicBezTo>
                  <a:pt x="18" y="16"/>
                  <a:pt x="19" y="16"/>
                  <a:pt x="19" y="16"/>
                </a:cubicBezTo>
                <a:cubicBezTo>
                  <a:pt x="19" y="16"/>
                  <a:pt x="19" y="18"/>
                  <a:pt x="19" y="19"/>
                </a:cubicBezTo>
                <a:cubicBezTo>
                  <a:pt x="20" y="19"/>
                  <a:pt x="20" y="19"/>
                  <a:pt x="20" y="19"/>
                </a:cubicBezTo>
                <a:cubicBezTo>
                  <a:pt x="20" y="19"/>
                  <a:pt x="21" y="18"/>
                  <a:pt x="21" y="19"/>
                </a:cubicBezTo>
                <a:cubicBezTo>
                  <a:pt x="22" y="20"/>
                  <a:pt x="23" y="19"/>
                  <a:pt x="23" y="18"/>
                </a:cubicBezTo>
                <a:cubicBezTo>
                  <a:pt x="23" y="17"/>
                  <a:pt x="26" y="17"/>
                  <a:pt x="26" y="17"/>
                </a:cubicBezTo>
                <a:cubicBezTo>
                  <a:pt x="27" y="16"/>
                  <a:pt x="27" y="14"/>
                  <a:pt x="28" y="14"/>
                </a:cubicBezTo>
                <a:cubicBezTo>
                  <a:pt x="28" y="15"/>
                  <a:pt x="29" y="13"/>
                  <a:pt x="29" y="13"/>
                </a:cubicBezTo>
                <a:cubicBezTo>
                  <a:pt x="30" y="13"/>
                  <a:pt x="30" y="14"/>
                  <a:pt x="31" y="14"/>
                </a:cubicBezTo>
                <a:lnTo>
                  <a:pt x="31"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386"/>
          <p:cNvSpPr>
            <a:spLocks/>
          </p:cNvSpPr>
          <p:nvPr/>
        </p:nvSpPr>
        <p:spPr bwMode="auto">
          <a:xfrm>
            <a:off x="2662696" y="2828519"/>
            <a:ext cx="214491" cy="175168"/>
          </a:xfrm>
          <a:custGeom>
            <a:avLst/>
            <a:gdLst>
              <a:gd name="T0" fmla="*/ 43 w 44"/>
              <a:gd name="T1" fmla="*/ 32 h 37"/>
              <a:gd name="T2" fmla="*/ 42 w 44"/>
              <a:gd name="T3" fmla="*/ 29 h 37"/>
              <a:gd name="T4" fmla="*/ 39 w 44"/>
              <a:gd name="T5" fmla="*/ 27 h 37"/>
              <a:gd name="T6" fmla="*/ 38 w 44"/>
              <a:gd name="T7" fmla="*/ 26 h 37"/>
              <a:gd name="T8" fmla="*/ 40 w 44"/>
              <a:gd name="T9" fmla="*/ 22 h 37"/>
              <a:gd name="T10" fmla="*/ 38 w 44"/>
              <a:gd name="T11" fmla="*/ 21 h 37"/>
              <a:gd name="T12" fmla="*/ 38 w 44"/>
              <a:gd name="T13" fmla="*/ 19 h 37"/>
              <a:gd name="T14" fmla="*/ 38 w 44"/>
              <a:gd name="T15" fmla="*/ 16 h 37"/>
              <a:gd name="T16" fmla="*/ 38 w 44"/>
              <a:gd name="T17" fmla="*/ 14 h 37"/>
              <a:gd name="T18" fmla="*/ 39 w 44"/>
              <a:gd name="T19" fmla="*/ 13 h 37"/>
              <a:gd name="T20" fmla="*/ 39 w 44"/>
              <a:gd name="T21" fmla="*/ 12 h 37"/>
              <a:gd name="T22" fmla="*/ 39 w 44"/>
              <a:gd name="T23" fmla="*/ 9 h 37"/>
              <a:gd name="T24" fmla="*/ 37 w 44"/>
              <a:gd name="T25" fmla="*/ 9 h 37"/>
              <a:gd name="T26" fmla="*/ 36 w 44"/>
              <a:gd name="T27" fmla="*/ 7 h 37"/>
              <a:gd name="T28" fmla="*/ 35 w 44"/>
              <a:gd name="T29" fmla="*/ 7 h 37"/>
              <a:gd name="T30" fmla="*/ 33 w 44"/>
              <a:gd name="T31" fmla="*/ 6 h 37"/>
              <a:gd name="T32" fmla="*/ 32 w 44"/>
              <a:gd name="T33" fmla="*/ 6 h 37"/>
              <a:gd name="T34" fmla="*/ 30 w 44"/>
              <a:gd name="T35" fmla="*/ 5 h 37"/>
              <a:gd name="T36" fmla="*/ 28 w 44"/>
              <a:gd name="T37" fmla="*/ 5 h 37"/>
              <a:gd name="T38" fmla="*/ 26 w 44"/>
              <a:gd name="T39" fmla="*/ 5 h 37"/>
              <a:gd name="T40" fmla="*/ 24 w 44"/>
              <a:gd name="T41" fmla="*/ 6 h 37"/>
              <a:gd name="T42" fmla="*/ 22 w 44"/>
              <a:gd name="T43" fmla="*/ 7 h 37"/>
              <a:gd name="T44" fmla="*/ 22 w 44"/>
              <a:gd name="T45" fmla="*/ 8 h 37"/>
              <a:gd name="T46" fmla="*/ 18 w 44"/>
              <a:gd name="T47" fmla="*/ 9 h 37"/>
              <a:gd name="T48" fmla="*/ 14 w 44"/>
              <a:gd name="T49" fmla="*/ 7 h 37"/>
              <a:gd name="T50" fmla="*/ 11 w 44"/>
              <a:gd name="T51" fmla="*/ 4 h 37"/>
              <a:gd name="T52" fmla="*/ 9 w 44"/>
              <a:gd name="T53" fmla="*/ 3 h 37"/>
              <a:gd name="T54" fmla="*/ 9 w 44"/>
              <a:gd name="T55" fmla="*/ 1 h 37"/>
              <a:gd name="T56" fmla="*/ 4 w 44"/>
              <a:gd name="T57" fmla="*/ 3 h 37"/>
              <a:gd name="T58" fmla="*/ 3 w 44"/>
              <a:gd name="T59" fmla="*/ 2 h 37"/>
              <a:gd name="T60" fmla="*/ 2 w 44"/>
              <a:gd name="T61" fmla="*/ 0 h 37"/>
              <a:gd name="T62" fmla="*/ 1 w 44"/>
              <a:gd name="T63" fmla="*/ 1 h 37"/>
              <a:gd name="T64" fmla="*/ 1 w 44"/>
              <a:gd name="T65" fmla="*/ 3 h 37"/>
              <a:gd name="T66" fmla="*/ 1 w 44"/>
              <a:gd name="T67" fmla="*/ 5 h 37"/>
              <a:gd name="T68" fmla="*/ 2 w 44"/>
              <a:gd name="T69" fmla="*/ 7 h 37"/>
              <a:gd name="T70" fmla="*/ 3 w 44"/>
              <a:gd name="T71" fmla="*/ 9 h 37"/>
              <a:gd name="T72" fmla="*/ 4 w 44"/>
              <a:gd name="T73" fmla="*/ 10 h 37"/>
              <a:gd name="T74" fmla="*/ 5 w 44"/>
              <a:gd name="T75" fmla="*/ 11 h 37"/>
              <a:gd name="T76" fmla="*/ 5 w 44"/>
              <a:gd name="T77" fmla="*/ 12 h 37"/>
              <a:gd name="T78" fmla="*/ 4 w 44"/>
              <a:gd name="T79" fmla="*/ 14 h 37"/>
              <a:gd name="T80" fmla="*/ 4 w 44"/>
              <a:gd name="T81" fmla="*/ 16 h 37"/>
              <a:gd name="T82" fmla="*/ 5 w 44"/>
              <a:gd name="T83" fmla="*/ 17 h 37"/>
              <a:gd name="T84" fmla="*/ 7 w 44"/>
              <a:gd name="T85" fmla="*/ 19 h 37"/>
              <a:gd name="T86" fmla="*/ 8 w 44"/>
              <a:gd name="T87" fmla="*/ 20 h 37"/>
              <a:gd name="T88" fmla="*/ 8 w 44"/>
              <a:gd name="T89" fmla="*/ 22 h 37"/>
              <a:gd name="T90" fmla="*/ 9 w 44"/>
              <a:gd name="T91" fmla="*/ 23 h 37"/>
              <a:gd name="T92" fmla="*/ 10 w 44"/>
              <a:gd name="T93" fmla="*/ 25 h 37"/>
              <a:gd name="T94" fmla="*/ 11 w 44"/>
              <a:gd name="T95" fmla="*/ 25 h 37"/>
              <a:gd name="T96" fmla="*/ 12 w 44"/>
              <a:gd name="T97" fmla="*/ 25 h 37"/>
              <a:gd name="T98" fmla="*/ 13 w 44"/>
              <a:gd name="T99" fmla="*/ 25 h 37"/>
              <a:gd name="T100" fmla="*/ 16 w 44"/>
              <a:gd name="T101" fmla="*/ 28 h 37"/>
              <a:gd name="T102" fmla="*/ 17 w 44"/>
              <a:gd name="T103" fmla="*/ 30 h 37"/>
              <a:gd name="T104" fmla="*/ 20 w 44"/>
              <a:gd name="T105" fmla="*/ 31 h 37"/>
              <a:gd name="T106" fmla="*/ 25 w 44"/>
              <a:gd name="T107" fmla="*/ 33 h 37"/>
              <a:gd name="T108" fmla="*/ 28 w 44"/>
              <a:gd name="T109" fmla="*/ 32 h 37"/>
              <a:gd name="T110" fmla="*/ 30 w 44"/>
              <a:gd name="T111" fmla="*/ 35 h 37"/>
              <a:gd name="T112" fmla="*/ 38 w 44"/>
              <a:gd name="T113" fmla="*/ 37 h 37"/>
              <a:gd name="T114" fmla="*/ 40 w 44"/>
              <a:gd name="T115" fmla="*/ 37 h 37"/>
              <a:gd name="T116" fmla="*/ 40 w 44"/>
              <a:gd name="T117" fmla="*/ 36 h 37"/>
              <a:gd name="T118" fmla="*/ 41 w 44"/>
              <a:gd name="T119" fmla="*/ 34 h 37"/>
              <a:gd name="T120" fmla="*/ 43 w 44"/>
              <a:gd name="T121" fmla="*/ 33 h 37"/>
              <a:gd name="T122" fmla="*/ 43 w 44"/>
              <a:gd name="T1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7">
                <a:moveTo>
                  <a:pt x="43" y="32"/>
                </a:moveTo>
                <a:cubicBezTo>
                  <a:pt x="42" y="32"/>
                  <a:pt x="43" y="30"/>
                  <a:pt x="42" y="29"/>
                </a:cubicBezTo>
                <a:cubicBezTo>
                  <a:pt x="41" y="29"/>
                  <a:pt x="40" y="28"/>
                  <a:pt x="39" y="27"/>
                </a:cubicBezTo>
                <a:cubicBezTo>
                  <a:pt x="39" y="27"/>
                  <a:pt x="38" y="26"/>
                  <a:pt x="38" y="26"/>
                </a:cubicBezTo>
                <a:cubicBezTo>
                  <a:pt x="38" y="25"/>
                  <a:pt x="41" y="23"/>
                  <a:pt x="40" y="22"/>
                </a:cubicBezTo>
                <a:cubicBezTo>
                  <a:pt x="40" y="21"/>
                  <a:pt x="38" y="22"/>
                  <a:pt x="38" y="21"/>
                </a:cubicBezTo>
                <a:cubicBezTo>
                  <a:pt x="38" y="21"/>
                  <a:pt x="38" y="20"/>
                  <a:pt x="38" y="19"/>
                </a:cubicBezTo>
                <a:cubicBezTo>
                  <a:pt x="37" y="18"/>
                  <a:pt x="38" y="17"/>
                  <a:pt x="38" y="16"/>
                </a:cubicBezTo>
                <a:cubicBezTo>
                  <a:pt x="37" y="16"/>
                  <a:pt x="38" y="15"/>
                  <a:pt x="38" y="14"/>
                </a:cubicBezTo>
                <a:cubicBezTo>
                  <a:pt x="38" y="14"/>
                  <a:pt x="39" y="14"/>
                  <a:pt x="39" y="13"/>
                </a:cubicBezTo>
                <a:cubicBezTo>
                  <a:pt x="39" y="12"/>
                  <a:pt x="39" y="12"/>
                  <a:pt x="39" y="12"/>
                </a:cubicBezTo>
                <a:cubicBezTo>
                  <a:pt x="39" y="11"/>
                  <a:pt x="39" y="9"/>
                  <a:pt x="39" y="9"/>
                </a:cubicBezTo>
                <a:cubicBezTo>
                  <a:pt x="39" y="9"/>
                  <a:pt x="38" y="9"/>
                  <a:pt x="37" y="9"/>
                </a:cubicBezTo>
                <a:cubicBezTo>
                  <a:pt x="37" y="9"/>
                  <a:pt x="36" y="7"/>
                  <a:pt x="36" y="7"/>
                </a:cubicBezTo>
                <a:cubicBezTo>
                  <a:pt x="35" y="7"/>
                  <a:pt x="35" y="7"/>
                  <a:pt x="35" y="7"/>
                </a:cubicBezTo>
                <a:cubicBezTo>
                  <a:pt x="35" y="6"/>
                  <a:pt x="34" y="6"/>
                  <a:pt x="33" y="6"/>
                </a:cubicBezTo>
                <a:cubicBezTo>
                  <a:pt x="32" y="6"/>
                  <a:pt x="32" y="6"/>
                  <a:pt x="32" y="6"/>
                </a:cubicBezTo>
                <a:cubicBezTo>
                  <a:pt x="32" y="6"/>
                  <a:pt x="31" y="5"/>
                  <a:pt x="30" y="5"/>
                </a:cubicBezTo>
                <a:cubicBezTo>
                  <a:pt x="30" y="4"/>
                  <a:pt x="28" y="4"/>
                  <a:pt x="28" y="5"/>
                </a:cubicBezTo>
                <a:cubicBezTo>
                  <a:pt x="27" y="5"/>
                  <a:pt x="27" y="5"/>
                  <a:pt x="26" y="5"/>
                </a:cubicBezTo>
                <a:cubicBezTo>
                  <a:pt x="26" y="5"/>
                  <a:pt x="25" y="6"/>
                  <a:pt x="24" y="6"/>
                </a:cubicBezTo>
                <a:cubicBezTo>
                  <a:pt x="24" y="7"/>
                  <a:pt x="23" y="7"/>
                  <a:pt x="22" y="7"/>
                </a:cubicBezTo>
                <a:cubicBezTo>
                  <a:pt x="22" y="7"/>
                  <a:pt x="22" y="8"/>
                  <a:pt x="22" y="8"/>
                </a:cubicBezTo>
                <a:cubicBezTo>
                  <a:pt x="22" y="8"/>
                  <a:pt x="19" y="9"/>
                  <a:pt x="18" y="9"/>
                </a:cubicBezTo>
                <a:cubicBezTo>
                  <a:pt x="16" y="9"/>
                  <a:pt x="16" y="7"/>
                  <a:pt x="14" y="7"/>
                </a:cubicBezTo>
                <a:cubicBezTo>
                  <a:pt x="12" y="7"/>
                  <a:pt x="11" y="5"/>
                  <a:pt x="11" y="4"/>
                </a:cubicBezTo>
                <a:cubicBezTo>
                  <a:pt x="10" y="4"/>
                  <a:pt x="9" y="3"/>
                  <a:pt x="9" y="3"/>
                </a:cubicBezTo>
                <a:cubicBezTo>
                  <a:pt x="9" y="2"/>
                  <a:pt x="10" y="0"/>
                  <a:pt x="9" y="1"/>
                </a:cubicBezTo>
                <a:cubicBezTo>
                  <a:pt x="8" y="1"/>
                  <a:pt x="6" y="3"/>
                  <a:pt x="4" y="3"/>
                </a:cubicBezTo>
                <a:cubicBezTo>
                  <a:pt x="2" y="2"/>
                  <a:pt x="4" y="2"/>
                  <a:pt x="3" y="2"/>
                </a:cubicBezTo>
                <a:cubicBezTo>
                  <a:pt x="2" y="1"/>
                  <a:pt x="3" y="0"/>
                  <a:pt x="2" y="0"/>
                </a:cubicBezTo>
                <a:cubicBezTo>
                  <a:pt x="1" y="0"/>
                  <a:pt x="1" y="1"/>
                  <a:pt x="1" y="1"/>
                </a:cubicBezTo>
                <a:cubicBezTo>
                  <a:pt x="0" y="1"/>
                  <a:pt x="1" y="3"/>
                  <a:pt x="1" y="3"/>
                </a:cubicBezTo>
                <a:cubicBezTo>
                  <a:pt x="1" y="3"/>
                  <a:pt x="1" y="5"/>
                  <a:pt x="1" y="5"/>
                </a:cubicBezTo>
                <a:cubicBezTo>
                  <a:pt x="1" y="6"/>
                  <a:pt x="2" y="7"/>
                  <a:pt x="2" y="7"/>
                </a:cubicBezTo>
                <a:cubicBezTo>
                  <a:pt x="2" y="7"/>
                  <a:pt x="3" y="8"/>
                  <a:pt x="3" y="9"/>
                </a:cubicBezTo>
                <a:cubicBezTo>
                  <a:pt x="3" y="10"/>
                  <a:pt x="3" y="10"/>
                  <a:pt x="4" y="10"/>
                </a:cubicBezTo>
                <a:cubicBezTo>
                  <a:pt x="4" y="10"/>
                  <a:pt x="5" y="11"/>
                  <a:pt x="5" y="11"/>
                </a:cubicBezTo>
                <a:cubicBezTo>
                  <a:pt x="5" y="12"/>
                  <a:pt x="5" y="12"/>
                  <a:pt x="5" y="12"/>
                </a:cubicBezTo>
                <a:cubicBezTo>
                  <a:pt x="4" y="12"/>
                  <a:pt x="4" y="14"/>
                  <a:pt x="4" y="14"/>
                </a:cubicBezTo>
                <a:cubicBezTo>
                  <a:pt x="3" y="14"/>
                  <a:pt x="4" y="16"/>
                  <a:pt x="4" y="16"/>
                </a:cubicBezTo>
                <a:cubicBezTo>
                  <a:pt x="4" y="16"/>
                  <a:pt x="5" y="17"/>
                  <a:pt x="5" y="17"/>
                </a:cubicBezTo>
                <a:cubicBezTo>
                  <a:pt x="5" y="18"/>
                  <a:pt x="7" y="19"/>
                  <a:pt x="7" y="19"/>
                </a:cubicBezTo>
                <a:cubicBezTo>
                  <a:pt x="8" y="19"/>
                  <a:pt x="8" y="20"/>
                  <a:pt x="8" y="20"/>
                </a:cubicBezTo>
                <a:cubicBezTo>
                  <a:pt x="9" y="21"/>
                  <a:pt x="8" y="21"/>
                  <a:pt x="8" y="22"/>
                </a:cubicBezTo>
                <a:cubicBezTo>
                  <a:pt x="8" y="22"/>
                  <a:pt x="9" y="23"/>
                  <a:pt x="9" y="23"/>
                </a:cubicBezTo>
                <a:cubicBezTo>
                  <a:pt x="9" y="24"/>
                  <a:pt x="10" y="24"/>
                  <a:pt x="10" y="25"/>
                </a:cubicBezTo>
                <a:cubicBezTo>
                  <a:pt x="11" y="25"/>
                  <a:pt x="11" y="25"/>
                  <a:pt x="11" y="25"/>
                </a:cubicBezTo>
                <a:cubicBezTo>
                  <a:pt x="11" y="25"/>
                  <a:pt x="11" y="24"/>
                  <a:pt x="12" y="25"/>
                </a:cubicBezTo>
                <a:cubicBezTo>
                  <a:pt x="12" y="25"/>
                  <a:pt x="13" y="25"/>
                  <a:pt x="13" y="25"/>
                </a:cubicBezTo>
                <a:cubicBezTo>
                  <a:pt x="14" y="25"/>
                  <a:pt x="15" y="27"/>
                  <a:pt x="16" y="28"/>
                </a:cubicBezTo>
                <a:cubicBezTo>
                  <a:pt x="16" y="29"/>
                  <a:pt x="16" y="30"/>
                  <a:pt x="17" y="30"/>
                </a:cubicBezTo>
                <a:cubicBezTo>
                  <a:pt x="18" y="31"/>
                  <a:pt x="19" y="30"/>
                  <a:pt x="20" y="31"/>
                </a:cubicBezTo>
                <a:cubicBezTo>
                  <a:pt x="21" y="33"/>
                  <a:pt x="23" y="33"/>
                  <a:pt x="25" y="33"/>
                </a:cubicBezTo>
                <a:cubicBezTo>
                  <a:pt x="26" y="33"/>
                  <a:pt x="27" y="32"/>
                  <a:pt x="28" y="32"/>
                </a:cubicBezTo>
                <a:cubicBezTo>
                  <a:pt x="30" y="33"/>
                  <a:pt x="29" y="35"/>
                  <a:pt x="30" y="35"/>
                </a:cubicBezTo>
                <a:cubicBezTo>
                  <a:pt x="30" y="36"/>
                  <a:pt x="37" y="36"/>
                  <a:pt x="38" y="37"/>
                </a:cubicBezTo>
                <a:cubicBezTo>
                  <a:pt x="38" y="37"/>
                  <a:pt x="39" y="37"/>
                  <a:pt x="40" y="37"/>
                </a:cubicBezTo>
                <a:cubicBezTo>
                  <a:pt x="40" y="37"/>
                  <a:pt x="40" y="36"/>
                  <a:pt x="40" y="36"/>
                </a:cubicBezTo>
                <a:cubicBezTo>
                  <a:pt x="40" y="35"/>
                  <a:pt x="41" y="34"/>
                  <a:pt x="41" y="34"/>
                </a:cubicBezTo>
                <a:cubicBezTo>
                  <a:pt x="42" y="34"/>
                  <a:pt x="43" y="34"/>
                  <a:pt x="43" y="33"/>
                </a:cubicBezTo>
                <a:cubicBezTo>
                  <a:pt x="44" y="33"/>
                  <a:pt x="43" y="32"/>
                  <a:pt x="43"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387"/>
          <p:cNvSpPr>
            <a:spLocks noEditPoints="1"/>
          </p:cNvSpPr>
          <p:nvPr/>
        </p:nvSpPr>
        <p:spPr bwMode="auto">
          <a:xfrm>
            <a:off x="2691295" y="2614028"/>
            <a:ext cx="436131" cy="207341"/>
          </a:xfrm>
          <a:custGeom>
            <a:avLst/>
            <a:gdLst>
              <a:gd name="T0" fmla="*/ 87 w 90"/>
              <a:gd name="T1" fmla="*/ 18 h 43"/>
              <a:gd name="T2" fmla="*/ 84 w 90"/>
              <a:gd name="T3" fmla="*/ 15 h 43"/>
              <a:gd name="T4" fmla="*/ 78 w 90"/>
              <a:gd name="T5" fmla="*/ 14 h 43"/>
              <a:gd name="T6" fmla="*/ 73 w 90"/>
              <a:gd name="T7" fmla="*/ 10 h 43"/>
              <a:gd name="T8" fmla="*/ 67 w 90"/>
              <a:gd name="T9" fmla="*/ 4 h 43"/>
              <a:gd name="T10" fmla="*/ 61 w 90"/>
              <a:gd name="T11" fmla="*/ 6 h 43"/>
              <a:gd name="T12" fmla="*/ 59 w 90"/>
              <a:gd name="T13" fmla="*/ 4 h 43"/>
              <a:gd name="T14" fmla="*/ 56 w 90"/>
              <a:gd name="T15" fmla="*/ 4 h 43"/>
              <a:gd name="T16" fmla="*/ 54 w 90"/>
              <a:gd name="T17" fmla="*/ 1 h 43"/>
              <a:gd name="T18" fmla="*/ 46 w 90"/>
              <a:gd name="T19" fmla="*/ 2 h 43"/>
              <a:gd name="T20" fmla="*/ 38 w 90"/>
              <a:gd name="T21" fmla="*/ 4 h 43"/>
              <a:gd name="T22" fmla="*/ 33 w 90"/>
              <a:gd name="T23" fmla="*/ 6 h 43"/>
              <a:gd name="T24" fmla="*/ 33 w 90"/>
              <a:gd name="T25" fmla="*/ 9 h 43"/>
              <a:gd name="T26" fmla="*/ 33 w 90"/>
              <a:gd name="T27" fmla="*/ 12 h 43"/>
              <a:gd name="T28" fmla="*/ 31 w 90"/>
              <a:gd name="T29" fmla="*/ 14 h 43"/>
              <a:gd name="T30" fmla="*/ 28 w 90"/>
              <a:gd name="T31" fmla="*/ 14 h 43"/>
              <a:gd name="T32" fmla="*/ 22 w 90"/>
              <a:gd name="T33" fmla="*/ 14 h 43"/>
              <a:gd name="T34" fmla="*/ 18 w 90"/>
              <a:gd name="T35" fmla="*/ 14 h 43"/>
              <a:gd name="T36" fmla="*/ 12 w 90"/>
              <a:gd name="T37" fmla="*/ 12 h 43"/>
              <a:gd name="T38" fmla="*/ 7 w 90"/>
              <a:gd name="T39" fmla="*/ 13 h 43"/>
              <a:gd name="T40" fmla="*/ 5 w 90"/>
              <a:gd name="T41" fmla="*/ 17 h 43"/>
              <a:gd name="T42" fmla="*/ 1 w 90"/>
              <a:gd name="T43" fmla="*/ 17 h 43"/>
              <a:gd name="T44" fmla="*/ 0 w 90"/>
              <a:gd name="T45" fmla="*/ 21 h 43"/>
              <a:gd name="T46" fmla="*/ 3 w 90"/>
              <a:gd name="T47" fmla="*/ 23 h 43"/>
              <a:gd name="T48" fmla="*/ 5 w 90"/>
              <a:gd name="T49" fmla="*/ 26 h 43"/>
              <a:gd name="T50" fmla="*/ 11 w 90"/>
              <a:gd name="T51" fmla="*/ 25 h 43"/>
              <a:gd name="T52" fmla="*/ 13 w 90"/>
              <a:gd name="T53" fmla="*/ 30 h 43"/>
              <a:gd name="T54" fmla="*/ 9 w 90"/>
              <a:gd name="T55" fmla="*/ 33 h 43"/>
              <a:gd name="T56" fmla="*/ 13 w 90"/>
              <a:gd name="T57" fmla="*/ 37 h 43"/>
              <a:gd name="T58" fmla="*/ 15 w 90"/>
              <a:gd name="T59" fmla="*/ 39 h 43"/>
              <a:gd name="T60" fmla="*/ 21 w 90"/>
              <a:gd name="T61" fmla="*/ 40 h 43"/>
              <a:gd name="T62" fmla="*/ 27 w 90"/>
              <a:gd name="T63" fmla="*/ 28 h 43"/>
              <a:gd name="T64" fmla="*/ 31 w 90"/>
              <a:gd name="T65" fmla="*/ 29 h 43"/>
              <a:gd name="T66" fmla="*/ 37 w 90"/>
              <a:gd name="T67" fmla="*/ 34 h 43"/>
              <a:gd name="T68" fmla="*/ 44 w 90"/>
              <a:gd name="T69" fmla="*/ 38 h 43"/>
              <a:gd name="T70" fmla="*/ 49 w 90"/>
              <a:gd name="T71" fmla="*/ 42 h 43"/>
              <a:gd name="T72" fmla="*/ 54 w 90"/>
              <a:gd name="T73" fmla="*/ 40 h 43"/>
              <a:gd name="T74" fmla="*/ 59 w 90"/>
              <a:gd name="T75" fmla="*/ 37 h 43"/>
              <a:gd name="T76" fmla="*/ 66 w 90"/>
              <a:gd name="T77" fmla="*/ 36 h 43"/>
              <a:gd name="T78" fmla="*/ 75 w 90"/>
              <a:gd name="T79" fmla="*/ 38 h 43"/>
              <a:gd name="T80" fmla="*/ 76 w 90"/>
              <a:gd name="T81" fmla="*/ 33 h 43"/>
              <a:gd name="T82" fmla="*/ 79 w 90"/>
              <a:gd name="T83" fmla="*/ 30 h 43"/>
              <a:gd name="T84" fmla="*/ 81 w 90"/>
              <a:gd name="T85" fmla="*/ 25 h 43"/>
              <a:gd name="T86" fmla="*/ 87 w 90"/>
              <a:gd name="T87" fmla="*/ 24 h 43"/>
              <a:gd name="T88" fmla="*/ 89 w 90"/>
              <a:gd name="T89" fmla="*/ 20 h 43"/>
              <a:gd name="T90" fmla="*/ 34 w 90"/>
              <a:gd name="T91" fmla="*/ 27 h 43"/>
              <a:gd name="T92" fmla="*/ 71 w 90"/>
              <a:gd name="T93" fmla="*/ 27 h 43"/>
              <a:gd name="T94" fmla="*/ 62 w 90"/>
              <a:gd name="T95" fmla="*/ 27 h 43"/>
              <a:gd name="T96" fmla="*/ 71 w 90"/>
              <a:gd name="T9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43">
                <a:moveTo>
                  <a:pt x="89" y="18"/>
                </a:moveTo>
                <a:cubicBezTo>
                  <a:pt x="89" y="17"/>
                  <a:pt x="89" y="17"/>
                  <a:pt x="89" y="17"/>
                </a:cubicBezTo>
                <a:cubicBezTo>
                  <a:pt x="88" y="18"/>
                  <a:pt x="87" y="18"/>
                  <a:pt x="87" y="18"/>
                </a:cubicBezTo>
                <a:cubicBezTo>
                  <a:pt x="87" y="18"/>
                  <a:pt x="86" y="17"/>
                  <a:pt x="86" y="17"/>
                </a:cubicBezTo>
                <a:cubicBezTo>
                  <a:pt x="86" y="16"/>
                  <a:pt x="86" y="16"/>
                  <a:pt x="85" y="16"/>
                </a:cubicBezTo>
                <a:cubicBezTo>
                  <a:pt x="85" y="16"/>
                  <a:pt x="84" y="16"/>
                  <a:pt x="84" y="15"/>
                </a:cubicBezTo>
                <a:cubicBezTo>
                  <a:pt x="84" y="14"/>
                  <a:pt x="83" y="14"/>
                  <a:pt x="83" y="14"/>
                </a:cubicBezTo>
                <a:cubicBezTo>
                  <a:pt x="82" y="13"/>
                  <a:pt x="81" y="14"/>
                  <a:pt x="80" y="14"/>
                </a:cubicBezTo>
                <a:cubicBezTo>
                  <a:pt x="80" y="15"/>
                  <a:pt x="79" y="14"/>
                  <a:pt x="78" y="14"/>
                </a:cubicBezTo>
                <a:cubicBezTo>
                  <a:pt x="78" y="14"/>
                  <a:pt x="77" y="13"/>
                  <a:pt x="76" y="13"/>
                </a:cubicBezTo>
                <a:cubicBezTo>
                  <a:pt x="76" y="13"/>
                  <a:pt x="76" y="14"/>
                  <a:pt x="75" y="14"/>
                </a:cubicBezTo>
                <a:cubicBezTo>
                  <a:pt x="75" y="14"/>
                  <a:pt x="74" y="12"/>
                  <a:pt x="73" y="10"/>
                </a:cubicBezTo>
                <a:cubicBezTo>
                  <a:pt x="72" y="9"/>
                  <a:pt x="70" y="6"/>
                  <a:pt x="69" y="5"/>
                </a:cubicBezTo>
                <a:cubicBezTo>
                  <a:pt x="67" y="5"/>
                  <a:pt x="68" y="4"/>
                  <a:pt x="68" y="4"/>
                </a:cubicBezTo>
                <a:cubicBezTo>
                  <a:pt x="69" y="3"/>
                  <a:pt x="67" y="3"/>
                  <a:pt x="67" y="4"/>
                </a:cubicBezTo>
                <a:cubicBezTo>
                  <a:pt x="66" y="4"/>
                  <a:pt x="65" y="5"/>
                  <a:pt x="65" y="5"/>
                </a:cubicBezTo>
                <a:cubicBezTo>
                  <a:pt x="64" y="5"/>
                  <a:pt x="63" y="6"/>
                  <a:pt x="62" y="6"/>
                </a:cubicBezTo>
                <a:cubicBezTo>
                  <a:pt x="62" y="5"/>
                  <a:pt x="61" y="7"/>
                  <a:pt x="61" y="6"/>
                </a:cubicBezTo>
                <a:cubicBezTo>
                  <a:pt x="60" y="6"/>
                  <a:pt x="61" y="5"/>
                  <a:pt x="61" y="5"/>
                </a:cubicBezTo>
                <a:cubicBezTo>
                  <a:pt x="61" y="4"/>
                  <a:pt x="60" y="5"/>
                  <a:pt x="60" y="5"/>
                </a:cubicBezTo>
                <a:cubicBezTo>
                  <a:pt x="60" y="4"/>
                  <a:pt x="59" y="4"/>
                  <a:pt x="59" y="4"/>
                </a:cubicBezTo>
                <a:cubicBezTo>
                  <a:pt x="59" y="5"/>
                  <a:pt x="59" y="5"/>
                  <a:pt x="59" y="4"/>
                </a:cubicBezTo>
                <a:cubicBezTo>
                  <a:pt x="59" y="4"/>
                  <a:pt x="58" y="3"/>
                  <a:pt x="58" y="4"/>
                </a:cubicBezTo>
                <a:cubicBezTo>
                  <a:pt x="57" y="4"/>
                  <a:pt x="56" y="4"/>
                  <a:pt x="56" y="4"/>
                </a:cubicBezTo>
                <a:cubicBezTo>
                  <a:pt x="55" y="4"/>
                  <a:pt x="56" y="4"/>
                  <a:pt x="56" y="3"/>
                </a:cubicBezTo>
                <a:cubicBezTo>
                  <a:pt x="56" y="3"/>
                  <a:pt x="55" y="2"/>
                  <a:pt x="56" y="2"/>
                </a:cubicBezTo>
                <a:cubicBezTo>
                  <a:pt x="56" y="1"/>
                  <a:pt x="55" y="0"/>
                  <a:pt x="54" y="1"/>
                </a:cubicBezTo>
                <a:cubicBezTo>
                  <a:pt x="54" y="1"/>
                  <a:pt x="53" y="1"/>
                  <a:pt x="52" y="0"/>
                </a:cubicBezTo>
                <a:cubicBezTo>
                  <a:pt x="52" y="0"/>
                  <a:pt x="50" y="1"/>
                  <a:pt x="50" y="1"/>
                </a:cubicBezTo>
                <a:cubicBezTo>
                  <a:pt x="50" y="2"/>
                  <a:pt x="47" y="2"/>
                  <a:pt x="46" y="2"/>
                </a:cubicBezTo>
                <a:cubicBezTo>
                  <a:pt x="46" y="2"/>
                  <a:pt x="44" y="3"/>
                  <a:pt x="43" y="3"/>
                </a:cubicBezTo>
                <a:cubicBezTo>
                  <a:pt x="43" y="3"/>
                  <a:pt x="42" y="3"/>
                  <a:pt x="41" y="3"/>
                </a:cubicBezTo>
                <a:cubicBezTo>
                  <a:pt x="40" y="3"/>
                  <a:pt x="39" y="4"/>
                  <a:pt x="38" y="4"/>
                </a:cubicBezTo>
                <a:cubicBezTo>
                  <a:pt x="37" y="5"/>
                  <a:pt x="36" y="4"/>
                  <a:pt x="35" y="4"/>
                </a:cubicBezTo>
                <a:cubicBezTo>
                  <a:pt x="35" y="5"/>
                  <a:pt x="34" y="4"/>
                  <a:pt x="33" y="4"/>
                </a:cubicBezTo>
                <a:cubicBezTo>
                  <a:pt x="33" y="5"/>
                  <a:pt x="33" y="6"/>
                  <a:pt x="33" y="6"/>
                </a:cubicBezTo>
                <a:cubicBezTo>
                  <a:pt x="34" y="7"/>
                  <a:pt x="35" y="7"/>
                  <a:pt x="35" y="7"/>
                </a:cubicBezTo>
                <a:cubicBezTo>
                  <a:pt x="35" y="8"/>
                  <a:pt x="34" y="8"/>
                  <a:pt x="33" y="8"/>
                </a:cubicBezTo>
                <a:cubicBezTo>
                  <a:pt x="32" y="8"/>
                  <a:pt x="32" y="9"/>
                  <a:pt x="33" y="9"/>
                </a:cubicBezTo>
                <a:cubicBezTo>
                  <a:pt x="33" y="10"/>
                  <a:pt x="32" y="10"/>
                  <a:pt x="31" y="10"/>
                </a:cubicBezTo>
                <a:cubicBezTo>
                  <a:pt x="31" y="11"/>
                  <a:pt x="31" y="12"/>
                  <a:pt x="32" y="12"/>
                </a:cubicBezTo>
                <a:cubicBezTo>
                  <a:pt x="32" y="12"/>
                  <a:pt x="33" y="12"/>
                  <a:pt x="33" y="12"/>
                </a:cubicBezTo>
                <a:cubicBezTo>
                  <a:pt x="34" y="12"/>
                  <a:pt x="34" y="13"/>
                  <a:pt x="34" y="14"/>
                </a:cubicBezTo>
                <a:cubicBezTo>
                  <a:pt x="34" y="14"/>
                  <a:pt x="33" y="14"/>
                  <a:pt x="33" y="14"/>
                </a:cubicBezTo>
                <a:cubicBezTo>
                  <a:pt x="32" y="14"/>
                  <a:pt x="31" y="14"/>
                  <a:pt x="31" y="14"/>
                </a:cubicBezTo>
                <a:cubicBezTo>
                  <a:pt x="30" y="14"/>
                  <a:pt x="30" y="15"/>
                  <a:pt x="30" y="15"/>
                </a:cubicBezTo>
                <a:cubicBezTo>
                  <a:pt x="30" y="15"/>
                  <a:pt x="30" y="14"/>
                  <a:pt x="29" y="14"/>
                </a:cubicBezTo>
                <a:cubicBezTo>
                  <a:pt x="28" y="14"/>
                  <a:pt x="28" y="14"/>
                  <a:pt x="28" y="14"/>
                </a:cubicBezTo>
                <a:cubicBezTo>
                  <a:pt x="27" y="13"/>
                  <a:pt x="26" y="13"/>
                  <a:pt x="25" y="13"/>
                </a:cubicBezTo>
                <a:cubicBezTo>
                  <a:pt x="25" y="14"/>
                  <a:pt x="25" y="14"/>
                  <a:pt x="24" y="13"/>
                </a:cubicBezTo>
                <a:cubicBezTo>
                  <a:pt x="24" y="13"/>
                  <a:pt x="22" y="14"/>
                  <a:pt x="22" y="14"/>
                </a:cubicBezTo>
                <a:cubicBezTo>
                  <a:pt x="22" y="14"/>
                  <a:pt x="21" y="15"/>
                  <a:pt x="20" y="14"/>
                </a:cubicBezTo>
                <a:cubicBezTo>
                  <a:pt x="19" y="14"/>
                  <a:pt x="19" y="14"/>
                  <a:pt x="19" y="14"/>
                </a:cubicBezTo>
                <a:cubicBezTo>
                  <a:pt x="19" y="15"/>
                  <a:pt x="18" y="14"/>
                  <a:pt x="18" y="14"/>
                </a:cubicBezTo>
                <a:cubicBezTo>
                  <a:pt x="18" y="14"/>
                  <a:pt x="17" y="13"/>
                  <a:pt x="16" y="12"/>
                </a:cubicBezTo>
                <a:cubicBezTo>
                  <a:pt x="16" y="12"/>
                  <a:pt x="14" y="12"/>
                  <a:pt x="14" y="12"/>
                </a:cubicBezTo>
                <a:cubicBezTo>
                  <a:pt x="14" y="11"/>
                  <a:pt x="12" y="11"/>
                  <a:pt x="12" y="12"/>
                </a:cubicBezTo>
                <a:cubicBezTo>
                  <a:pt x="12" y="12"/>
                  <a:pt x="11" y="12"/>
                  <a:pt x="11" y="12"/>
                </a:cubicBezTo>
                <a:cubicBezTo>
                  <a:pt x="10" y="11"/>
                  <a:pt x="10" y="12"/>
                  <a:pt x="9" y="12"/>
                </a:cubicBezTo>
                <a:cubicBezTo>
                  <a:pt x="9" y="12"/>
                  <a:pt x="8" y="13"/>
                  <a:pt x="7" y="13"/>
                </a:cubicBezTo>
                <a:cubicBezTo>
                  <a:pt x="6" y="13"/>
                  <a:pt x="7" y="14"/>
                  <a:pt x="6" y="14"/>
                </a:cubicBezTo>
                <a:cubicBezTo>
                  <a:pt x="5" y="14"/>
                  <a:pt x="5" y="15"/>
                  <a:pt x="5" y="15"/>
                </a:cubicBezTo>
                <a:cubicBezTo>
                  <a:pt x="5" y="16"/>
                  <a:pt x="6" y="16"/>
                  <a:pt x="5" y="17"/>
                </a:cubicBezTo>
                <a:cubicBezTo>
                  <a:pt x="4" y="17"/>
                  <a:pt x="4" y="16"/>
                  <a:pt x="3" y="15"/>
                </a:cubicBezTo>
                <a:cubicBezTo>
                  <a:pt x="2" y="15"/>
                  <a:pt x="2" y="15"/>
                  <a:pt x="2" y="16"/>
                </a:cubicBezTo>
                <a:cubicBezTo>
                  <a:pt x="2" y="17"/>
                  <a:pt x="1" y="17"/>
                  <a:pt x="1" y="17"/>
                </a:cubicBezTo>
                <a:cubicBezTo>
                  <a:pt x="0" y="18"/>
                  <a:pt x="1" y="18"/>
                  <a:pt x="1" y="19"/>
                </a:cubicBezTo>
                <a:cubicBezTo>
                  <a:pt x="1" y="19"/>
                  <a:pt x="1" y="19"/>
                  <a:pt x="1" y="19"/>
                </a:cubicBezTo>
                <a:cubicBezTo>
                  <a:pt x="0" y="19"/>
                  <a:pt x="0" y="20"/>
                  <a:pt x="0" y="21"/>
                </a:cubicBezTo>
                <a:cubicBezTo>
                  <a:pt x="0" y="21"/>
                  <a:pt x="1" y="21"/>
                  <a:pt x="1" y="21"/>
                </a:cubicBezTo>
                <a:cubicBezTo>
                  <a:pt x="1" y="22"/>
                  <a:pt x="1" y="23"/>
                  <a:pt x="2" y="23"/>
                </a:cubicBezTo>
                <a:cubicBezTo>
                  <a:pt x="2" y="22"/>
                  <a:pt x="3" y="23"/>
                  <a:pt x="3" y="23"/>
                </a:cubicBezTo>
                <a:cubicBezTo>
                  <a:pt x="4" y="23"/>
                  <a:pt x="4" y="23"/>
                  <a:pt x="5" y="24"/>
                </a:cubicBezTo>
                <a:cubicBezTo>
                  <a:pt x="5" y="25"/>
                  <a:pt x="6" y="25"/>
                  <a:pt x="5" y="25"/>
                </a:cubicBezTo>
                <a:cubicBezTo>
                  <a:pt x="4" y="26"/>
                  <a:pt x="5" y="26"/>
                  <a:pt x="5" y="26"/>
                </a:cubicBezTo>
                <a:cubicBezTo>
                  <a:pt x="6" y="27"/>
                  <a:pt x="6" y="27"/>
                  <a:pt x="6" y="27"/>
                </a:cubicBezTo>
                <a:cubicBezTo>
                  <a:pt x="6" y="27"/>
                  <a:pt x="6" y="27"/>
                  <a:pt x="7" y="27"/>
                </a:cubicBezTo>
                <a:cubicBezTo>
                  <a:pt x="8" y="26"/>
                  <a:pt x="10" y="25"/>
                  <a:pt x="11" y="25"/>
                </a:cubicBezTo>
                <a:cubicBezTo>
                  <a:pt x="13" y="25"/>
                  <a:pt x="14" y="25"/>
                  <a:pt x="15" y="26"/>
                </a:cubicBezTo>
                <a:cubicBezTo>
                  <a:pt x="15" y="27"/>
                  <a:pt x="15" y="28"/>
                  <a:pt x="15" y="29"/>
                </a:cubicBezTo>
                <a:cubicBezTo>
                  <a:pt x="15" y="30"/>
                  <a:pt x="14" y="30"/>
                  <a:pt x="13" y="30"/>
                </a:cubicBezTo>
                <a:cubicBezTo>
                  <a:pt x="12" y="29"/>
                  <a:pt x="10" y="30"/>
                  <a:pt x="10" y="31"/>
                </a:cubicBezTo>
                <a:cubicBezTo>
                  <a:pt x="10" y="31"/>
                  <a:pt x="11" y="33"/>
                  <a:pt x="10" y="32"/>
                </a:cubicBezTo>
                <a:cubicBezTo>
                  <a:pt x="8" y="31"/>
                  <a:pt x="8" y="33"/>
                  <a:pt x="9" y="33"/>
                </a:cubicBezTo>
                <a:cubicBezTo>
                  <a:pt x="9" y="33"/>
                  <a:pt x="10" y="33"/>
                  <a:pt x="10" y="34"/>
                </a:cubicBezTo>
                <a:cubicBezTo>
                  <a:pt x="10" y="35"/>
                  <a:pt x="10" y="36"/>
                  <a:pt x="11" y="36"/>
                </a:cubicBezTo>
                <a:cubicBezTo>
                  <a:pt x="12" y="35"/>
                  <a:pt x="12" y="37"/>
                  <a:pt x="13" y="37"/>
                </a:cubicBezTo>
                <a:cubicBezTo>
                  <a:pt x="13" y="37"/>
                  <a:pt x="14" y="37"/>
                  <a:pt x="14" y="38"/>
                </a:cubicBezTo>
                <a:cubicBezTo>
                  <a:pt x="13" y="39"/>
                  <a:pt x="14" y="41"/>
                  <a:pt x="14" y="40"/>
                </a:cubicBezTo>
                <a:cubicBezTo>
                  <a:pt x="14" y="40"/>
                  <a:pt x="14" y="39"/>
                  <a:pt x="15" y="39"/>
                </a:cubicBezTo>
                <a:cubicBezTo>
                  <a:pt x="14" y="38"/>
                  <a:pt x="16" y="38"/>
                  <a:pt x="17" y="38"/>
                </a:cubicBezTo>
                <a:cubicBezTo>
                  <a:pt x="18" y="38"/>
                  <a:pt x="19" y="39"/>
                  <a:pt x="20" y="40"/>
                </a:cubicBezTo>
                <a:cubicBezTo>
                  <a:pt x="20" y="41"/>
                  <a:pt x="21" y="40"/>
                  <a:pt x="21" y="40"/>
                </a:cubicBezTo>
                <a:cubicBezTo>
                  <a:pt x="21" y="30"/>
                  <a:pt x="21" y="30"/>
                  <a:pt x="21" y="30"/>
                </a:cubicBezTo>
                <a:cubicBezTo>
                  <a:pt x="27" y="29"/>
                  <a:pt x="27" y="29"/>
                  <a:pt x="27" y="29"/>
                </a:cubicBezTo>
                <a:cubicBezTo>
                  <a:pt x="27" y="29"/>
                  <a:pt x="27" y="29"/>
                  <a:pt x="27" y="28"/>
                </a:cubicBezTo>
                <a:cubicBezTo>
                  <a:pt x="28" y="27"/>
                  <a:pt x="29" y="28"/>
                  <a:pt x="29" y="29"/>
                </a:cubicBezTo>
                <a:cubicBezTo>
                  <a:pt x="30" y="29"/>
                  <a:pt x="29" y="27"/>
                  <a:pt x="30" y="28"/>
                </a:cubicBezTo>
                <a:cubicBezTo>
                  <a:pt x="31" y="28"/>
                  <a:pt x="30" y="29"/>
                  <a:pt x="31" y="29"/>
                </a:cubicBezTo>
                <a:cubicBezTo>
                  <a:pt x="31" y="29"/>
                  <a:pt x="32" y="30"/>
                  <a:pt x="32" y="32"/>
                </a:cubicBezTo>
                <a:cubicBezTo>
                  <a:pt x="33" y="32"/>
                  <a:pt x="34" y="34"/>
                  <a:pt x="34" y="35"/>
                </a:cubicBezTo>
                <a:cubicBezTo>
                  <a:pt x="35" y="35"/>
                  <a:pt x="37" y="34"/>
                  <a:pt x="37" y="34"/>
                </a:cubicBezTo>
                <a:cubicBezTo>
                  <a:pt x="38" y="35"/>
                  <a:pt x="41" y="35"/>
                  <a:pt x="42" y="35"/>
                </a:cubicBezTo>
                <a:cubicBezTo>
                  <a:pt x="42" y="35"/>
                  <a:pt x="43" y="36"/>
                  <a:pt x="43" y="36"/>
                </a:cubicBezTo>
                <a:cubicBezTo>
                  <a:pt x="44" y="36"/>
                  <a:pt x="44" y="37"/>
                  <a:pt x="44" y="38"/>
                </a:cubicBezTo>
                <a:cubicBezTo>
                  <a:pt x="44" y="39"/>
                  <a:pt x="45" y="40"/>
                  <a:pt x="45" y="40"/>
                </a:cubicBezTo>
                <a:cubicBezTo>
                  <a:pt x="45" y="41"/>
                  <a:pt x="46" y="41"/>
                  <a:pt x="47" y="41"/>
                </a:cubicBezTo>
                <a:cubicBezTo>
                  <a:pt x="48" y="41"/>
                  <a:pt x="49" y="41"/>
                  <a:pt x="49" y="42"/>
                </a:cubicBezTo>
                <a:cubicBezTo>
                  <a:pt x="49" y="43"/>
                  <a:pt x="50" y="42"/>
                  <a:pt x="50" y="42"/>
                </a:cubicBezTo>
                <a:cubicBezTo>
                  <a:pt x="50" y="41"/>
                  <a:pt x="51" y="40"/>
                  <a:pt x="52" y="40"/>
                </a:cubicBezTo>
                <a:cubicBezTo>
                  <a:pt x="53" y="40"/>
                  <a:pt x="53" y="40"/>
                  <a:pt x="54" y="40"/>
                </a:cubicBezTo>
                <a:cubicBezTo>
                  <a:pt x="54" y="39"/>
                  <a:pt x="54" y="38"/>
                  <a:pt x="54" y="38"/>
                </a:cubicBezTo>
                <a:cubicBezTo>
                  <a:pt x="55" y="38"/>
                  <a:pt x="56" y="38"/>
                  <a:pt x="56" y="37"/>
                </a:cubicBezTo>
                <a:cubicBezTo>
                  <a:pt x="56" y="36"/>
                  <a:pt x="57" y="36"/>
                  <a:pt x="59" y="37"/>
                </a:cubicBezTo>
                <a:cubicBezTo>
                  <a:pt x="60" y="37"/>
                  <a:pt x="61" y="37"/>
                  <a:pt x="61" y="37"/>
                </a:cubicBezTo>
                <a:cubicBezTo>
                  <a:pt x="61" y="36"/>
                  <a:pt x="62" y="35"/>
                  <a:pt x="63" y="36"/>
                </a:cubicBezTo>
                <a:cubicBezTo>
                  <a:pt x="63" y="36"/>
                  <a:pt x="65" y="37"/>
                  <a:pt x="66" y="36"/>
                </a:cubicBezTo>
                <a:cubicBezTo>
                  <a:pt x="67" y="36"/>
                  <a:pt x="71" y="37"/>
                  <a:pt x="72" y="37"/>
                </a:cubicBezTo>
                <a:cubicBezTo>
                  <a:pt x="72" y="37"/>
                  <a:pt x="73" y="36"/>
                  <a:pt x="74" y="37"/>
                </a:cubicBezTo>
                <a:cubicBezTo>
                  <a:pt x="74" y="38"/>
                  <a:pt x="75" y="37"/>
                  <a:pt x="75" y="38"/>
                </a:cubicBezTo>
                <a:cubicBezTo>
                  <a:pt x="75" y="38"/>
                  <a:pt x="75" y="38"/>
                  <a:pt x="75" y="37"/>
                </a:cubicBezTo>
                <a:cubicBezTo>
                  <a:pt x="75" y="37"/>
                  <a:pt x="76" y="36"/>
                  <a:pt x="77" y="36"/>
                </a:cubicBezTo>
                <a:cubicBezTo>
                  <a:pt x="77" y="35"/>
                  <a:pt x="76" y="34"/>
                  <a:pt x="76" y="33"/>
                </a:cubicBezTo>
                <a:cubicBezTo>
                  <a:pt x="76" y="33"/>
                  <a:pt x="76" y="31"/>
                  <a:pt x="75" y="31"/>
                </a:cubicBezTo>
                <a:cubicBezTo>
                  <a:pt x="75" y="31"/>
                  <a:pt x="76" y="30"/>
                  <a:pt x="76" y="30"/>
                </a:cubicBezTo>
                <a:cubicBezTo>
                  <a:pt x="77" y="30"/>
                  <a:pt x="78" y="30"/>
                  <a:pt x="79" y="30"/>
                </a:cubicBezTo>
                <a:cubicBezTo>
                  <a:pt x="79" y="30"/>
                  <a:pt x="80" y="30"/>
                  <a:pt x="80" y="30"/>
                </a:cubicBezTo>
                <a:cubicBezTo>
                  <a:pt x="81" y="30"/>
                  <a:pt x="80" y="30"/>
                  <a:pt x="80" y="29"/>
                </a:cubicBezTo>
                <a:cubicBezTo>
                  <a:pt x="80" y="29"/>
                  <a:pt x="81" y="26"/>
                  <a:pt x="81" y="25"/>
                </a:cubicBezTo>
                <a:cubicBezTo>
                  <a:pt x="82" y="24"/>
                  <a:pt x="82" y="25"/>
                  <a:pt x="83" y="25"/>
                </a:cubicBezTo>
                <a:cubicBezTo>
                  <a:pt x="84" y="25"/>
                  <a:pt x="85" y="25"/>
                  <a:pt x="85" y="25"/>
                </a:cubicBezTo>
                <a:cubicBezTo>
                  <a:pt x="85" y="25"/>
                  <a:pt x="87" y="25"/>
                  <a:pt x="87" y="24"/>
                </a:cubicBezTo>
                <a:cubicBezTo>
                  <a:pt x="87" y="24"/>
                  <a:pt x="87" y="24"/>
                  <a:pt x="87" y="23"/>
                </a:cubicBezTo>
                <a:cubicBezTo>
                  <a:pt x="87" y="22"/>
                  <a:pt x="88" y="21"/>
                  <a:pt x="88" y="21"/>
                </a:cubicBezTo>
                <a:cubicBezTo>
                  <a:pt x="89" y="21"/>
                  <a:pt x="89" y="20"/>
                  <a:pt x="89" y="20"/>
                </a:cubicBezTo>
                <a:cubicBezTo>
                  <a:pt x="89" y="19"/>
                  <a:pt x="90" y="19"/>
                  <a:pt x="90" y="18"/>
                </a:cubicBezTo>
                <a:cubicBezTo>
                  <a:pt x="90" y="18"/>
                  <a:pt x="90" y="18"/>
                  <a:pt x="89" y="18"/>
                </a:cubicBezTo>
                <a:moveTo>
                  <a:pt x="34" y="27"/>
                </a:moveTo>
                <a:cubicBezTo>
                  <a:pt x="33" y="27"/>
                  <a:pt x="31" y="27"/>
                  <a:pt x="30" y="26"/>
                </a:cubicBezTo>
                <a:cubicBezTo>
                  <a:pt x="30" y="26"/>
                  <a:pt x="34" y="26"/>
                  <a:pt x="34" y="27"/>
                </a:cubicBezTo>
                <a:moveTo>
                  <a:pt x="71" y="27"/>
                </a:moveTo>
                <a:cubicBezTo>
                  <a:pt x="69" y="27"/>
                  <a:pt x="65" y="26"/>
                  <a:pt x="63" y="28"/>
                </a:cubicBezTo>
                <a:cubicBezTo>
                  <a:pt x="62" y="29"/>
                  <a:pt x="63" y="30"/>
                  <a:pt x="62" y="31"/>
                </a:cubicBezTo>
                <a:cubicBezTo>
                  <a:pt x="61" y="31"/>
                  <a:pt x="61" y="28"/>
                  <a:pt x="62" y="27"/>
                </a:cubicBezTo>
                <a:cubicBezTo>
                  <a:pt x="63" y="26"/>
                  <a:pt x="66" y="26"/>
                  <a:pt x="67" y="26"/>
                </a:cubicBezTo>
                <a:cubicBezTo>
                  <a:pt x="69" y="27"/>
                  <a:pt x="72" y="26"/>
                  <a:pt x="73" y="26"/>
                </a:cubicBezTo>
                <a:cubicBezTo>
                  <a:pt x="73" y="26"/>
                  <a:pt x="72" y="27"/>
                  <a:pt x="71"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88"/>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389"/>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390"/>
          <p:cNvSpPr>
            <a:spLocks/>
          </p:cNvSpPr>
          <p:nvPr/>
        </p:nvSpPr>
        <p:spPr bwMode="auto">
          <a:xfrm>
            <a:off x="2330236" y="3218177"/>
            <a:ext cx="193042" cy="207341"/>
          </a:xfrm>
          <a:custGeom>
            <a:avLst/>
            <a:gdLst>
              <a:gd name="T0" fmla="*/ 36 w 40"/>
              <a:gd name="T1" fmla="*/ 20 h 43"/>
              <a:gd name="T2" fmla="*/ 36 w 40"/>
              <a:gd name="T3" fmla="*/ 19 h 43"/>
              <a:gd name="T4" fmla="*/ 35 w 40"/>
              <a:gd name="T5" fmla="*/ 18 h 43"/>
              <a:gd name="T6" fmla="*/ 36 w 40"/>
              <a:gd name="T7" fmla="*/ 16 h 43"/>
              <a:gd name="T8" fmla="*/ 37 w 40"/>
              <a:gd name="T9" fmla="*/ 14 h 43"/>
              <a:gd name="T10" fmla="*/ 38 w 40"/>
              <a:gd name="T11" fmla="*/ 11 h 43"/>
              <a:gd name="T12" fmla="*/ 40 w 40"/>
              <a:gd name="T13" fmla="*/ 9 h 43"/>
              <a:gd name="T14" fmla="*/ 40 w 40"/>
              <a:gd name="T15" fmla="*/ 7 h 43"/>
              <a:gd name="T16" fmla="*/ 40 w 40"/>
              <a:gd name="T17" fmla="*/ 5 h 43"/>
              <a:gd name="T18" fmla="*/ 36 w 40"/>
              <a:gd name="T19" fmla="*/ 3 h 43"/>
              <a:gd name="T20" fmla="*/ 34 w 40"/>
              <a:gd name="T21" fmla="*/ 3 h 43"/>
              <a:gd name="T22" fmla="*/ 32 w 40"/>
              <a:gd name="T23" fmla="*/ 1 h 43"/>
              <a:gd name="T24" fmla="*/ 30 w 40"/>
              <a:gd name="T25" fmla="*/ 2 h 43"/>
              <a:gd name="T26" fmla="*/ 26 w 40"/>
              <a:gd name="T27" fmla="*/ 2 h 43"/>
              <a:gd name="T28" fmla="*/ 22 w 40"/>
              <a:gd name="T29" fmla="*/ 2 h 43"/>
              <a:gd name="T30" fmla="*/ 17 w 40"/>
              <a:gd name="T31" fmla="*/ 3 h 43"/>
              <a:gd name="T32" fmla="*/ 13 w 40"/>
              <a:gd name="T33" fmla="*/ 3 h 43"/>
              <a:gd name="T34" fmla="*/ 13 w 40"/>
              <a:gd name="T35" fmla="*/ 7 h 43"/>
              <a:gd name="T36" fmla="*/ 10 w 40"/>
              <a:gd name="T37" fmla="*/ 14 h 43"/>
              <a:gd name="T38" fmla="*/ 8 w 40"/>
              <a:gd name="T39" fmla="*/ 20 h 43"/>
              <a:gd name="T40" fmla="*/ 6 w 40"/>
              <a:gd name="T41" fmla="*/ 23 h 43"/>
              <a:gd name="T42" fmla="*/ 3 w 40"/>
              <a:gd name="T43" fmla="*/ 23 h 43"/>
              <a:gd name="T44" fmla="*/ 0 w 40"/>
              <a:gd name="T45" fmla="*/ 24 h 43"/>
              <a:gd name="T46" fmla="*/ 1 w 40"/>
              <a:gd name="T47" fmla="*/ 27 h 43"/>
              <a:gd name="T48" fmla="*/ 9 w 40"/>
              <a:gd name="T49" fmla="*/ 26 h 43"/>
              <a:gd name="T50" fmla="*/ 10 w 40"/>
              <a:gd name="T51" fmla="*/ 30 h 43"/>
              <a:gd name="T52" fmla="*/ 15 w 40"/>
              <a:gd name="T53" fmla="*/ 31 h 43"/>
              <a:gd name="T54" fmla="*/ 17 w 40"/>
              <a:gd name="T55" fmla="*/ 29 h 43"/>
              <a:gd name="T56" fmla="*/ 20 w 40"/>
              <a:gd name="T57" fmla="*/ 30 h 43"/>
              <a:gd name="T58" fmla="*/ 20 w 40"/>
              <a:gd name="T59" fmla="*/ 34 h 43"/>
              <a:gd name="T60" fmla="*/ 21 w 40"/>
              <a:gd name="T61" fmla="*/ 38 h 43"/>
              <a:gd name="T62" fmla="*/ 24 w 40"/>
              <a:gd name="T63" fmla="*/ 37 h 43"/>
              <a:gd name="T64" fmla="*/ 25 w 40"/>
              <a:gd name="T65" fmla="*/ 38 h 43"/>
              <a:gd name="T66" fmla="*/ 27 w 40"/>
              <a:gd name="T67" fmla="*/ 38 h 43"/>
              <a:gd name="T68" fmla="*/ 30 w 40"/>
              <a:gd name="T69" fmla="*/ 40 h 43"/>
              <a:gd name="T70" fmla="*/ 32 w 40"/>
              <a:gd name="T71" fmla="*/ 39 h 43"/>
              <a:gd name="T72" fmla="*/ 35 w 40"/>
              <a:gd name="T73" fmla="*/ 41 h 43"/>
              <a:gd name="T74" fmla="*/ 37 w 40"/>
              <a:gd name="T75" fmla="*/ 43 h 43"/>
              <a:gd name="T76" fmla="*/ 37 w 40"/>
              <a:gd name="T77" fmla="*/ 40 h 43"/>
              <a:gd name="T78" fmla="*/ 34 w 40"/>
              <a:gd name="T79" fmla="*/ 39 h 43"/>
              <a:gd name="T80" fmla="*/ 35 w 40"/>
              <a:gd name="T81" fmla="*/ 34 h 43"/>
              <a:gd name="T82" fmla="*/ 36 w 40"/>
              <a:gd name="T83" fmla="*/ 32 h 43"/>
              <a:gd name="T84" fmla="*/ 38 w 40"/>
              <a:gd name="T85" fmla="*/ 31 h 43"/>
              <a:gd name="T86" fmla="*/ 37 w 40"/>
              <a:gd name="T8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43">
                <a:moveTo>
                  <a:pt x="37" y="29"/>
                </a:moveTo>
                <a:cubicBezTo>
                  <a:pt x="36" y="28"/>
                  <a:pt x="35" y="21"/>
                  <a:pt x="36" y="20"/>
                </a:cubicBezTo>
                <a:cubicBezTo>
                  <a:pt x="36" y="20"/>
                  <a:pt x="36" y="20"/>
                  <a:pt x="36" y="21"/>
                </a:cubicBezTo>
                <a:cubicBezTo>
                  <a:pt x="36" y="19"/>
                  <a:pt x="36" y="19"/>
                  <a:pt x="36" y="19"/>
                </a:cubicBezTo>
                <a:cubicBezTo>
                  <a:pt x="36" y="19"/>
                  <a:pt x="36" y="19"/>
                  <a:pt x="36" y="19"/>
                </a:cubicBezTo>
                <a:cubicBezTo>
                  <a:pt x="36" y="19"/>
                  <a:pt x="35" y="19"/>
                  <a:pt x="35" y="18"/>
                </a:cubicBezTo>
                <a:cubicBezTo>
                  <a:pt x="35" y="18"/>
                  <a:pt x="36" y="18"/>
                  <a:pt x="36" y="18"/>
                </a:cubicBezTo>
                <a:cubicBezTo>
                  <a:pt x="36" y="18"/>
                  <a:pt x="36" y="16"/>
                  <a:pt x="36" y="16"/>
                </a:cubicBezTo>
                <a:cubicBezTo>
                  <a:pt x="36" y="16"/>
                  <a:pt x="37" y="16"/>
                  <a:pt x="37" y="16"/>
                </a:cubicBezTo>
                <a:cubicBezTo>
                  <a:pt x="37" y="16"/>
                  <a:pt x="37" y="15"/>
                  <a:pt x="37" y="14"/>
                </a:cubicBezTo>
                <a:cubicBezTo>
                  <a:pt x="37" y="14"/>
                  <a:pt x="37" y="13"/>
                  <a:pt x="37" y="12"/>
                </a:cubicBezTo>
                <a:cubicBezTo>
                  <a:pt x="38" y="12"/>
                  <a:pt x="37" y="11"/>
                  <a:pt x="38" y="11"/>
                </a:cubicBezTo>
                <a:cubicBezTo>
                  <a:pt x="38" y="11"/>
                  <a:pt x="38" y="10"/>
                  <a:pt x="39" y="10"/>
                </a:cubicBezTo>
                <a:cubicBezTo>
                  <a:pt x="39" y="10"/>
                  <a:pt x="40" y="9"/>
                  <a:pt x="40" y="9"/>
                </a:cubicBezTo>
                <a:cubicBezTo>
                  <a:pt x="40" y="9"/>
                  <a:pt x="40" y="8"/>
                  <a:pt x="40" y="8"/>
                </a:cubicBezTo>
                <a:cubicBezTo>
                  <a:pt x="40" y="7"/>
                  <a:pt x="40" y="7"/>
                  <a:pt x="40" y="7"/>
                </a:cubicBezTo>
                <a:cubicBezTo>
                  <a:pt x="40" y="6"/>
                  <a:pt x="40" y="5"/>
                  <a:pt x="40" y="5"/>
                </a:cubicBezTo>
                <a:cubicBezTo>
                  <a:pt x="40" y="5"/>
                  <a:pt x="40" y="5"/>
                  <a:pt x="40" y="5"/>
                </a:cubicBezTo>
                <a:cubicBezTo>
                  <a:pt x="39" y="4"/>
                  <a:pt x="38" y="3"/>
                  <a:pt x="37" y="3"/>
                </a:cubicBezTo>
                <a:cubicBezTo>
                  <a:pt x="37" y="2"/>
                  <a:pt x="36" y="3"/>
                  <a:pt x="36" y="3"/>
                </a:cubicBezTo>
                <a:cubicBezTo>
                  <a:pt x="36" y="3"/>
                  <a:pt x="35" y="2"/>
                  <a:pt x="35" y="3"/>
                </a:cubicBezTo>
                <a:cubicBezTo>
                  <a:pt x="34" y="3"/>
                  <a:pt x="34" y="3"/>
                  <a:pt x="34" y="3"/>
                </a:cubicBezTo>
                <a:cubicBezTo>
                  <a:pt x="34" y="3"/>
                  <a:pt x="33" y="2"/>
                  <a:pt x="33" y="2"/>
                </a:cubicBezTo>
                <a:cubicBezTo>
                  <a:pt x="32" y="1"/>
                  <a:pt x="32" y="1"/>
                  <a:pt x="32" y="1"/>
                </a:cubicBezTo>
                <a:cubicBezTo>
                  <a:pt x="32" y="1"/>
                  <a:pt x="32" y="1"/>
                  <a:pt x="32" y="1"/>
                </a:cubicBezTo>
                <a:cubicBezTo>
                  <a:pt x="30" y="2"/>
                  <a:pt x="30" y="2"/>
                  <a:pt x="30" y="2"/>
                </a:cubicBezTo>
                <a:cubicBezTo>
                  <a:pt x="30" y="2"/>
                  <a:pt x="28" y="0"/>
                  <a:pt x="28" y="1"/>
                </a:cubicBezTo>
                <a:cubicBezTo>
                  <a:pt x="28" y="2"/>
                  <a:pt x="27" y="2"/>
                  <a:pt x="26" y="2"/>
                </a:cubicBezTo>
                <a:cubicBezTo>
                  <a:pt x="25" y="2"/>
                  <a:pt x="24" y="2"/>
                  <a:pt x="24" y="2"/>
                </a:cubicBezTo>
                <a:cubicBezTo>
                  <a:pt x="23" y="3"/>
                  <a:pt x="22" y="2"/>
                  <a:pt x="22" y="2"/>
                </a:cubicBezTo>
                <a:cubicBezTo>
                  <a:pt x="22" y="3"/>
                  <a:pt x="21" y="4"/>
                  <a:pt x="21" y="4"/>
                </a:cubicBezTo>
                <a:cubicBezTo>
                  <a:pt x="17" y="3"/>
                  <a:pt x="17" y="3"/>
                  <a:pt x="17" y="3"/>
                </a:cubicBezTo>
                <a:cubicBezTo>
                  <a:pt x="17" y="3"/>
                  <a:pt x="16" y="2"/>
                  <a:pt x="15" y="2"/>
                </a:cubicBezTo>
                <a:cubicBezTo>
                  <a:pt x="14" y="2"/>
                  <a:pt x="13" y="3"/>
                  <a:pt x="13" y="3"/>
                </a:cubicBezTo>
                <a:cubicBezTo>
                  <a:pt x="13" y="5"/>
                  <a:pt x="13" y="5"/>
                  <a:pt x="13" y="5"/>
                </a:cubicBezTo>
                <a:cubicBezTo>
                  <a:pt x="13" y="6"/>
                  <a:pt x="13" y="7"/>
                  <a:pt x="13" y="7"/>
                </a:cubicBezTo>
                <a:cubicBezTo>
                  <a:pt x="12" y="8"/>
                  <a:pt x="12" y="8"/>
                  <a:pt x="12" y="10"/>
                </a:cubicBezTo>
                <a:cubicBezTo>
                  <a:pt x="12" y="11"/>
                  <a:pt x="10" y="13"/>
                  <a:pt x="10" y="14"/>
                </a:cubicBezTo>
                <a:cubicBezTo>
                  <a:pt x="10" y="15"/>
                  <a:pt x="8" y="16"/>
                  <a:pt x="8" y="17"/>
                </a:cubicBezTo>
                <a:cubicBezTo>
                  <a:pt x="8" y="17"/>
                  <a:pt x="8" y="19"/>
                  <a:pt x="8" y="20"/>
                </a:cubicBezTo>
                <a:cubicBezTo>
                  <a:pt x="8" y="22"/>
                  <a:pt x="7" y="21"/>
                  <a:pt x="7" y="22"/>
                </a:cubicBezTo>
                <a:cubicBezTo>
                  <a:pt x="7" y="23"/>
                  <a:pt x="7" y="23"/>
                  <a:pt x="6" y="23"/>
                </a:cubicBezTo>
                <a:cubicBezTo>
                  <a:pt x="5" y="24"/>
                  <a:pt x="5" y="24"/>
                  <a:pt x="5" y="23"/>
                </a:cubicBezTo>
                <a:cubicBezTo>
                  <a:pt x="5" y="23"/>
                  <a:pt x="4" y="23"/>
                  <a:pt x="3" y="23"/>
                </a:cubicBezTo>
                <a:cubicBezTo>
                  <a:pt x="3" y="24"/>
                  <a:pt x="2" y="23"/>
                  <a:pt x="2" y="23"/>
                </a:cubicBezTo>
                <a:cubicBezTo>
                  <a:pt x="2" y="23"/>
                  <a:pt x="1" y="24"/>
                  <a:pt x="0" y="24"/>
                </a:cubicBezTo>
                <a:cubicBezTo>
                  <a:pt x="0" y="25"/>
                  <a:pt x="0" y="26"/>
                  <a:pt x="1" y="27"/>
                </a:cubicBezTo>
                <a:cubicBezTo>
                  <a:pt x="1" y="27"/>
                  <a:pt x="1" y="27"/>
                  <a:pt x="1" y="27"/>
                </a:cubicBezTo>
                <a:cubicBezTo>
                  <a:pt x="1" y="27"/>
                  <a:pt x="2" y="26"/>
                  <a:pt x="2" y="26"/>
                </a:cubicBezTo>
                <a:cubicBezTo>
                  <a:pt x="3" y="26"/>
                  <a:pt x="9" y="26"/>
                  <a:pt x="9" y="26"/>
                </a:cubicBezTo>
                <a:cubicBezTo>
                  <a:pt x="9" y="26"/>
                  <a:pt x="10" y="27"/>
                  <a:pt x="9" y="28"/>
                </a:cubicBezTo>
                <a:cubicBezTo>
                  <a:pt x="9" y="29"/>
                  <a:pt x="10" y="29"/>
                  <a:pt x="10" y="30"/>
                </a:cubicBezTo>
                <a:cubicBezTo>
                  <a:pt x="11" y="31"/>
                  <a:pt x="11" y="31"/>
                  <a:pt x="12" y="31"/>
                </a:cubicBezTo>
                <a:cubicBezTo>
                  <a:pt x="13" y="31"/>
                  <a:pt x="14" y="31"/>
                  <a:pt x="15" y="31"/>
                </a:cubicBezTo>
                <a:cubicBezTo>
                  <a:pt x="15" y="31"/>
                  <a:pt x="15" y="29"/>
                  <a:pt x="16" y="29"/>
                </a:cubicBezTo>
                <a:cubicBezTo>
                  <a:pt x="16" y="28"/>
                  <a:pt x="17" y="29"/>
                  <a:pt x="17" y="29"/>
                </a:cubicBezTo>
                <a:cubicBezTo>
                  <a:pt x="17" y="29"/>
                  <a:pt x="17" y="29"/>
                  <a:pt x="18" y="29"/>
                </a:cubicBezTo>
                <a:cubicBezTo>
                  <a:pt x="19" y="29"/>
                  <a:pt x="20" y="29"/>
                  <a:pt x="20" y="30"/>
                </a:cubicBezTo>
                <a:cubicBezTo>
                  <a:pt x="20" y="30"/>
                  <a:pt x="20" y="31"/>
                  <a:pt x="20" y="31"/>
                </a:cubicBezTo>
                <a:cubicBezTo>
                  <a:pt x="21" y="32"/>
                  <a:pt x="19" y="34"/>
                  <a:pt x="20" y="34"/>
                </a:cubicBezTo>
                <a:cubicBezTo>
                  <a:pt x="20" y="35"/>
                  <a:pt x="21" y="36"/>
                  <a:pt x="21" y="36"/>
                </a:cubicBezTo>
                <a:cubicBezTo>
                  <a:pt x="21" y="37"/>
                  <a:pt x="21" y="38"/>
                  <a:pt x="21" y="38"/>
                </a:cubicBezTo>
                <a:cubicBezTo>
                  <a:pt x="21" y="38"/>
                  <a:pt x="22" y="37"/>
                  <a:pt x="22" y="37"/>
                </a:cubicBezTo>
                <a:cubicBezTo>
                  <a:pt x="23" y="37"/>
                  <a:pt x="24" y="37"/>
                  <a:pt x="24" y="37"/>
                </a:cubicBezTo>
                <a:cubicBezTo>
                  <a:pt x="24" y="37"/>
                  <a:pt x="25" y="37"/>
                  <a:pt x="25" y="37"/>
                </a:cubicBezTo>
                <a:cubicBezTo>
                  <a:pt x="25" y="37"/>
                  <a:pt x="25" y="38"/>
                  <a:pt x="25" y="38"/>
                </a:cubicBezTo>
                <a:cubicBezTo>
                  <a:pt x="25" y="38"/>
                  <a:pt x="26" y="38"/>
                  <a:pt x="26" y="38"/>
                </a:cubicBezTo>
                <a:cubicBezTo>
                  <a:pt x="26" y="38"/>
                  <a:pt x="27" y="38"/>
                  <a:pt x="27" y="38"/>
                </a:cubicBezTo>
                <a:cubicBezTo>
                  <a:pt x="27" y="39"/>
                  <a:pt x="28" y="39"/>
                  <a:pt x="28" y="39"/>
                </a:cubicBezTo>
                <a:cubicBezTo>
                  <a:pt x="28" y="39"/>
                  <a:pt x="29" y="40"/>
                  <a:pt x="30" y="40"/>
                </a:cubicBezTo>
                <a:cubicBezTo>
                  <a:pt x="30" y="40"/>
                  <a:pt x="31" y="40"/>
                  <a:pt x="31" y="40"/>
                </a:cubicBezTo>
                <a:cubicBezTo>
                  <a:pt x="31" y="39"/>
                  <a:pt x="31" y="39"/>
                  <a:pt x="32" y="39"/>
                </a:cubicBezTo>
                <a:cubicBezTo>
                  <a:pt x="32" y="40"/>
                  <a:pt x="32" y="40"/>
                  <a:pt x="33" y="40"/>
                </a:cubicBezTo>
                <a:cubicBezTo>
                  <a:pt x="33" y="40"/>
                  <a:pt x="35" y="40"/>
                  <a:pt x="35" y="41"/>
                </a:cubicBezTo>
                <a:cubicBezTo>
                  <a:pt x="35" y="41"/>
                  <a:pt x="35" y="42"/>
                  <a:pt x="35" y="43"/>
                </a:cubicBezTo>
                <a:cubicBezTo>
                  <a:pt x="36" y="43"/>
                  <a:pt x="37" y="43"/>
                  <a:pt x="37" y="43"/>
                </a:cubicBezTo>
                <a:cubicBezTo>
                  <a:pt x="37" y="43"/>
                  <a:pt x="37" y="42"/>
                  <a:pt x="37" y="42"/>
                </a:cubicBezTo>
                <a:cubicBezTo>
                  <a:pt x="37" y="41"/>
                  <a:pt x="37" y="40"/>
                  <a:pt x="37" y="40"/>
                </a:cubicBezTo>
                <a:cubicBezTo>
                  <a:pt x="37" y="40"/>
                  <a:pt x="36" y="41"/>
                  <a:pt x="36" y="41"/>
                </a:cubicBezTo>
                <a:cubicBezTo>
                  <a:pt x="35" y="40"/>
                  <a:pt x="34" y="39"/>
                  <a:pt x="34" y="39"/>
                </a:cubicBezTo>
                <a:cubicBezTo>
                  <a:pt x="34" y="39"/>
                  <a:pt x="35" y="37"/>
                  <a:pt x="35" y="37"/>
                </a:cubicBezTo>
                <a:cubicBezTo>
                  <a:pt x="35" y="36"/>
                  <a:pt x="35" y="35"/>
                  <a:pt x="35" y="34"/>
                </a:cubicBezTo>
                <a:cubicBezTo>
                  <a:pt x="34" y="34"/>
                  <a:pt x="35" y="34"/>
                  <a:pt x="35" y="33"/>
                </a:cubicBezTo>
                <a:cubicBezTo>
                  <a:pt x="35" y="33"/>
                  <a:pt x="35" y="32"/>
                  <a:pt x="36" y="32"/>
                </a:cubicBezTo>
                <a:cubicBezTo>
                  <a:pt x="36" y="32"/>
                  <a:pt x="38" y="32"/>
                  <a:pt x="38" y="31"/>
                </a:cubicBezTo>
                <a:cubicBezTo>
                  <a:pt x="38" y="31"/>
                  <a:pt x="38" y="31"/>
                  <a:pt x="38" y="31"/>
                </a:cubicBezTo>
                <a:cubicBezTo>
                  <a:pt x="38" y="31"/>
                  <a:pt x="38" y="31"/>
                  <a:pt x="38" y="31"/>
                </a:cubicBezTo>
                <a:cubicBezTo>
                  <a:pt x="38" y="30"/>
                  <a:pt x="37" y="29"/>
                  <a:pt x="3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91"/>
          <p:cNvSpPr>
            <a:spLocks/>
          </p:cNvSpPr>
          <p:nvPr/>
        </p:nvSpPr>
        <p:spPr bwMode="auto">
          <a:xfrm>
            <a:off x="2505403" y="3303973"/>
            <a:ext cx="14299" cy="25024"/>
          </a:xfrm>
          <a:custGeom>
            <a:avLst/>
            <a:gdLst>
              <a:gd name="T0" fmla="*/ 0 w 3"/>
              <a:gd name="T1" fmla="*/ 3 h 5"/>
              <a:gd name="T2" fmla="*/ 1 w 3"/>
              <a:gd name="T3" fmla="*/ 5 h 5"/>
              <a:gd name="T4" fmla="*/ 2 w 3"/>
              <a:gd name="T5" fmla="*/ 4 h 5"/>
              <a:gd name="T6" fmla="*/ 3 w 3"/>
              <a:gd name="T7" fmla="*/ 2 h 5"/>
              <a:gd name="T8" fmla="*/ 3 w 3"/>
              <a:gd name="T9" fmla="*/ 1 h 5"/>
              <a:gd name="T10" fmla="*/ 3 w 3"/>
              <a:gd name="T11" fmla="*/ 0 h 5"/>
              <a:gd name="T12" fmla="*/ 2 w 3"/>
              <a:gd name="T13" fmla="*/ 0 h 5"/>
              <a:gd name="T14" fmla="*/ 1 w 3"/>
              <a:gd name="T15" fmla="*/ 1 h 5"/>
              <a:gd name="T16" fmla="*/ 0 w 3"/>
              <a:gd name="T17" fmla="*/ 1 h 5"/>
              <a:gd name="T18" fmla="*/ 0 w 3"/>
              <a:gd name="T19" fmla="*/ 1 h 5"/>
              <a:gd name="T20" fmla="*/ 0 w 3"/>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3"/>
                </a:moveTo>
                <a:cubicBezTo>
                  <a:pt x="0" y="3"/>
                  <a:pt x="0" y="4"/>
                  <a:pt x="1" y="5"/>
                </a:cubicBezTo>
                <a:cubicBezTo>
                  <a:pt x="1" y="5"/>
                  <a:pt x="1" y="4"/>
                  <a:pt x="2" y="4"/>
                </a:cubicBezTo>
                <a:cubicBezTo>
                  <a:pt x="2" y="4"/>
                  <a:pt x="3" y="2"/>
                  <a:pt x="3" y="2"/>
                </a:cubicBezTo>
                <a:cubicBezTo>
                  <a:pt x="3" y="1"/>
                  <a:pt x="3" y="1"/>
                  <a:pt x="3" y="1"/>
                </a:cubicBezTo>
                <a:cubicBezTo>
                  <a:pt x="3" y="1"/>
                  <a:pt x="3" y="1"/>
                  <a:pt x="3" y="0"/>
                </a:cubicBezTo>
                <a:cubicBezTo>
                  <a:pt x="2" y="0"/>
                  <a:pt x="2" y="0"/>
                  <a:pt x="2" y="0"/>
                </a:cubicBezTo>
                <a:cubicBezTo>
                  <a:pt x="2" y="0"/>
                  <a:pt x="2" y="1"/>
                  <a:pt x="1" y="1"/>
                </a:cubicBezTo>
                <a:cubicBezTo>
                  <a:pt x="0" y="1"/>
                  <a:pt x="0" y="1"/>
                  <a:pt x="0" y="1"/>
                </a:cubicBezTo>
                <a:cubicBezTo>
                  <a:pt x="0" y="1"/>
                  <a:pt x="0" y="1"/>
                  <a:pt x="0" y="1"/>
                </a:cubicBezTo>
                <a:lnTo>
                  <a:pt x="0"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392"/>
          <p:cNvSpPr>
            <a:spLocks/>
          </p:cNvSpPr>
          <p:nvPr/>
        </p:nvSpPr>
        <p:spPr bwMode="auto">
          <a:xfrm>
            <a:off x="2516128" y="3389770"/>
            <a:ext cx="114395" cy="185892"/>
          </a:xfrm>
          <a:custGeom>
            <a:avLst/>
            <a:gdLst>
              <a:gd name="T0" fmla="*/ 23 w 24"/>
              <a:gd name="T1" fmla="*/ 10 h 38"/>
              <a:gd name="T2" fmla="*/ 23 w 24"/>
              <a:gd name="T3" fmla="*/ 6 h 38"/>
              <a:gd name="T4" fmla="*/ 23 w 24"/>
              <a:gd name="T5" fmla="*/ 1 h 38"/>
              <a:gd name="T6" fmla="*/ 23 w 24"/>
              <a:gd name="T7" fmla="*/ 0 h 38"/>
              <a:gd name="T8" fmla="*/ 20 w 24"/>
              <a:gd name="T9" fmla="*/ 2 h 38"/>
              <a:gd name="T10" fmla="*/ 19 w 24"/>
              <a:gd name="T11" fmla="*/ 2 h 38"/>
              <a:gd name="T12" fmla="*/ 17 w 24"/>
              <a:gd name="T13" fmla="*/ 2 h 38"/>
              <a:gd name="T14" fmla="*/ 17 w 24"/>
              <a:gd name="T15" fmla="*/ 3 h 38"/>
              <a:gd name="T16" fmla="*/ 15 w 24"/>
              <a:gd name="T17" fmla="*/ 3 h 38"/>
              <a:gd name="T18" fmla="*/ 14 w 24"/>
              <a:gd name="T19" fmla="*/ 3 h 38"/>
              <a:gd name="T20" fmla="*/ 13 w 24"/>
              <a:gd name="T21" fmla="*/ 3 h 38"/>
              <a:gd name="T22" fmla="*/ 12 w 24"/>
              <a:gd name="T23" fmla="*/ 3 h 38"/>
              <a:gd name="T24" fmla="*/ 10 w 24"/>
              <a:gd name="T25" fmla="*/ 3 h 38"/>
              <a:gd name="T26" fmla="*/ 10 w 24"/>
              <a:gd name="T27" fmla="*/ 4 h 38"/>
              <a:gd name="T28" fmla="*/ 11 w 24"/>
              <a:gd name="T29" fmla="*/ 8 h 38"/>
              <a:gd name="T30" fmla="*/ 12 w 24"/>
              <a:gd name="T31" fmla="*/ 10 h 38"/>
              <a:gd name="T32" fmla="*/ 12 w 24"/>
              <a:gd name="T33" fmla="*/ 12 h 38"/>
              <a:gd name="T34" fmla="*/ 11 w 24"/>
              <a:gd name="T35" fmla="*/ 13 h 38"/>
              <a:gd name="T36" fmla="*/ 11 w 24"/>
              <a:gd name="T37" fmla="*/ 15 h 38"/>
              <a:gd name="T38" fmla="*/ 9 w 24"/>
              <a:gd name="T39" fmla="*/ 13 h 38"/>
              <a:gd name="T40" fmla="*/ 9 w 24"/>
              <a:gd name="T41" fmla="*/ 10 h 38"/>
              <a:gd name="T42" fmla="*/ 8 w 24"/>
              <a:gd name="T43" fmla="*/ 9 h 38"/>
              <a:gd name="T44" fmla="*/ 6 w 24"/>
              <a:gd name="T45" fmla="*/ 8 h 38"/>
              <a:gd name="T46" fmla="*/ 0 w 24"/>
              <a:gd name="T47" fmla="*/ 11 h 38"/>
              <a:gd name="T48" fmla="*/ 1 w 24"/>
              <a:gd name="T49" fmla="*/ 12 h 38"/>
              <a:gd name="T50" fmla="*/ 0 w 24"/>
              <a:gd name="T51" fmla="*/ 12 h 38"/>
              <a:gd name="T52" fmla="*/ 1 w 24"/>
              <a:gd name="T53" fmla="*/ 13 h 38"/>
              <a:gd name="T54" fmla="*/ 4 w 24"/>
              <a:gd name="T55" fmla="*/ 14 h 38"/>
              <a:gd name="T56" fmla="*/ 6 w 24"/>
              <a:gd name="T57" fmla="*/ 14 h 38"/>
              <a:gd name="T58" fmla="*/ 6 w 24"/>
              <a:gd name="T59" fmla="*/ 18 h 38"/>
              <a:gd name="T60" fmla="*/ 6 w 24"/>
              <a:gd name="T61" fmla="*/ 20 h 38"/>
              <a:gd name="T62" fmla="*/ 6 w 24"/>
              <a:gd name="T63" fmla="*/ 22 h 38"/>
              <a:gd name="T64" fmla="*/ 5 w 24"/>
              <a:gd name="T65" fmla="*/ 23 h 38"/>
              <a:gd name="T66" fmla="*/ 5 w 24"/>
              <a:gd name="T67" fmla="*/ 25 h 38"/>
              <a:gd name="T68" fmla="*/ 2 w 24"/>
              <a:gd name="T69" fmla="*/ 28 h 38"/>
              <a:gd name="T70" fmla="*/ 2 w 24"/>
              <a:gd name="T71" fmla="*/ 28 h 38"/>
              <a:gd name="T72" fmla="*/ 4 w 24"/>
              <a:gd name="T73" fmla="*/ 32 h 38"/>
              <a:gd name="T74" fmla="*/ 4 w 24"/>
              <a:gd name="T75" fmla="*/ 36 h 38"/>
              <a:gd name="T76" fmla="*/ 4 w 24"/>
              <a:gd name="T77" fmla="*/ 38 h 38"/>
              <a:gd name="T78" fmla="*/ 6 w 24"/>
              <a:gd name="T79" fmla="*/ 38 h 38"/>
              <a:gd name="T80" fmla="*/ 6 w 24"/>
              <a:gd name="T81" fmla="*/ 37 h 38"/>
              <a:gd name="T82" fmla="*/ 5 w 24"/>
              <a:gd name="T83" fmla="*/ 36 h 38"/>
              <a:gd name="T84" fmla="*/ 9 w 24"/>
              <a:gd name="T85" fmla="*/ 34 h 38"/>
              <a:gd name="T86" fmla="*/ 11 w 24"/>
              <a:gd name="T87" fmla="*/ 32 h 38"/>
              <a:gd name="T88" fmla="*/ 12 w 24"/>
              <a:gd name="T89" fmla="*/ 29 h 38"/>
              <a:gd name="T90" fmla="*/ 11 w 24"/>
              <a:gd name="T91" fmla="*/ 26 h 38"/>
              <a:gd name="T92" fmla="*/ 10 w 24"/>
              <a:gd name="T93" fmla="*/ 23 h 38"/>
              <a:gd name="T94" fmla="*/ 10 w 24"/>
              <a:gd name="T95" fmla="*/ 22 h 38"/>
              <a:gd name="T96" fmla="*/ 11 w 24"/>
              <a:gd name="T97" fmla="*/ 20 h 38"/>
              <a:gd name="T98" fmla="*/ 13 w 24"/>
              <a:gd name="T99" fmla="*/ 19 h 38"/>
              <a:gd name="T100" fmla="*/ 16 w 24"/>
              <a:gd name="T101" fmla="*/ 17 h 38"/>
              <a:gd name="T102" fmla="*/ 20 w 24"/>
              <a:gd name="T103" fmla="*/ 15 h 38"/>
              <a:gd name="T104" fmla="*/ 23 w 24"/>
              <a:gd name="T10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 h="38">
                <a:moveTo>
                  <a:pt x="23" y="10"/>
                </a:moveTo>
                <a:cubicBezTo>
                  <a:pt x="23" y="10"/>
                  <a:pt x="23" y="7"/>
                  <a:pt x="23" y="6"/>
                </a:cubicBezTo>
                <a:cubicBezTo>
                  <a:pt x="23" y="5"/>
                  <a:pt x="23" y="2"/>
                  <a:pt x="23" y="1"/>
                </a:cubicBezTo>
                <a:cubicBezTo>
                  <a:pt x="23" y="1"/>
                  <a:pt x="23" y="1"/>
                  <a:pt x="23" y="0"/>
                </a:cubicBezTo>
                <a:cubicBezTo>
                  <a:pt x="22" y="1"/>
                  <a:pt x="20" y="2"/>
                  <a:pt x="20" y="2"/>
                </a:cubicBezTo>
                <a:cubicBezTo>
                  <a:pt x="20" y="2"/>
                  <a:pt x="19" y="2"/>
                  <a:pt x="19" y="2"/>
                </a:cubicBezTo>
                <a:cubicBezTo>
                  <a:pt x="18" y="3"/>
                  <a:pt x="18" y="2"/>
                  <a:pt x="17" y="2"/>
                </a:cubicBezTo>
                <a:cubicBezTo>
                  <a:pt x="17" y="2"/>
                  <a:pt x="17" y="3"/>
                  <a:pt x="17" y="3"/>
                </a:cubicBezTo>
                <a:cubicBezTo>
                  <a:pt x="17" y="3"/>
                  <a:pt x="16" y="3"/>
                  <a:pt x="15" y="3"/>
                </a:cubicBezTo>
                <a:cubicBezTo>
                  <a:pt x="15" y="3"/>
                  <a:pt x="14" y="3"/>
                  <a:pt x="14" y="3"/>
                </a:cubicBezTo>
                <a:cubicBezTo>
                  <a:pt x="13" y="3"/>
                  <a:pt x="13" y="3"/>
                  <a:pt x="13" y="3"/>
                </a:cubicBezTo>
                <a:cubicBezTo>
                  <a:pt x="12" y="2"/>
                  <a:pt x="12" y="3"/>
                  <a:pt x="12" y="3"/>
                </a:cubicBezTo>
                <a:cubicBezTo>
                  <a:pt x="11" y="3"/>
                  <a:pt x="11" y="3"/>
                  <a:pt x="10" y="3"/>
                </a:cubicBezTo>
                <a:cubicBezTo>
                  <a:pt x="10" y="3"/>
                  <a:pt x="10" y="3"/>
                  <a:pt x="10" y="4"/>
                </a:cubicBezTo>
                <a:cubicBezTo>
                  <a:pt x="10" y="5"/>
                  <a:pt x="11" y="7"/>
                  <a:pt x="11" y="8"/>
                </a:cubicBezTo>
                <a:cubicBezTo>
                  <a:pt x="12" y="9"/>
                  <a:pt x="12" y="9"/>
                  <a:pt x="12" y="10"/>
                </a:cubicBezTo>
                <a:cubicBezTo>
                  <a:pt x="13" y="10"/>
                  <a:pt x="12" y="10"/>
                  <a:pt x="12" y="12"/>
                </a:cubicBezTo>
                <a:cubicBezTo>
                  <a:pt x="13" y="13"/>
                  <a:pt x="12" y="13"/>
                  <a:pt x="11" y="13"/>
                </a:cubicBezTo>
                <a:cubicBezTo>
                  <a:pt x="11" y="14"/>
                  <a:pt x="11" y="15"/>
                  <a:pt x="11" y="15"/>
                </a:cubicBezTo>
                <a:cubicBezTo>
                  <a:pt x="11" y="16"/>
                  <a:pt x="9" y="13"/>
                  <a:pt x="9" y="13"/>
                </a:cubicBezTo>
                <a:cubicBezTo>
                  <a:pt x="9" y="12"/>
                  <a:pt x="10" y="11"/>
                  <a:pt x="9" y="10"/>
                </a:cubicBezTo>
                <a:cubicBezTo>
                  <a:pt x="9" y="9"/>
                  <a:pt x="8" y="9"/>
                  <a:pt x="8" y="9"/>
                </a:cubicBezTo>
                <a:cubicBezTo>
                  <a:pt x="7" y="9"/>
                  <a:pt x="6" y="8"/>
                  <a:pt x="6" y="8"/>
                </a:cubicBezTo>
                <a:cubicBezTo>
                  <a:pt x="6" y="8"/>
                  <a:pt x="0" y="11"/>
                  <a:pt x="0" y="11"/>
                </a:cubicBezTo>
                <a:cubicBezTo>
                  <a:pt x="1" y="12"/>
                  <a:pt x="1" y="12"/>
                  <a:pt x="1" y="12"/>
                </a:cubicBezTo>
                <a:cubicBezTo>
                  <a:pt x="0" y="12"/>
                  <a:pt x="0" y="12"/>
                  <a:pt x="0" y="12"/>
                </a:cubicBezTo>
                <a:cubicBezTo>
                  <a:pt x="1" y="13"/>
                  <a:pt x="1" y="13"/>
                  <a:pt x="1" y="13"/>
                </a:cubicBezTo>
                <a:cubicBezTo>
                  <a:pt x="1" y="13"/>
                  <a:pt x="3" y="13"/>
                  <a:pt x="4" y="14"/>
                </a:cubicBezTo>
                <a:cubicBezTo>
                  <a:pt x="4" y="14"/>
                  <a:pt x="6" y="14"/>
                  <a:pt x="6" y="14"/>
                </a:cubicBezTo>
                <a:cubicBezTo>
                  <a:pt x="6" y="15"/>
                  <a:pt x="6" y="17"/>
                  <a:pt x="6" y="18"/>
                </a:cubicBezTo>
                <a:cubicBezTo>
                  <a:pt x="6" y="19"/>
                  <a:pt x="5" y="19"/>
                  <a:pt x="6" y="20"/>
                </a:cubicBezTo>
                <a:cubicBezTo>
                  <a:pt x="6" y="20"/>
                  <a:pt x="6" y="21"/>
                  <a:pt x="6" y="22"/>
                </a:cubicBezTo>
                <a:cubicBezTo>
                  <a:pt x="7" y="22"/>
                  <a:pt x="6" y="23"/>
                  <a:pt x="5" y="23"/>
                </a:cubicBezTo>
                <a:cubicBezTo>
                  <a:pt x="5" y="24"/>
                  <a:pt x="5" y="25"/>
                  <a:pt x="5" y="25"/>
                </a:cubicBezTo>
                <a:cubicBezTo>
                  <a:pt x="4" y="26"/>
                  <a:pt x="3" y="27"/>
                  <a:pt x="2" y="28"/>
                </a:cubicBezTo>
                <a:cubicBezTo>
                  <a:pt x="2" y="28"/>
                  <a:pt x="2" y="28"/>
                  <a:pt x="2" y="28"/>
                </a:cubicBezTo>
                <a:cubicBezTo>
                  <a:pt x="3" y="28"/>
                  <a:pt x="3" y="31"/>
                  <a:pt x="4" y="32"/>
                </a:cubicBezTo>
                <a:cubicBezTo>
                  <a:pt x="4" y="32"/>
                  <a:pt x="4" y="36"/>
                  <a:pt x="4" y="36"/>
                </a:cubicBezTo>
                <a:cubicBezTo>
                  <a:pt x="4" y="36"/>
                  <a:pt x="4" y="38"/>
                  <a:pt x="4" y="38"/>
                </a:cubicBezTo>
                <a:cubicBezTo>
                  <a:pt x="4" y="38"/>
                  <a:pt x="5" y="38"/>
                  <a:pt x="6" y="38"/>
                </a:cubicBezTo>
                <a:cubicBezTo>
                  <a:pt x="6" y="38"/>
                  <a:pt x="6" y="37"/>
                  <a:pt x="6" y="37"/>
                </a:cubicBezTo>
                <a:cubicBezTo>
                  <a:pt x="6" y="36"/>
                  <a:pt x="5" y="37"/>
                  <a:pt x="5" y="36"/>
                </a:cubicBezTo>
                <a:cubicBezTo>
                  <a:pt x="5" y="36"/>
                  <a:pt x="7" y="34"/>
                  <a:pt x="9" y="34"/>
                </a:cubicBezTo>
                <a:cubicBezTo>
                  <a:pt x="10" y="33"/>
                  <a:pt x="11" y="33"/>
                  <a:pt x="11" y="32"/>
                </a:cubicBezTo>
                <a:cubicBezTo>
                  <a:pt x="12" y="31"/>
                  <a:pt x="11" y="30"/>
                  <a:pt x="12" y="29"/>
                </a:cubicBezTo>
                <a:cubicBezTo>
                  <a:pt x="12" y="28"/>
                  <a:pt x="11" y="28"/>
                  <a:pt x="11" y="26"/>
                </a:cubicBezTo>
                <a:cubicBezTo>
                  <a:pt x="11" y="24"/>
                  <a:pt x="10" y="24"/>
                  <a:pt x="10" y="23"/>
                </a:cubicBezTo>
                <a:cubicBezTo>
                  <a:pt x="10" y="22"/>
                  <a:pt x="10" y="22"/>
                  <a:pt x="10" y="22"/>
                </a:cubicBezTo>
                <a:cubicBezTo>
                  <a:pt x="11" y="22"/>
                  <a:pt x="11" y="21"/>
                  <a:pt x="11" y="20"/>
                </a:cubicBezTo>
                <a:cubicBezTo>
                  <a:pt x="12" y="19"/>
                  <a:pt x="12" y="20"/>
                  <a:pt x="13" y="19"/>
                </a:cubicBezTo>
                <a:cubicBezTo>
                  <a:pt x="14" y="19"/>
                  <a:pt x="14" y="18"/>
                  <a:pt x="16" y="17"/>
                </a:cubicBezTo>
                <a:cubicBezTo>
                  <a:pt x="17" y="16"/>
                  <a:pt x="19" y="16"/>
                  <a:pt x="20" y="15"/>
                </a:cubicBezTo>
                <a:cubicBezTo>
                  <a:pt x="21" y="14"/>
                  <a:pt x="24" y="11"/>
                  <a:pt x="23"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93"/>
          <p:cNvSpPr>
            <a:spLocks/>
          </p:cNvSpPr>
          <p:nvPr/>
        </p:nvSpPr>
        <p:spPr bwMode="auto">
          <a:xfrm>
            <a:off x="2508978" y="3289674"/>
            <a:ext cx="117970" cy="114395"/>
          </a:xfrm>
          <a:custGeom>
            <a:avLst/>
            <a:gdLst>
              <a:gd name="T0" fmla="*/ 22 w 24"/>
              <a:gd name="T1" fmla="*/ 19 h 24"/>
              <a:gd name="T2" fmla="*/ 21 w 24"/>
              <a:gd name="T3" fmla="*/ 17 h 24"/>
              <a:gd name="T4" fmla="*/ 21 w 24"/>
              <a:gd name="T5" fmla="*/ 15 h 24"/>
              <a:gd name="T6" fmla="*/ 21 w 24"/>
              <a:gd name="T7" fmla="*/ 14 h 24"/>
              <a:gd name="T8" fmla="*/ 20 w 24"/>
              <a:gd name="T9" fmla="*/ 12 h 24"/>
              <a:gd name="T10" fmla="*/ 21 w 24"/>
              <a:gd name="T11" fmla="*/ 9 h 24"/>
              <a:gd name="T12" fmla="*/ 18 w 24"/>
              <a:gd name="T13" fmla="*/ 6 h 24"/>
              <a:gd name="T14" fmla="*/ 18 w 24"/>
              <a:gd name="T15" fmla="*/ 5 h 24"/>
              <a:gd name="T16" fmla="*/ 9 w 24"/>
              <a:gd name="T17" fmla="*/ 0 h 24"/>
              <a:gd name="T18" fmla="*/ 8 w 24"/>
              <a:gd name="T19" fmla="*/ 2 h 24"/>
              <a:gd name="T20" fmla="*/ 8 w 24"/>
              <a:gd name="T21" fmla="*/ 4 h 24"/>
              <a:gd name="T22" fmla="*/ 5 w 24"/>
              <a:gd name="T23" fmla="*/ 3 h 24"/>
              <a:gd name="T24" fmla="*/ 5 w 24"/>
              <a:gd name="T25" fmla="*/ 0 h 24"/>
              <a:gd name="T26" fmla="*/ 3 w 24"/>
              <a:gd name="T27" fmla="*/ 0 h 24"/>
              <a:gd name="T28" fmla="*/ 2 w 24"/>
              <a:gd name="T29" fmla="*/ 0 h 24"/>
              <a:gd name="T30" fmla="*/ 2 w 24"/>
              <a:gd name="T31" fmla="*/ 1 h 24"/>
              <a:gd name="T32" fmla="*/ 3 w 24"/>
              <a:gd name="T33" fmla="*/ 3 h 24"/>
              <a:gd name="T34" fmla="*/ 2 w 24"/>
              <a:gd name="T35" fmla="*/ 3 h 24"/>
              <a:gd name="T36" fmla="*/ 2 w 24"/>
              <a:gd name="T37" fmla="*/ 4 h 24"/>
              <a:gd name="T38" fmla="*/ 2 w 24"/>
              <a:gd name="T39" fmla="*/ 5 h 24"/>
              <a:gd name="T40" fmla="*/ 1 w 24"/>
              <a:gd name="T41" fmla="*/ 7 h 24"/>
              <a:gd name="T42" fmla="*/ 0 w 24"/>
              <a:gd name="T43" fmla="*/ 8 h 24"/>
              <a:gd name="T44" fmla="*/ 1 w 24"/>
              <a:gd name="T45" fmla="*/ 12 h 24"/>
              <a:gd name="T46" fmla="*/ 2 w 24"/>
              <a:gd name="T47" fmla="*/ 15 h 24"/>
              <a:gd name="T48" fmla="*/ 3 w 24"/>
              <a:gd name="T49" fmla="*/ 17 h 24"/>
              <a:gd name="T50" fmla="*/ 1 w 24"/>
              <a:gd name="T51" fmla="*/ 16 h 24"/>
              <a:gd name="T52" fmla="*/ 1 w 24"/>
              <a:gd name="T53" fmla="*/ 16 h 24"/>
              <a:gd name="T54" fmla="*/ 1 w 24"/>
              <a:gd name="T55" fmla="*/ 16 h 24"/>
              <a:gd name="T56" fmla="*/ 3 w 24"/>
              <a:gd name="T57" fmla="*/ 17 h 24"/>
              <a:gd name="T58" fmla="*/ 5 w 24"/>
              <a:gd name="T59" fmla="*/ 18 h 24"/>
              <a:gd name="T60" fmla="*/ 8 w 24"/>
              <a:gd name="T61" fmla="*/ 19 h 24"/>
              <a:gd name="T62" fmla="*/ 8 w 24"/>
              <a:gd name="T63" fmla="*/ 19 h 24"/>
              <a:gd name="T64" fmla="*/ 9 w 24"/>
              <a:gd name="T65" fmla="*/ 19 h 24"/>
              <a:gd name="T66" fmla="*/ 10 w 24"/>
              <a:gd name="T67" fmla="*/ 19 h 24"/>
              <a:gd name="T68" fmla="*/ 11 w 24"/>
              <a:gd name="T69" fmla="*/ 24 h 24"/>
              <a:gd name="T70" fmla="*/ 13 w 24"/>
              <a:gd name="T71" fmla="*/ 24 h 24"/>
              <a:gd name="T72" fmla="*/ 14 w 24"/>
              <a:gd name="T73" fmla="*/ 24 h 24"/>
              <a:gd name="T74" fmla="*/ 15 w 24"/>
              <a:gd name="T75" fmla="*/ 24 h 24"/>
              <a:gd name="T76" fmla="*/ 16 w 24"/>
              <a:gd name="T77" fmla="*/ 24 h 24"/>
              <a:gd name="T78" fmla="*/ 18 w 24"/>
              <a:gd name="T79" fmla="*/ 24 h 24"/>
              <a:gd name="T80" fmla="*/ 18 w 24"/>
              <a:gd name="T81" fmla="*/ 23 h 24"/>
              <a:gd name="T82" fmla="*/ 20 w 24"/>
              <a:gd name="T83" fmla="*/ 23 h 24"/>
              <a:gd name="T84" fmla="*/ 21 w 24"/>
              <a:gd name="T85" fmla="*/ 23 h 24"/>
              <a:gd name="T86" fmla="*/ 24 w 24"/>
              <a:gd name="T87" fmla="*/ 21 h 24"/>
              <a:gd name="T88" fmla="*/ 22 w 24"/>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24">
                <a:moveTo>
                  <a:pt x="22" y="19"/>
                </a:moveTo>
                <a:cubicBezTo>
                  <a:pt x="22" y="18"/>
                  <a:pt x="21" y="18"/>
                  <a:pt x="21" y="17"/>
                </a:cubicBezTo>
                <a:cubicBezTo>
                  <a:pt x="21" y="16"/>
                  <a:pt x="21" y="15"/>
                  <a:pt x="21" y="15"/>
                </a:cubicBezTo>
                <a:cubicBezTo>
                  <a:pt x="21" y="15"/>
                  <a:pt x="21" y="15"/>
                  <a:pt x="21" y="14"/>
                </a:cubicBezTo>
                <a:cubicBezTo>
                  <a:pt x="22" y="13"/>
                  <a:pt x="21" y="13"/>
                  <a:pt x="20" y="12"/>
                </a:cubicBezTo>
                <a:cubicBezTo>
                  <a:pt x="20" y="11"/>
                  <a:pt x="21" y="10"/>
                  <a:pt x="21" y="9"/>
                </a:cubicBezTo>
                <a:cubicBezTo>
                  <a:pt x="19" y="7"/>
                  <a:pt x="18" y="6"/>
                  <a:pt x="18" y="6"/>
                </a:cubicBezTo>
                <a:cubicBezTo>
                  <a:pt x="18" y="5"/>
                  <a:pt x="18" y="5"/>
                  <a:pt x="18" y="5"/>
                </a:cubicBezTo>
                <a:cubicBezTo>
                  <a:pt x="9" y="0"/>
                  <a:pt x="9" y="0"/>
                  <a:pt x="9" y="0"/>
                </a:cubicBezTo>
                <a:cubicBezTo>
                  <a:pt x="9" y="1"/>
                  <a:pt x="9" y="2"/>
                  <a:pt x="8" y="2"/>
                </a:cubicBezTo>
                <a:cubicBezTo>
                  <a:pt x="8" y="2"/>
                  <a:pt x="9" y="3"/>
                  <a:pt x="8" y="4"/>
                </a:cubicBezTo>
                <a:cubicBezTo>
                  <a:pt x="8" y="4"/>
                  <a:pt x="6" y="3"/>
                  <a:pt x="5" y="3"/>
                </a:cubicBezTo>
                <a:cubicBezTo>
                  <a:pt x="4" y="4"/>
                  <a:pt x="4" y="2"/>
                  <a:pt x="5" y="0"/>
                </a:cubicBezTo>
                <a:cubicBezTo>
                  <a:pt x="3" y="0"/>
                  <a:pt x="3" y="0"/>
                  <a:pt x="3" y="0"/>
                </a:cubicBezTo>
                <a:cubicBezTo>
                  <a:pt x="3" y="0"/>
                  <a:pt x="2" y="0"/>
                  <a:pt x="2" y="0"/>
                </a:cubicBezTo>
                <a:cubicBezTo>
                  <a:pt x="2" y="1"/>
                  <a:pt x="2" y="1"/>
                  <a:pt x="2" y="1"/>
                </a:cubicBezTo>
                <a:cubicBezTo>
                  <a:pt x="2" y="1"/>
                  <a:pt x="3" y="2"/>
                  <a:pt x="3" y="3"/>
                </a:cubicBezTo>
                <a:cubicBezTo>
                  <a:pt x="3" y="3"/>
                  <a:pt x="2" y="3"/>
                  <a:pt x="2" y="3"/>
                </a:cubicBezTo>
                <a:cubicBezTo>
                  <a:pt x="2" y="4"/>
                  <a:pt x="2" y="4"/>
                  <a:pt x="2" y="4"/>
                </a:cubicBezTo>
                <a:cubicBezTo>
                  <a:pt x="2" y="5"/>
                  <a:pt x="2" y="5"/>
                  <a:pt x="2" y="5"/>
                </a:cubicBezTo>
                <a:cubicBezTo>
                  <a:pt x="2" y="5"/>
                  <a:pt x="1" y="7"/>
                  <a:pt x="1" y="7"/>
                </a:cubicBezTo>
                <a:cubicBezTo>
                  <a:pt x="0" y="7"/>
                  <a:pt x="0" y="8"/>
                  <a:pt x="0" y="8"/>
                </a:cubicBezTo>
                <a:cubicBezTo>
                  <a:pt x="0" y="10"/>
                  <a:pt x="0" y="12"/>
                  <a:pt x="1" y="12"/>
                </a:cubicBezTo>
                <a:cubicBezTo>
                  <a:pt x="2" y="13"/>
                  <a:pt x="2" y="14"/>
                  <a:pt x="2" y="15"/>
                </a:cubicBezTo>
                <a:cubicBezTo>
                  <a:pt x="2" y="16"/>
                  <a:pt x="3" y="16"/>
                  <a:pt x="3" y="17"/>
                </a:cubicBezTo>
                <a:cubicBezTo>
                  <a:pt x="2" y="17"/>
                  <a:pt x="2" y="16"/>
                  <a:pt x="1" y="16"/>
                </a:cubicBezTo>
                <a:cubicBezTo>
                  <a:pt x="1" y="16"/>
                  <a:pt x="1" y="16"/>
                  <a:pt x="1" y="16"/>
                </a:cubicBezTo>
                <a:cubicBezTo>
                  <a:pt x="1" y="16"/>
                  <a:pt x="1" y="16"/>
                  <a:pt x="1" y="16"/>
                </a:cubicBezTo>
                <a:cubicBezTo>
                  <a:pt x="2" y="17"/>
                  <a:pt x="3" y="17"/>
                  <a:pt x="3" y="17"/>
                </a:cubicBezTo>
                <a:cubicBezTo>
                  <a:pt x="3" y="17"/>
                  <a:pt x="4" y="18"/>
                  <a:pt x="5" y="18"/>
                </a:cubicBezTo>
                <a:cubicBezTo>
                  <a:pt x="5" y="18"/>
                  <a:pt x="7" y="19"/>
                  <a:pt x="8" y="19"/>
                </a:cubicBezTo>
                <a:cubicBezTo>
                  <a:pt x="8" y="19"/>
                  <a:pt x="8" y="19"/>
                  <a:pt x="8" y="19"/>
                </a:cubicBezTo>
                <a:cubicBezTo>
                  <a:pt x="8" y="19"/>
                  <a:pt x="9" y="19"/>
                  <a:pt x="9" y="19"/>
                </a:cubicBezTo>
                <a:cubicBezTo>
                  <a:pt x="9" y="19"/>
                  <a:pt x="10" y="19"/>
                  <a:pt x="10" y="19"/>
                </a:cubicBezTo>
                <a:cubicBezTo>
                  <a:pt x="10" y="19"/>
                  <a:pt x="11" y="22"/>
                  <a:pt x="11" y="24"/>
                </a:cubicBezTo>
                <a:cubicBezTo>
                  <a:pt x="12" y="24"/>
                  <a:pt x="12" y="24"/>
                  <a:pt x="13" y="24"/>
                </a:cubicBezTo>
                <a:cubicBezTo>
                  <a:pt x="13" y="24"/>
                  <a:pt x="13" y="23"/>
                  <a:pt x="14" y="24"/>
                </a:cubicBezTo>
                <a:cubicBezTo>
                  <a:pt x="14" y="24"/>
                  <a:pt x="14" y="24"/>
                  <a:pt x="15" y="24"/>
                </a:cubicBezTo>
                <a:cubicBezTo>
                  <a:pt x="15" y="24"/>
                  <a:pt x="16" y="24"/>
                  <a:pt x="16" y="24"/>
                </a:cubicBezTo>
                <a:cubicBezTo>
                  <a:pt x="17" y="24"/>
                  <a:pt x="18" y="24"/>
                  <a:pt x="18" y="24"/>
                </a:cubicBezTo>
                <a:cubicBezTo>
                  <a:pt x="18" y="24"/>
                  <a:pt x="18" y="23"/>
                  <a:pt x="18" y="23"/>
                </a:cubicBezTo>
                <a:cubicBezTo>
                  <a:pt x="19" y="23"/>
                  <a:pt x="19" y="24"/>
                  <a:pt x="20" y="23"/>
                </a:cubicBezTo>
                <a:cubicBezTo>
                  <a:pt x="20" y="23"/>
                  <a:pt x="21" y="23"/>
                  <a:pt x="21" y="23"/>
                </a:cubicBezTo>
                <a:cubicBezTo>
                  <a:pt x="21" y="23"/>
                  <a:pt x="23" y="22"/>
                  <a:pt x="24" y="21"/>
                </a:cubicBezTo>
                <a:cubicBezTo>
                  <a:pt x="24" y="20"/>
                  <a:pt x="22" y="21"/>
                  <a:pt x="22"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394"/>
          <p:cNvSpPr>
            <a:spLocks/>
          </p:cNvSpPr>
          <p:nvPr/>
        </p:nvSpPr>
        <p:spPr bwMode="auto">
          <a:xfrm>
            <a:off x="2544726" y="3382620"/>
            <a:ext cx="32174" cy="85796"/>
          </a:xfrm>
          <a:custGeom>
            <a:avLst/>
            <a:gdLst>
              <a:gd name="T0" fmla="*/ 6 w 7"/>
              <a:gd name="T1" fmla="*/ 12 h 18"/>
              <a:gd name="T2" fmla="*/ 5 w 7"/>
              <a:gd name="T3" fmla="*/ 10 h 18"/>
              <a:gd name="T4" fmla="*/ 5 w 7"/>
              <a:gd name="T5" fmla="*/ 11 h 18"/>
              <a:gd name="T6" fmla="*/ 3 w 7"/>
              <a:gd name="T7" fmla="*/ 7 h 18"/>
              <a:gd name="T8" fmla="*/ 3 w 7"/>
              <a:gd name="T9" fmla="*/ 3 h 18"/>
              <a:gd name="T10" fmla="*/ 2 w 7"/>
              <a:gd name="T11" fmla="*/ 0 h 18"/>
              <a:gd name="T12" fmla="*/ 1 w 7"/>
              <a:gd name="T13" fmla="*/ 0 h 18"/>
              <a:gd name="T14" fmla="*/ 2 w 7"/>
              <a:gd name="T15" fmla="*/ 3 h 18"/>
              <a:gd name="T16" fmla="*/ 1 w 7"/>
              <a:gd name="T17" fmla="*/ 3 h 18"/>
              <a:gd name="T18" fmla="*/ 1 w 7"/>
              <a:gd name="T19" fmla="*/ 7 h 18"/>
              <a:gd name="T20" fmla="*/ 0 w 7"/>
              <a:gd name="T21" fmla="*/ 7 h 18"/>
              <a:gd name="T22" fmla="*/ 0 w 7"/>
              <a:gd name="T23" fmla="*/ 9 h 18"/>
              <a:gd name="T24" fmla="*/ 0 w 7"/>
              <a:gd name="T25" fmla="*/ 10 h 18"/>
              <a:gd name="T26" fmla="*/ 0 w 7"/>
              <a:gd name="T27" fmla="*/ 10 h 18"/>
              <a:gd name="T28" fmla="*/ 2 w 7"/>
              <a:gd name="T29" fmla="*/ 11 h 18"/>
              <a:gd name="T30" fmla="*/ 3 w 7"/>
              <a:gd name="T31" fmla="*/ 12 h 18"/>
              <a:gd name="T32" fmla="*/ 3 w 7"/>
              <a:gd name="T33" fmla="*/ 15 h 18"/>
              <a:gd name="T34" fmla="*/ 5 w 7"/>
              <a:gd name="T35" fmla="*/ 17 h 18"/>
              <a:gd name="T36" fmla="*/ 5 w 7"/>
              <a:gd name="T37" fmla="*/ 15 h 18"/>
              <a:gd name="T38" fmla="*/ 6 w 7"/>
              <a:gd name="T39" fmla="*/ 14 h 18"/>
              <a:gd name="T40" fmla="*/ 6 w 7"/>
              <a:gd name="T4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8">
                <a:moveTo>
                  <a:pt x="6" y="12"/>
                </a:moveTo>
                <a:cubicBezTo>
                  <a:pt x="6" y="11"/>
                  <a:pt x="6" y="11"/>
                  <a:pt x="5" y="10"/>
                </a:cubicBezTo>
                <a:cubicBezTo>
                  <a:pt x="5" y="10"/>
                  <a:pt x="5" y="11"/>
                  <a:pt x="5" y="11"/>
                </a:cubicBezTo>
                <a:cubicBezTo>
                  <a:pt x="4" y="11"/>
                  <a:pt x="3" y="9"/>
                  <a:pt x="3" y="7"/>
                </a:cubicBezTo>
                <a:cubicBezTo>
                  <a:pt x="2" y="6"/>
                  <a:pt x="4" y="5"/>
                  <a:pt x="3" y="3"/>
                </a:cubicBezTo>
                <a:cubicBezTo>
                  <a:pt x="2" y="2"/>
                  <a:pt x="2" y="1"/>
                  <a:pt x="2" y="0"/>
                </a:cubicBezTo>
                <a:cubicBezTo>
                  <a:pt x="2" y="0"/>
                  <a:pt x="1" y="0"/>
                  <a:pt x="1" y="0"/>
                </a:cubicBezTo>
                <a:cubicBezTo>
                  <a:pt x="1" y="1"/>
                  <a:pt x="2" y="2"/>
                  <a:pt x="2" y="3"/>
                </a:cubicBezTo>
                <a:cubicBezTo>
                  <a:pt x="2" y="3"/>
                  <a:pt x="1" y="2"/>
                  <a:pt x="1" y="3"/>
                </a:cubicBezTo>
                <a:cubicBezTo>
                  <a:pt x="1" y="4"/>
                  <a:pt x="1" y="6"/>
                  <a:pt x="1" y="7"/>
                </a:cubicBezTo>
                <a:cubicBezTo>
                  <a:pt x="1" y="7"/>
                  <a:pt x="0" y="7"/>
                  <a:pt x="0" y="7"/>
                </a:cubicBezTo>
                <a:cubicBezTo>
                  <a:pt x="0" y="8"/>
                  <a:pt x="0" y="9"/>
                  <a:pt x="0" y="9"/>
                </a:cubicBezTo>
                <a:cubicBezTo>
                  <a:pt x="0" y="9"/>
                  <a:pt x="0" y="10"/>
                  <a:pt x="0" y="10"/>
                </a:cubicBezTo>
                <a:cubicBezTo>
                  <a:pt x="0" y="10"/>
                  <a:pt x="0" y="10"/>
                  <a:pt x="0" y="10"/>
                </a:cubicBezTo>
                <a:cubicBezTo>
                  <a:pt x="0" y="10"/>
                  <a:pt x="1" y="11"/>
                  <a:pt x="2" y="11"/>
                </a:cubicBezTo>
                <a:cubicBezTo>
                  <a:pt x="2" y="11"/>
                  <a:pt x="3" y="11"/>
                  <a:pt x="3" y="12"/>
                </a:cubicBezTo>
                <a:cubicBezTo>
                  <a:pt x="4" y="13"/>
                  <a:pt x="3" y="14"/>
                  <a:pt x="3" y="15"/>
                </a:cubicBezTo>
                <a:cubicBezTo>
                  <a:pt x="3" y="15"/>
                  <a:pt x="5" y="18"/>
                  <a:pt x="5" y="17"/>
                </a:cubicBezTo>
                <a:cubicBezTo>
                  <a:pt x="5" y="17"/>
                  <a:pt x="5" y="16"/>
                  <a:pt x="5" y="15"/>
                </a:cubicBezTo>
                <a:cubicBezTo>
                  <a:pt x="6" y="15"/>
                  <a:pt x="7" y="15"/>
                  <a:pt x="6" y="14"/>
                </a:cubicBezTo>
                <a:cubicBezTo>
                  <a:pt x="6" y="12"/>
                  <a:pt x="7" y="12"/>
                  <a:pt x="6"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395"/>
          <p:cNvSpPr>
            <a:spLocks/>
          </p:cNvSpPr>
          <p:nvPr/>
        </p:nvSpPr>
        <p:spPr bwMode="auto">
          <a:xfrm>
            <a:off x="2920085" y="2810644"/>
            <a:ext cx="82221" cy="60772"/>
          </a:xfrm>
          <a:custGeom>
            <a:avLst/>
            <a:gdLst>
              <a:gd name="T0" fmla="*/ 14 w 17"/>
              <a:gd name="T1" fmla="*/ 10 h 12"/>
              <a:gd name="T2" fmla="*/ 15 w 17"/>
              <a:gd name="T3" fmla="*/ 10 h 12"/>
              <a:gd name="T4" fmla="*/ 16 w 17"/>
              <a:gd name="T5" fmla="*/ 11 h 12"/>
              <a:gd name="T6" fmla="*/ 17 w 17"/>
              <a:gd name="T7" fmla="*/ 11 h 12"/>
              <a:gd name="T8" fmla="*/ 17 w 17"/>
              <a:gd name="T9" fmla="*/ 8 h 12"/>
              <a:gd name="T10" fmla="*/ 15 w 17"/>
              <a:gd name="T11" fmla="*/ 6 h 12"/>
              <a:gd name="T12" fmla="*/ 14 w 17"/>
              <a:gd name="T13" fmla="*/ 4 h 12"/>
              <a:gd name="T14" fmla="*/ 11 w 17"/>
              <a:gd name="T15" fmla="*/ 5 h 12"/>
              <a:gd name="T16" fmla="*/ 9 w 17"/>
              <a:gd name="T17" fmla="*/ 4 h 12"/>
              <a:gd name="T18" fmla="*/ 7 w 17"/>
              <a:gd name="T19" fmla="*/ 4 h 12"/>
              <a:gd name="T20" fmla="*/ 4 w 17"/>
              <a:gd name="T21" fmla="*/ 4 h 12"/>
              <a:gd name="T22" fmla="*/ 6 w 17"/>
              <a:gd name="T23" fmla="*/ 3 h 12"/>
              <a:gd name="T24" fmla="*/ 7 w 17"/>
              <a:gd name="T25" fmla="*/ 3 h 12"/>
              <a:gd name="T26" fmla="*/ 7 w 17"/>
              <a:gd name="T27" fmla="*/ 1 h 12"/>
              <a:gd name="T28" fmla="*/ 6 w 17"/>
              <a:gd name="T29" fmla="*/ 1 h 12"/>
              <a:gd name="T30" fmla="*/ 4 w 17"/>
              <a:gd name="T31" fmla="*/ 2 h 12"/>
              <a:gd name="T32" fmla="*/ 3 w 17"/>
              <a:gd name="T33" fmla="*/ 3 h 12"/>
              <a:gd name="T34" fmla="*/ 2 w 17"/>
              <a:gd name="T35" fmla="*/ 4 h 12"/>
              <a:gd name="T36" fmla="*/ 0 w 17"/>
              <a:gd name="T37" fmla="*/ 5 h 12"/>
              <a:gd name="T38" fmla="*/ 2 w 17"/>
              <a:gd name="T39" fmla="*/ 6 h 12"/>
              <a:gd name="T40" fmla="*/ 2 w 17"/>
              <a:gd name="T41" fmla="*/ 8 h 12"/>
              <a:gd name="T42" fmla="*/ 1 w 17"/>
              <a:gd name="T43" fmla="*/ 11 h 12"/>
              <a:gd name="T44" fmla="*/ 2 w 17"/>
              <a:gd name="T45" fmla="*/ 11 h 12"/>
              <a:gd name="T46" fmla="*/ 4 w 17"/>
              <a:gd name="T47" fmla="*/ 10 h 12"/>
              <a:gd name="T48" fmla="*/ 6 w 17"/>
              <a:gd name="T49" fmla="*/ 9 h 12"/>
              <a:gd name="T50" fmla="*/ 8 w 17"/>
              <a:gd name="T51" fmla="*/ 7 h 12"/>
              <a:gd name="T52" fmla="*/ 9 w 17"/>
              <a:gd name="T53" fmla="*/ 9 h 12"/>
              <a:gd name="T54" fmla="*/ 9 w 17"/>
              <a:gd name="T55" fmla="*/ 12 h 12"/>
              <a:gd name="T56" fmla="*/ 10 w 17"/>
              <a:gd name="T57" fmla="*/ 12 h 12"/>
              <a:gd name="T58" fmla="*/ 12 w 17"/>
              <a:gd name="T59" fmla="*/ 11 h 12"/>
              <a:gd name="T60" fmla="*/ 14 w 17"/>
              <a:gd name="T6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2">
                <a:moveTo>
                  <a:pt x="14" y="10"/>
                </a:moveTo>
                <a:cubicBezTo>
                  <a:pt x="15" y="10"/>
                  <a:pt x="14" y="10"/>
                  <a:pt x="15" y="10"/>
                </a:cubicBezTo>
                <a:cubicBezTo>
                  <a:pt x="15" y="10"/>
                  <a:pt x="16" y="10"/>
                  <a:pt x="16" y="11"/>
                </a:cubicBezTo>
                <a:cubicBezTo>
                  <a:pt x="17" y="11"/>
                  <a:pt x="17" y="11"/>
                  <a:pt x="17" y="11"/>
                </a:cubicBezTo>
                <a:cubicBezTo>
                  <a:pt x="17" y="11"/>
                  <a:pt x="17" y="8"/>
                  <a:pt x="17" y="8"/>
                </a:cubicBezTo>
                <a:cubicBezTo>
                  <a:pt x="17" y="7"/>
                  <a:pt x="15" y="6"/>
                  <a:pt x="15" y="6"/>
                </a:cubicBezTo>
                <a:cubicBezTo>
                  <a:pt x="14" y="4"/>
                  <a:pt x="14" y="4"/>
                  <a:pt x="14" y="4"/>
                </a:cubicBezTo>
                <a:cubicBezTo>
                  <a:pt x="14" y="4"/>
                  <a:pt x="12" y="5"/>
                  <a:pt x="11" y="5"/>
                </a:cubicBezTo>
                <a:cubicBezTo>
                  <a:pt x="11" y="4"/>
                  <a:pt x="10" y="5"/>
                  <a:pt x="9" y="4"/>
                </a:cubicBezTo>
                <a:cubicBezTo>
                  <a:pt x="9" y="4"/>
                  <a:pt x="8" y="5"/>
                  <a:pt x="7" y="4"/>
                </a:cubicBezTo>
                <a:cubicBezTo>
                  <a:pt x="7" y="4"/>
                  <a:pt x="4" y="4"/>
                  <a:pt x="4" y="4"/>
                </a:cubicBezTo>
                <a:cubicBezTo>
                  <a:pt x="4" y="3"/>
                  <a:pt x="5" y="3"/>
                  <a:pt x="6" y="3"/>
                </a:cubicBezTo>
                <a:cubicBezTo>
                  <a:pt x="6" y="3"/>
                  <a:pt x="6" y="3"/>
                  <a:pt x="7" y="3"/>
                </a:cubicBezTo>
                <a:cubicBezTo>
                  <a:pt x="7" y="2"/>
                  <a:pt x="8" y="1"/>
                  <a:pt x="7" y="1"/>
                </a:cubicBezTo>
                <a:cubicBezTo>
                  <a:pt x="7" y="0"/>
                  <a:pt x="6" y="1"/>
                  <a:pt x="6" y="1"/>
                </a:cubicBezTo>
                <a:cubicBezTo>
                  <a:pt x="5" y="2"/>
                  <a:pt x="4" y="1"/>
                  <a:pt x="4" y="2"/>
                </a:cubicBezTo>
                <a:cubicBezTo>
                  <a:pt x="4" y="2"/>
                  <a:pt x="4" y="3"/>
                  <a:pt x="3" y="3"/>
                </a:cubicBezTo>
                <a:cubicBezTo>
                  <a:pt x="3" y="3"/>
                  <a:pt x="3" y="4"/>
                  <a:pt x="2" y="4"/>
                </a:cubicBezTo>
                <a:cubicBezTo>
                  <a:pt x="2" y="4"/>
                  <a:pt x="0" y="4"/>
                  <a:pt x="0" y="5"/>
                </a:cubicBezTo>
                <a:cubicBezTo>
                  <a:pt x="0" y="5"/>
                  <a:pt x="2" y="6"/>
                  <a:pt x="2" y="6"/>
                </a:cubicBezTo>
                <a:cubicBezTo>
                  <a:pt x="2" y="7"/>
                  <a:pt x="3" y="8"/>
                  <a:pt x="2" y="8"/>
                </a:cubicBezTo>
                <a:cubicBezTo>
                  <a:pt x="1" y="9"/>
                  <a:pt x="1" y="9"/>
                  <a:pt x="1" y="11"/>
                </a:cubicBezTo>
                <a:cubicBezTo>
                  <a:pt x="1" y="11"/>
                  <a:pt x="2" y="11"/>
                  <a:pt x="2" y="11"/>
                </a:cubicBezTo>
                <a:cubicBezTo>
                  <a:pt x="2" y="10"/>
                  <a:pt x="4" y="11"/>
                  <a:pt x="4" y="10"/>
                </a:cubicBezTo>
                <a:cubicBezTo>
                  <a:pt x="4" y="10"/>
                  <a:pt x="6" y="10"/>
                  <a:pt x="6" y="9"/>
                </a:cubicBezTo>
                <a:cubicBezTo>
                  <a:pt x="6" y="9"/>
                  <a:pt x="8" y="7"/>
                  <a:pt x="8" y="7"/>
                </a:cubicBezTo>
                <a:cubicBezTo>
                  <a:pt x="9" y="7"/>
                  <a:pt x="8" y="9"/>
                  <a:pt x="9" y="9"/>
                </a:cubicBezTo>
                <a:cubicBezTo>
                  <a:pt x="10" y="10"/>
                  <a:pt x="9" y="11"/>
                  <a:pt x="9" y="12"/>
                </a:cubicBezTo>
                <a:cubicBezTo>
                  <a:pt x="10" y="12"/>
                  <a:pt x="10" y="12"/>
                  <a:pt x="10" y="12"/>
                </a:cubicBezTo>
                <a:cubicBezTo>
                  <a:pt x="11" y="12"/>
                  <a:pt x="11" y="11"/>
                  <a:pt x="12" y="11"/>
                </a:cubicBezTo>
                <a:cubicBezTo>
                  <a:pt x="12" y="11"/>
                  <a:pt x="14" y="10"/>
                  <a:pt x="14"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96"/>
          <p:cNvSpPr>
            <a:spLocks/>
          </p:cNvSpPr>
          <p:nvPr/>
        </p:nvSpPr>
        <p:spPr bwMode="auto">
          <a:xfrm>
            <a:off x="1357877" y="3000111"/>
            <a:ext cx="7150" cy="17874"/>
          </a:xfrm>
          <a:custGeom>
            <a:avLst/>
            <a:gdLst>
              <a:gd name="T0" fmla="*/ 2 w 2"/>
              <a:gd name="T1" fmla="*/ 4 h 4"/>
              <a:gd name="T2" fmla="*/ 1 w 2"/>
              <a:gd name="T3" fmla="*/ 3 h 4"/>
              <a:gd name="T4" fmla="*/ 0 w 2"/>
              <a:gd name="T5" fmla="*/ 2 h 4"/>
              <a:gd name="T6" fmla="*/ 1 w 2"/>
              <a:gd name="T7" fmla="*/ 1 h 4"/>
              <a:gd name="T8" fmla="*/ 1 w 2"/>
              <a:gd name="T9" fmla="*/ 3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cubicBezTo>
                  <a:pt x="2" y="4"/>
                  <a:pt x="1" y="4"/>
                  <a:pt x="1" y="3"/>
                </a:cubicBezTo>
                <a:cubicBezTo>
                  <a:pt x="1" y="3"/>
                  <a:pt x="0" y="3"/>
                  <a:pt x="0" y="2"/>
                </a:cubicBezTo>
                <a:cubicBezTo>
                  <a:pt x="0" y="1"/>
                  <a:pt x="1" y="0"/>
                  <a:pt x="1" y="1"/>
                </a:cubicBezTo>
                <a:cubicBezTo>
                  <a:pt x="2" y="2"/>
                  <a:pt x="1" y="2"/>
                  <a:pt x="1" y="3"/>
                </a:cubicBezTo>
                <a:cubicBezTo>
                  <a:pt x="1" y="3"/>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97"/>
          <p:cNvSpPr>
            <a:spLocks/>
          </p:cNvSpPr>
          <p:nvPr/>
        </p:nvSpPr>
        <p:spPr bwMode="auto">
          <a:xfrm>
            <a:off x="1536619" y="3164554"/>
            <a:ext cx="7150" cy="10725"/>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1" y="1"/>
                  <a:pt x="0" y="1"/>
                </a:cubicBezTo>
                <a:cubicBezTo>
                  <a:pt x="0" y="0"/>
                  <a:pt x="1" y="0"/>
                  <a:pt x="2" y="0"/>
                </a:cubicBezTo>
                <a:cubicBezTo>
                  <a:pt x="2" y="1"/>
                  <a:pt x="2" y="1"/>
                  <a:pt x="2" y="1"/>
                </a:cubicBezTo>
                <a:cubicBezTo>
                  <a:pt x="1" y="2"/>
                  <a:pt x="0" y="2"/>
                  <a:pt x="0"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398"/>
          <p:cNvSpPr>
            <a:spLocks/>
          </p:cNvSpPr>
          <p:nvPr/>
        </p:nvSpPr>
        <p:spPr bwMode="auto">
          <a:xfrm>
            <a:off x="2659122" y="2807070"/>
            <a:ext cx="32174" cy="35748"/>
          </a:xfrm>
          <a:custGeom>
            <a:avLst/>
            <a:gdLst>
              <a:gd name="T0" fmla="*/ 7 w 7"/>
              <a:gd name="T1" fmla="*/ 5 h 7"/>
              <a:gd name="T2" fmla="*/ 5 w 7"/>
              <a:gd name="T3" fmla="*/ 4 h 7"/>
              <a:gd name="T4" fmla="*/ 5 w 7"/>
              <a:gd name="T5" fmla="*/ 2 h 7"/>
              <a:gd name="T6" fmla="*/ 4 w 7"/>
              <a:gd name="T7" fmla="*/ 1 h 7"/>
              <a:gd name="T8" fmla="*/ 2 w 7"/>
              <a:gd name="T9" fmla="*/ 0 h 7"/>
              <a:gd name="T10" fmla="*/ 0 w 7"/>
              <a:gd name="T11" fmla="*/ 1 h 7"/>
              <a:gd name="T12" fmla="*/ 0 w 7"/>
              <a:gd name="T13" fmla="*/ 3 h 7"/>
              <a:gd name="T14" fmla="*/ 2 w 7"/>
              <a:gd name="T15" fmla="*/ 3 h 7"/>
              <a:gd name="T16" fmla="*/ 2 w 7"/>
              <a:gd name="T17" fmla="*/ 4 h 7"/>
              <a:gd name="T18" fmla="*/ 3 w 7"/>
              <a:gd name="T19" fmla="*/ 4 h 7"/>
              <a:gd name="T20" fmla="*/ 3 w 7"/>
              <a:gd name="T21" fmla="*/ 5 h 7"/>
              <a:gd name="T22" fmla="*/ 4 w 7"/>
              <a:gd name="T23" fmla="*/ 5 h 7"/>
              <a:gd name="T24" fmla="*/ 5 w 7"/>
              <a:gd name="T25" fmla="*/ 6 h 7"/>
              <a:gd name="T26" fmla="*/ 6 w 7"/>
              <a:gd name="T27" fmla="*/ 7 h 7"/>
              <a:gd name="T28" fmla="*/ 7 w 7"/>
              <a:gd name="T29" fmla="*/ 6 h 7"/>
              <a:gd name="T30" fmla="*/ 7 w 7"/>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5"/>
                </a:moveTo>
                <a:cubicBezTo>
                  <a:pt x="7" y="5"/>
                  <a:pt x="5" y="4"/>
                  <a:pt x="5" y="4"/>
                </a:cubicBezTo>
                <a:cubicBezTo>
                  <a:pt x="5" y="3"/>
                  <a:pt x="4" y="2"/>
                  <a:pt x="5" y="2"/>
                </a:cubicBezTo>
                <a:cubicBezTo>
                  <a:pt x="5" y="2"/>
                  <a:pt x="4" y="1"/>
                  <a:pt x="4" y="1"/>
                </a:cubicBezTo>
                <a:cubicBezTo>
                  <a:pt x="3" y="0"/>
                  <a:pt x="3" y="0"/>
                  <a:pt x="2" y="0"/>
                </a:cubicBezTo>
                <a:cubicBezTo>
                  <a:pt x="1" y="0"/>
                  <a:pt x="1" y="1"/>
                  <a:pt x="0" y="1"/>
                </a:cubicBezTo>
                <a:cubicBezTo>
                  <a:pt x="0" y="2"/>
                  <a:pt x="0" y="2"/>
                  <a:pt x="0" y="3"/>
                </a:cubicBezTo>
                <a:cubicBezTo>
                  <a:pt x="1" y="4"/>
                  <a:pt x="2" y="3"/>
                  <a:pt x="2" y="3"/>
                </a:cubicBezTo>
                <a:cubicBezTo>
                  <a:pt x="2" y="3"/>
                  <a:pt x="2" y="4"/>
                  <a:pt x="2" y="4"/>
                </a:cubicBezTo>
                <a:cubicBezTo>
                  <a:pt x="2" y="4"/>
                  <a:pt x="2" y="4"/>
                  <a:pt x="3" y="4"/>
                </a:cubicBezTo>
                <a:cubicBezTo>
                  <a:pt x="3" y="4"/>
                  <a:pt x="3" y="4"/>
                  <a:pt x="3" y="5"/>
                </a:cubicBezTo>
                <a:cubicBezTo>
                  <a:pt x="4" y="5"/>
                  <a:pt x="4" y="5"/>
                  <a:pt x="4" y="5"/>
                </a:cubicBezTo>
                <a:cubicBezTo>
                  <a:pt x="5" y="5"/>
                  <a:pt x="5" y="5"/>
                  <a:pt x="5" y="6"/>
                </a:cubicBezTo>
                <a:cubicBezTo>
                  <a:pt x="6" y="6"/>
                  <a:pt x="6" y="6"/>
                  <a:pt x="6" y="7"/>
                </a:cubicBezTo>
                <a:cubicBezTo>
                  <a:pt x="6" y="7"/>
                  <a:pt x="7" y="7"/>
                  <a:pt x="7" y="6"/>
                </a:cubicBezTo>
                <a:cubicBezTo>
                  <a:pt x="7" y="6"/>
                  <a:pt x="7" y="6"/>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399"/>
          <p:cNvSpPr>
            <a:spLocks noEditPoints="1"/>
          </p:cNvSpPr>
          <p:nvPr/>
        </p:nvSpPr>
        <p:spPr bwMode="auto">
          <a:xfrm>
            <a:off x="2673421" y="2803495"/>
            <a:ext cx="53623" cy="42898"/>
          </a:xfrm>
          <a:custGeom>
            <a:avLst/>
            <a:gdLst>
              <a:gd name="T0" fmla="*/ 11 w 11"/>
              <a:gd name="T1" fmla="*/ 3 h 9"/>
              <a:gd name="T2" fmla="*/ 9 w 11"/>
              <a:gd name="T3" fmla="*/ 0 h 9"/>
              <a:gd name="T4" fmla="*/ 7 w 11"/>
              <a:gd name="T5" fmla="*/ 1 h 9"/>
              <a:gd name="T6" fmla="*/ 6 w 11"/>
              <a:gd name="T7" fmla="*/ 1 h 9"/>
              <a:gd name="T8" fmla="*/ 4 w 11"/>
              <a:gd name="T9" fmla="*/ 0 h 9"/>
              <a:gd name="T10" fmla="*/ 4 w 11"/>
              <a:gd name="T11" fmla="*/ 0 h 9"/>
              <a:gd name="T12" fmla="*/ 3 w 11"/>
              <a:gd name="T13" fmla="*/ 1 h 9"/>
              <a:gd name="T14" fmla="*/ 4 w 11"/>
              <a:gd name="T15" fmla="*/ 2 h 9"/>
              <a:gd name="T16" fmla="*/ 2 w 11"/>
              <a:gd name="T17" fmla="*/ 2 h 9"/>
              <a:gd name="T18" fmla="*/ 1 w 11"/>
              <a:gd name="T19" fmla="*/ 1 h 9"/>
              <a:gd name="T20" fmla="*/ 2 w 11"/>
              <a:gd name="T21" fmla="*/ 3 h 9"/>
              <a:gd name="T22" fmla="*/ 2 w 11"/>
              <a:gd name="T23" fmla="*/ 5 h 9"/>
              <a:gd name="T24" fmla="*/ 4 w 11"/>
              <a:gd name="T25" fmla="*/ 6 h 9"/>
              <a:gd name="T26" fmla="*/ 4 w 11"/>
              <a:gd name="T27" fmla="*/ 7 h 9"/>
              <a:gd name="T28" fmla="*/ 7 w 11"/>
              <a:gd name="T29" fmla="*/ 6 h 9"/>
              <a:gd name="T30" fmla="*/ 7 w 11"/>
              <a:gd name="T31" fmla="*/ 8 h 9"/>
              <a:gd name="T32" fmla="*/ 9 w 11"/>
              <a:gd name="T33" fmla="*/ 9 h 9"/>
              <a:gd name="T34" fmla="*/ 9 w 11"/>
              <a:gd name="T35" fmla="*/ 8 h 9"/>
              <a:gd name="T36" fmla="*/ 11 w 11"/>
              <a:gd name="T37" fmla="*/ 3 h 9"/>
              <a:gd name="T38" fmla="*/ 1 w 11"/>
              <a:gd name="T39" fmla="*/ 6 h 9"/>
              <a:gd name="T40" fmla="*/ 0 w 11"/>
              <a:gd name="T41" fmla="*/ 6 h 9"/>
              <a:gd name="T42" fmla="*/ 1 w 11"/>
              <a:gd name="T43" fmla="*/ 7 h 9"/>
              <a:gd name="T44" fmla="*/ 2 w 11"/>
              <a:gd name="T45" fmla="*/ 8 h 9"/>
              <a:gd name="T46" fmla="*/ 3 w 11"/>
              <a:gd name="T47" fmla="*/ 8 h 9"/>
              <a:gd name="T48" fmla="*/ 2 w 11"/>
              <a:gd name="T49" fmla="*/ 7 h 9"/>
              <a:gd name="T50" fmla="*/ 1 w 11"/>
              <a:gd name="T5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9">
                <a:moveTo>
                  <a:pt x="11" y="3"/>
                </a:moveTo>
                <a:cubicBezTo>
                  <a:pt x="10" y="2"/>
                  <a:pt x="9" y="1"/>
                  <a:pt x="9" y="0"/>
                </a:cubicBezTo>
                <a:cubicBezTo>
                  <a:pt x="8" y="1"/>
                  <a:pt x="7" y="1"/>
                  <a:pt x="7" y="1"/>
                </a:cubicBezTo>
                <a:cubicBezTo>
                  <a:pt x="7" y="2"/>
                  <a:pt x="6" y="1"/>
                  <a:pt x="6" y="1"/>
                </a:cubicBezTo>
                <a:cubicBezTo>
                  <a:pt x="6" y="1"/>
                  <a:pt x="5" y="0"/>
                  <a:pt x="4" y="0"/>
                </a:cubicBezTo>
                <a:cubicBezTo>
                  <a:pt x="4" y="0"/>
                  <a:pt x="4" y="0"/>
                  <a:pt x="4" y="0"/>
                </a:cubicBezTo>
                <a:cubicBezTo>
                  <a:pt x="4" y="0"/>
                  <a:pt x="3" y="1"/>
                  <a:pt x="3" y="1"/>
                </a:cubicBezTo>
                <a:cubicBezTo>
                  <a:pt x="4" y="1"/>
                  <a:pt x="4" y="1"/>
                  <a:pt x="4" y="2"/>
                </a:cubicBezTo>
                <a:cubicBezTo>
                  <a:pt x="4" y="2"/>
                  <a:pt x="3" y="2"/>
                  <a:pt x="2" y="2"/>
                </a:cubicBezTo>
                <a:cubicBezTo>
                  <a:pt x="2" y="1"/>
                  <a:pt x="1" y="1"/>
                  <a:pt x="1" y="1"/>
                </a:cubicBezTo>
                <a:cubicBezTo>
                  <a:pt x="1" y="2"/>
                  <a:pt x="2" y="2"/>
                  <a:pt x="2" y="3"/>
                </a:cubicBezTo>
                <a:cubicBezTo>
                  <a:pt x="1" y="3"/>
                  <a:pt x="2" y="4"/>
                  <a:pt x="2" y="5"/>
                </a:cubicBezTo>
                <a:cubicBezTo>
                  <a:pt x="2" y="5"/>
                  <a:pt x="4" y="6"/>
                  <a:pt x="4" y="6"/>
                </a:cubicBezTo>
                <a:cubicBezTo>
                  <a:pt x="4" y="7"/>
                  <a:pt x="4" y="7"/>
                  <a:pt x="4" y="7"/>
                </a:cubicBezTo>
                <a:cubicBezTo>
                  <a:pt x="5" y="7"/>
                  <a:pt x="6" y="6"/>
                  <a:pt x="7" y="6"/>
                </a:cubicBezTo>
                <a:cubicBezTo>
                  <a:pt x="8" y="5"/>
                  <a:pt x="7" y="7"/>
                  <a:pt x="7" y="8"/>
                </a:cubicBezTo>
                <a:cubicBezTo>
                  <a:pt x="7" y="8"/>
                  <a:pt x="8" y="9"/>
                  <a:pt x="9" y="9"/>
                </a:cubicBezTo>
                <a:cubicBezTo>
                  <a:pt x="9" y="8"/>
                  <a:pt x="9" y="8"/>
                  <a:pt x="9" y="8"/>
                </a:cubicBezTo>
                <a:cubicBezTo>
                  <a:pt x="10" y="6"/>
                  <a:pt x="11" y="4"/>
                  <a:pt x="11" y="3"/>
                </a:cubicBezTo>
                <a:moveTo>
                  <a:pt x="1" y="6"/>
                </a:moveTo>
                <a:cubicBezTo>
                  <a:pt x="1" y="6"/>
                  <a:pt x="1" y="6"/>
                  <a:pt x="0" y="6"/>
                </a:cubicBezTo>
                <a:cubicBezTo>
                  <a:pt x="0" y="6"/>
                  <a:pt x="0" y="7"/>
                  <a:pt x="1" y="7"/>
                </a:cubicBezTo>
                <a:cubicBezTo>
                  <a:pt x="2" y="7"/>
                  <a:pt x="0" y="7"/>
                  <a:pt x="2" y="8"/>
                </a:cubicBezTo>
                <a:cubicBezTo>
                  <a:pt x="2" y="8"/>
                  <a:pt x="3" y="8"/>
                  <a:pt x="3" y="8"/>
                </a:cubicBezTo>
                <a:cubicBezTo>
                  <a:pt x="3" y="7"/>
                  <a:pt x="3" y="7"/>
                  <a:pt x="2" y="7"/>
                </a:cubicBezTo>
                <a:cubicBezTo>
                  <a:pt x="2" y="6"/>
                  <a:pt x="2" y="6"/>
                  <a:pt x="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400"/>
          <p:cNvSpPr>
            <a:spLocks/>
          </p:cNvSpPr>
          <p:nvPr/>
        </p:nvSpPr>
        <p:spPr bwMode="auto">
          <a:xfrm>
            <a:off x="2841439" y="2846393"/>
            <a:ext cx="153718" cy="110820"/>
          </a:xfrm>
          <a:custGeom>
            <a:avLst/>
            <a:gdLst>
              <a:gd name="T0" fmla="*/ 31 w 32"/>
              <a:gd name="T1" fmla="*/ 3 h 23"/>
              <a:gd name="T2" fmla="*/ 30 w 32"/>
              <a:gd name="T3" fmla="*/ 3 h 23"/>
              <a:gd name="T4" fmla="*/ 28 w 32"/>
              <a:gd name="T5" fmla="*/ 4 h 23"/>
              <a:gd name="T6" fmla="*/ 26 w 32"/>
              <a:gd name="T7" fmla="*/ 5 h 23"/>
              <a:gd name="T8" fmla="*/ 25 w 32"/>
              <a:gd name="T9" fmla="*/ 5 h 23"/>
              <a:gd name="T10" fmla="*/ 25 w 32"/>
              <a:gd name="T11" fmla="*/ 2 h 23"/>
              <a:gd name="T12" fmla="*/ 24 w 32"/>
              <a:gd name="T13" fmla="*/ 0 h 23"/>
              <a:gd name="T14" fmla="*/ 22 w 32"/>
              <a:gd name="T15" fmla="*/ 2 h 23"/>
              <a:gd name="T16" fmla="*/ 20 w 32"/>
              <a:gd name="T17" fmla="*/ 3 h 23"/>
              <a:gd name="T18" fmla="*/ 18 w 32"/>
              <a:gd name="T19" fmla="*/ 4 h 23"/>
              <a:gd name="T20" fmla="*/ 16 w 32"/>
              <a:gd name="T21" fmla="*/ 3 h 23"/>
              <a:gd name="T22" fmla="*/ 14 w 32"/>
              <a:gd name="T23" fmla="*/ 3 h 23"/>
              <a:gd name="T24" fmla="*/ 12 w 32"/>
              <a:gd name="T25" fmla="*/ 2 h 23"/>
              <a:gd name="T26" fmla="*/ 11 w 32"/>
              <a:gd name="T27" fmla="*/ 3 h 23"/>
              <a:gd name="T28" fmla="*/ 9 w 32"/>
              <a:gd name="T29" fmla="*/ 6 h 23"/>
              <a:gd name="T30" fmla="*/ 6 w 32"/>
              <a:gd name="T31" fmla="*/ 7 h 23"/>
              <a:gd name="T32" fmla="*/ 4 w 32"/>
              <a:gd name="T33" fmla="*/ 8 h 23"/>
              <a:gd name="T34" fmla="*/ 3 w 32"/>
              <a:gd name="T35" fmla="*/ 8 h 23"/>
              <a:gd name="T36" fmla="*/ 2 w 32"/>
              <a:gd name="T37" fmla="*/ 9 h 23"/>
              <a:gd name="T38" fmla="*/ 1 w 32"/>
              <a:gd name="T39" fmla="*/ 10 h 23"/>
              <a:gd name="T40" fmla="*/ 1 w 32"/>
              <a:gd name="T41" fmla="*/ 12 h 23"/>
              <a:gd name="T42" fmla="*/ 1 w 32"/>
              <a:gd name="T43" fmla="*/ 15 h 23"/>
              <a:gd name="T44" fmla="*/ 1 w 32"/>
              <a:gd name="T45" fmla="*/ 17 h 23"/>
              <a:gd name="T46" fmla="*/ 3 w 32"/>
              <a:gd name="T47" fmla="*/ 18 h 23"/>
              <a:gd name="T48" fmla="*/ 1 w 32"/>
              <a:gd name="T49" fmla="*/ 22 h 23"/>
              <a:gd name="T50" fmla="*/ 1 w 32"/>
              <a:gd name="T51" fmla="*/ 22 h 23"/>
              <a:gd name="T52" fmla="*/ 5 w 32"/>
              <a:gd name="T53" fmla="*/ 23 h 23"/>
              <a:gd name="T54" fmla="*/ 14 w 32"/>
              <a:gd name="T55" fmla="*/ 22 h 23"/>
              <a:gd name="T56" fmla="*/ 14 w 32"/>
              <a:gd name="T57" fmla="*/ 19 h 23"/>
              <a:gd name="T58" fmla="*/ 15 w 32"/>
              <a:gd name="T59" fmla="*/ 18 h 23"/>
              <a:gd name="T60" fmla="*/ 17 w 32"/>
              <a:gd name="T61" fmla="*/ 18 h 23"/>
              <a:gd name="T62" fmla="*/ 19 w 32"/>
              <a:gd name="T63" fmla="*/ 17 h 23"/>
              <a:gd name="T64" fmla="*/ 20 w 32"/>
              <a:gd name="T65" fmla="*/ 16 h 23"/>
              <a:gd name="T66" fmla="*/ 21 w 32"/>
              <a:gd name="T67" fmla="*/ 14 h 23"/>
              <a:gd name="T68" fmla="*/ 22 w 32"/>
              <a:gd name="T69" fmla="*/ 13 h 23"/>
              <a:gd name="T70" fmla="*/ 22 w 32"/>
              <a:gd name="T71" fmla="*/ 11 h 23"/>
              <a:gd name="T72" fmla="*/ 24 w 32"/>
              <a:gd name="T73" fmla="*/ 11 h 23"/>
              <a:gd name="T74" fmla="*/ 24 w 32"/>
              <a:gd name="T75" fmla="*/ 10 h 23"/>
              <a:gd name="T76" fmla="*/ 25 w 32"/>
              <a:gd name="T77" fmla="*/ 8 h 23"/>
              <a:gd name="T78" fmla="*/ 25 w 32"/>
              <a:gd name="T79" fmla="*/ 7 h 23"/>
              <a:gd name="T80" fmla="*/ 25 w 32"/>
              <a:gd name="T81" fmla="*/ 6 h 23"/>
              <a:gd name="T82" fmla="*/ 26 w 32"/>
              <a:gd name="T83" fmla="*/ 6 h 23"/>
              <a:gd name="T84" fmla="*/ 27 w 32"/>
              <a:gd name="T85" fmla="*/ 5 h 23"/>
              <a:gd name="T86" fmla="*/ 30 w 32"/>
              <a:gd name="T87" fmla="*/ 4 h 23"/>
              <a:gd name="T88" fmla="*/ 32 w 32"/>
              <a:gd name="T89" fmla="*/ 4 h 23"/>
              <a:gd name="T90" fmla="*/ 31 w 32"/>
              <a:gd name="T91"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23">
                <a:moveTo>
                  <a:pt x="31" y="3"/>
                </a:moveTo>
                <a:cubicBezTo>
                  <a:pt x="30" y="3"/>
                  <a:pt x="31" y="3"/>
                  <a:pt x="30" y="3"/>
                </a:cubicBezTo>
                <a:cubicBezTo>
                  <a:pt x="30" y="3"/>
                  <a:pt x="28" y="4"/>
                  <a:pt x="28" y="4"/>
                </a:cubicBezTo>
                <a:cubicBezTo>
                  <a:pt x="27" y="4"/>
                  <a:pt x="27" y="5"/>
                  <a:pt x="26" y="5"/>
                </a:cubicBezTo>
                <a:cubicBezTo>
                  <a:pt x="26" y="5"/>
                  <a:pt x="26" y="5"/>
                  <a:pt x="25" y="5"/>
                </a:cubicBezTo>
                <a:cubicBezTo>
                  <a:pt x="25" y="4"/>
                  <a:pt x="26" y="3"/>
                  <a:pt x="25" y="2"/>
                </a:cubicBezTo>
                <a:cubicBezTo>
                  <a:pt x="24" y="2"/>
                  <a:pt x="25" y="0"/>
                  <a:pt x="24" y="0"/>
                </a:cubicBezTo>
                <a:cubicBezTo>
                  <a:pt x="24" y="0"/>
                  <a:pt x="22" y="2"/>
                  <a:pt x="22" y="2"/>
                </a:cubicBezTo>
                <a:cubicBezTo>
                  <a:pt x="22" y="3"/>
                  <a:pt x="20" y="3"/>
                  <a:pt x="20" y="3"/>
                </a:cubicBezTo>
                <a:cubicBezTo>
                  <a:pt x="20" y="4"/>
                  <a:pt x="18" y="3"/>
                  <a:pt x="18" y="4"/>
                </a:cubicBezTo>
                <a:cubicBezTo>
                  <a:pt x="18" y="5"/>
                  <a:pt x="17" y="3"/>
                  <a:pt x="16" y="3"/>
                </a:cubicBezTo>
                <a:cubicBezTo>
                  <a:pt x="16" y="3"/>
                  <a:pt x="15" y="2"/>
                  <a:pt x="14" y="3"/>
                </a:cubicBezTo>
                <a:cubicBezTo>
                  <a:pt x="14" y="3"/>
                  <a:pt x="13" y="2"/>
                  <a:pt x="12" y="2"/>
                </a:cubicBezTo>
                <a:cubicBezTo>
                  <a:pt x="12" y="2"/>
                  <a:pt x="11" y="4"/>
                  <a:pt x="11" y="3"/>
                </a:cubicBezTo>
                <a:cubicBezTo>
                  <a:pt x="10" y="3"/>
                  <a:pt x="10" y="5"/>
                  <a:pt x="9" y="6"/>
                </a:cubicBezTo>
                <a:cubicBezTo>
                  <a:pt x="9" y="6"/>
                  <a:pt x="6" y="6"/>
                  <a:pt x="6" y="7"/>
                </a:cubicBezTo>
                <a:cubicBezTo>
                  <a:pt x="6" y="8"/>
                  <a:pt x="5" y="9"/>
                  <a:pt x="4" y="8"/>
                </a:cubicBezTo>
                <a:cubicBezTo>
                  <a:pt x="4" y="7"/>
                  <a:pt x="3" y="8"/>
                  <a:pt x="3" y="8"/>
                </a:cubicBezTo>
                <a:cubicBezTo>
                  <a:pt x="3" y="7"/>
                  <a:pt x="2" y="8"/>
                  <a:pt x="2" y="9"/>
                </a:cubicBezTo>
                <a:cubicBezTo>
                  <a:pt x="2" y="10"/>
                  <a:pt x="1" y="10"/>
                  <a:pt x="1" y="10"/>
                </a:cubicBezTo>
                <a:cubicBezTo>
                  <a:pt x="1" y="11"/>
                  <a:pt x="0" y="12"/>
                  <a:pt x="1" y="12"/>
                </a:cubicBezTo>
                <a:cubicBezTo>
                  <a:pt x="1" y="13"/>
                  <a:pt x="0" y="14"/>
                  <a:pt x="1" y="15"/>
                </a:cubicBezTo>
                <a:cubicBezTo>
                  <a:pt x="1" y="16"/>
                  <a:pt x="1" y="17"/>
                  <a:pt x="1" y="17"/>
                </a:cubicBezTo>
                <a:cubicBezTo>
                  <a:pt x="1" y="18"/>
                  <a:pt x="3" y="17"/>
                  <a:pt x="3" y="18"/>
                </a:cubicBezTo>
                <a:cubicBezTo>
                  <a:pt x="4" y="19"/>
                  <a:pt x="1" y="21"/>
                  <a:pt x="1" y="22"/>
                </a:cubicBezTo>
                <a:cubicBezTo>
                  <a:pt x="1" y="22"/>
                  <a:pt x="1" y="22"/>
                  <a:pt x="1" y="22"/>
                </a:cubicBezTo>
                <a:cubicBezTo>
                  <a:pt x="2" y="22"/>
                  <a:pt x="4" y="22"/>
                  <a:pt x="5" y="23"/>
                </a:cubicBezTo>
                <a:cubicBezTo>
                  <a:pt x="6" y="23"/>
                  <a:pt x="14" y="22"/>
                  <a:pt x="14" y="22"/>
                </a:cubicBezTo>
                <a:cubicBezTo>
                  <a:pt x="14" y="21"/>
                  <a:pt x="13" y="20"/>
                  <a:pt x="14" y="19"/>
                </a:cubicBezTo>
                <a:cubicBezTo>
                  <a:pt x="14" y="19"/>
                  <a:pt x="14" y="18"/>
                  <a:pt x="15" y="18"/>
                </a:cubicBezTo>
                <a:cubicBezTo>
                  <a:pt x="16" y="18"/>
                  <a:pt x="17" y="18"/>
                  <a:pt x="17" y="18"/>
                </a:cubicBezTo>
                <a:cubicBezTo>
                  <a:pt x="17" y="17"/>
                  <a:pt x="19" y="17"/>
                  <a:pt x="19" y="17"/>
                </a:cubicBezTo>
                <a:cubicBezTo>
                  <a:pt x="19" y="18"/>
                  <a:pt x="20" y="17"/>
                  <a:pt x="20" y="16"/>
                </a:cubicBezTo>
                <a:cubicBezTo>
                  <a:pt x="20" y="15"/>
                  <a:pt x="20" y="14"/>
                  <a:pt x="21" y="14"/>
                </a:cubicBezTo>
                <a:cubicBezTo>
                  <a:pt x="22" y="14"/>
                  <a:pt x="22" y="13"/>
                  <a:pt x="22" y="13"/>
                </a:cubicBezTo>
                <a:cubicBezTo>
                  <a:pt x="22" y="12"/>
                  <a:pt x="21" y="12"/>
                  <a:pt x="22" y="11"/>
                </a:cubicBezTo>
                <a:cubicBezTo>
                  <a:pt x="22" y="11"/>
                  <a:pt x="24" y="12"/>
                  <a:pt x="24" y="11"/>
                </a:cubicBezTo>
                <a:cubicBezTo>
                  <a:pt x="24" y="11"/>
                  <a:pt x="24" y="10"/>
                  <a:pt x="24" y="10"/>
                </a:cubicBezTo>
                <a:cubicBezTo>
                  <a:pt x="25" y="9"/>
                  <a:pt x="25" y="9"/>
                  <a:pt x="25" y="8"/>
                </a:cubicBezTo>
                <a:cubicBezTo>
                  <a:pt x="25" y="8"/>
                  <a:pt x="25" y="7"/>
                  <a:pt x="25" y="7"/>
                </a:cubicBezTo>
                <a:cubicBezTo>
                  <a:pt x="25" y="6"/>
                  <a:pt x="25" y="6"/>
                  <a:pt x="25" y="6"/>
                </a:cubicBezTo>
                <a:cubicBezTo>
                  <a:pt x="25" y="6"/>
                  <a:pt x="26" y="6"/>
                  <a:pt x="26" y="6"/>
                </a:cubicBezTo>
                <a:cubicBezTo>
                  <a:pt x="26" y="5"/>
                  <a:pt x="27" y="5"/>
                  <a:pt x="27" y="5"/>
                </a:cubicBezTo>
                <a:cubicBezTo>
                  <a:pt x="28" y="5"/>
                  <a:pt x="29" y="4"/>
                  <a:pt x="30" y="4"/>
                </a:cubicBezTo>
                <a:cubicBezTo>
                  <a:pt x="30" y="4"/>
                  <a:pt x="31" y="4"/>
                  <a:pt x="32" y="4"/>
                </a:cubicBezTo>
                <a:cubicBezTo>
                  <a:pt x="32" y="3"/>
                  <a:pt x="31" y="3"/>
                  <a:pt x="3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401"/>
          <p:cNvSpPr>
            <a:spLocks/>
          </p:cNvSpPr>
          <p:nvPr/>
        </p:nvSpPr>
        <p:spPr bwMode="auto">
          <a:xfrm>
            <a:off x="2848589" y="2864267"/>
            <a:ext cx="178742" cy="160868"/>
          </a:xfrm>
          <a:custGeom>
            <a:avLst/>
            <a:gdLst>
              <a:gd name="T0" fmla="*/ 34 w 37"/>
              <a:gd name="T1" fmla="*/ 1 h 33"/>
              <a:gd name="T2" fmla="*/ 31 w 37"/>
              <a:gd name="T3" fmla="*/ 0 h 33"/>
              <a:gd name="T4" fmla="*/ 29 w 37"/>
              <a:gd name="T5" fmla="*/ 0 h 33"/>
              <a:gd name="T6" fmla="*/ 25 w 37"/>
              <a:gd name="T7" fmla="*/ 2 h 33"/>
              <a:gd name="T8" fmla="*/ 24 w 37"/>
              <a:gd name="T9" fmla="*/ 3 h 33"/>
              <a:gd name="T10" fmla="*/ 23 w 37"/>
              <a:gd name="T11" fmla="*/ 6 h 33"/>
              <a:gd name="T12" fmla="*/ 21 w 37"/>
              <a:gd name="T13" fmla="*/ 7 h 33"/>
              <a:gd name="T14" fmla="*/ 20 w 37"/>
              <a:gd name="T15" fmla="*/ 10 h 33"/>
              <a:gd name="T16" fmla="*/ 18 w 37"/>
              <a:gd name="T17" fmla="*/ 13 h 33"/>
              <a:gd name="T18" fmla="*/ 14 w 37"/>
              <a:gd name="T19" fmla="*/ 14 h 33"/>
              <a:gd name="T20" fmla="*/ 13 w 37"/>
              <a:gd name="T21" fmla="*/ 18 h 33"/>
              <a:gd name="T22" fmla="*/ 0 w 37"/>
              <a:gd name="T23" fmla="*/ 18 h 33"/>
              <a:gd name="T24" fmla="*/ 4 w 37"/>
              <a:gd name="T25" fmla="*/ 21 h 33"/>
              <a:gd name="T26" fmla="*/ 5 w 37"/>
              <a:gd name="T27" fmla="*/ 25 h 33"/>
              <a:gd name="T28" fmla="*/ 2 w 37"/>
              <a:gd name="T29" fmla="*/ 28 h 33"/>
              <a:gd name="T30" fmla="*/ 6 w 37"/>
              <a:gd name="T31" fmla="*/ 29 h 33"/>
              <a:gd name="T32" fmla="*/ 11 w 37"/>
              <a:gd name="T33" fmla="*/ 28 h 33"/>
              <a:gd name="T34" fmla="*/ 14 w 37"/>
              <a:gd name="T35" fmla="*/ 30 h 33"/>
              <a:gd name="T36" fmla="*/ 16 w 37"/>
              <a:gd name="T37" fmla="*/ 32 h 33"/>
              <a:gd name="T38" fmla="*/ 17 w 37"/>
              <a:gd name="T39" fmla="*/ 32 h 33"/>
              <a:gd name="T40" fmla="*/ 21 w 37"/>
              <a:gd name="T41" fmla="*/ 31 h 33"/>
              <a:gd name="T42" fmla="*/ 22 w 37"/>
              <a:gd name="T43" fmla="*/ 29 h 33"/>
              <a:gd name="T44" fmla="*/ 20 w 37"/>
              <a:gd name="T45" fmla="*/ 25 h 33"/>
              <a:gd name="T46" fmla="*/ 23 w 37"/>
              <a:gd name="T47" fmla="*/ 23 h 33"/>
              <a:gd name="T48" fmla="*/ 26 w 37"/>
              <a:gd name="T49" fmla="*/ 21 h 33"/>
              <a:gd name="T50" fmla="*/ 28 w 37"/>
              <a:gd name="T51" fmla="*/ 18 h 33"/>
              <a:gd name="T52" fmla="*/ 31 w 37"/>
              <a:gd name="T53" fmla="*/ 15 h 33"/>
              <a:gd name="T54" fmla="*/ 32 w 37"/>
              <a:gd name="T55" fmla="*/ 12 h 33"/>
              <a:gd name="T56" fmla="*/ 30 w 37"/>
              <a:gd name="T57" fmla="*/ 9 h 33"/>
              <a:gd name="T58" fmla="*/ 31 w 37"/>
              <a:gd name="T59" fmla="*/ 6 h 33"/>
              <a:gd name="T60" fmla="*/ 36 w 37"/>
              <a:gd name="T61" fmla="*/ 5 h 33"/>
              <a:gd name="T62" fmla="*/ 35 w 37"/>
              <a:gd name="T6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5" y="3"/>
                </a:moveTo>
                <a:cubicBezTo>
                  <a:pt x="34" y="3"/>
                  <a:pt x="34" y="2"/>
                  <a:pt x="34" y="1"/>
                </a:cubicBezTo>
                <a:cubicBezTo>
                  <a:pt x="34" y="1"/>
                  <a:pt x="33" y="0"/>
                  <a:pt x="32" y="0"/>
                </a:cubicBezTo>
                <a:cubicBezTo>
                  <a:pt x="32" y="0"/>
                  <a:pt x="32" y="0"/>
                  <a:pt x="31" y="0"/>
                </a:cubicBezTo>
                <a:cubicBezTo>
                  <a:pt x="31" y="0"/>
                  <a:pt x="31" y="0"/>
                  <a:pt x="31" y="0"/>
                </a:cubicBezTo>
                <a:cubicBezTo>
                  <a:pt x="30" y="0"/>
                  <a:pt x="29" y="0"/>
                  <a:pt x="29" y="0"/>
                </a:cubicBezTo>
                <a:cubicBezTo>
                  <a:pt x="28" y="0"/>
                  <a:pt x="27" y="1"/>
                  <a:pt x="26" y="1"/>
                </a:cubicBezTo>
                <a:cubicBezTo>
                  <a:pt x="26" y="1"/>
                  <a:pt x="25" y="1"/>
                  <a:pt x="25" y="2"/>
                </a:cubicBezTo>
                <a:cubicBezTo>
                  <a:pt x="25" y="2"/>
                  <a:pt x="24" y="2"/>
                  <a:pt x="24" y="2"/>
                </a:cubicBezTo>
                <a:cubicBezTo>
                  <a:pt x="24" y="2"/>
                  <a:pt x="24" y="2"/>
                  <a:pt x="24" y="3"/>
                </a:cubicBezTo>
                <a:cubicBezTo>
                  <a:pt x="24" y="3"/>
                  <a:pt x="24" y="4"/>
                  <a:pt x="24" y="4"/>
                </a:cubicBezTo>
                <a:cubicBezTo>
                  <a:pt x="24" y="5"/>
                  <a:pt x="24" y="5"/>
                  <a:pt x="23" y="6"/>
                </a:cubicBezTo>
                <a:cubicBezTo>
                  <a:pt x="23" y="6"/>
                  <a:pt x="23" y="7"/>
                  <a:pt x="23" y="7"/>
                </a:cubicBezTo>
                <a:cubicBezTo>
                  <a:pt x="23" y="8"/>
                  <a:pt x="21" y="7"/>
                  <a:pt x="21" y="7"/>
                </a:cubicBezTo>
                <a:cubicBezTo>
                  <a:pt x="20" y="8"/>
                  <a:pt x="21" y="8"/>
                  <a:pt x="21" y="9"/>
                </a:cubicBezTo>
                <a:cubicBezTo>
                  <a:pt x="21" y="9"/>
                  <a:pt x="21" y="10"/>
                  <a:pt x="20" y="10"/>
                </a:cubicBezTo>
                <a:cubicBezTo>
                  <a:pt x="19" y="10"/>
                  <a:pt x="19" y="11"/>
                  <a:pt x="19" y="12"/>
                </a:cubicBezTo>
                <a:cubicBezTo>
                  <a:pt x="19" y="13"/>
                  <a:pt x="18" y="14"/>
                  <a:pt x="18" y="13"/>
                </a:cubicBezTo>
                <a:cubicBezTo>
                  <a:pt x="18" y="13"/>
                  <a:pt x="16" y="13"/>
                  <a:pt x="16" y="14"/>
                </a:cubicBezTo>
                <a:cubicBezTo>
                  <a:pt x="16" y="14"/>
                  <a:pt x="15" y="14"/>
                  <a:pt x="14" y="14"/>
                </a:cubicBezTo>
                <a:cubicBezTo>
                  <a:pt x="13" y="14"/>
                  <a:pt x="13" y="15"/>
                  <a:pt x="13" y="15"/>
                </a:cubicBezTo>
                <a:cubicBezTo>
                  <a:pt x="12" y="16"/>
                  <a:pt x="13" y="17"/>
                  <a:pt x="13" y="18"/>
                </a:cubicBezTo>
                <a:cubicBezTo>
                  <a:pt x="13" y="18"/>
                  <a:pt x="5" y="19"/>
                  <a:pt x="4" y="19"/>
                </a:cubicBezTo>
                <a:cubicBezTo>
                  <a:pt x="3" y="18"/>
                  <a:pt x="1" y="18"/>
                  <a:pt x="0" y="18"/>
                </a:cubicBezTo>
                <a:cubicBezTo>
                  <a:pt x="1" y="19"/>
                  <a:pt x="1" y="19"/>
                  <a:pt x="1" y="19"/>
                </a:cubicBezTo>
                <a:cubicBezTo>
                  <a:pt x="2" y="20"/>
                  <a:pt x="3" y="21"/>
                  <a:pt x="4" y="21"/>
                </a:cubicBezTo>
                <a:cubicBezTo>
                  <a:pt x="5" y="22"/>
                  <a:pt x="4" y="24"/>
                  <a:pt x="5" y="24"/>
                </a:cubicBezTo>
                <a:cubicBezTo>
                  <a:pt x="5" y="24"/>
                  <a:pt x="6" y="25"/>
                  <a:pt x="5" y="25"/>
                </a:cubicBezTo>
                <a:cubicBezTo>
                  <a:pt x="5" y="26"/>
                  <a:pt x="4" y="26"/>
                  <a:pt x="3" y="26"/>
                </a:cubicBezTo>
                <a:cubicBezTo>
                  <a:pt x="3" y="26"/>
                  <a:pt x="2" y="27"/>
                  <a:pt x="2" y="28"/>
                </a:cubicBezTo>
                <a:cubicBezTo>
                  <a:pt x="2" y="29"/>
                  <a:pt x="2" y="29"/>
                  <a:pt x="2" y="29"/>
                </a:cubicBezTo>
                <a:cubicBezTo>
                  <a:pt x="4" y="29"/>
                  <a:pt x="6" y="29"/>
                  <a:pt x="6" y="29"/>
                </a:cubicBezTo>
                <a:cubicBezTo>
                  <a:pt x="6" y="28"/>
                  <a:pt x="7" y="28"/>
                  <a:pt x="8" y="28"/>
                </a:cubicBezTo>
                <a:cubicBezTo>
                  <a:pt x="8" y="29"/>
                  <a:pt x="10" y="29"/>
                  <a:pt x="11" y="28"/>
                </a:cubicBezTo>
                <a:cubicBezTo>
                  <a:pt x="12" y="28"/>
                  <a:pt x="13" y="28"/>
                  <a:pt x="13" y="29"/>
                </a:cubicBezTo>
                <a:cubicBezTo>
                  <a:pt x="13" y="29"/>
                  <a:pt x="14" y="30"/>
                  <a:pt x="14" y="30"/>
                </a:cubicBezTo>
                <a:cubicBezTo>
                  <a:pt x="15" y="31"/>
                  <a:pt x="14" y="31"/>
                  <a:pt x="15" y="32"/>
                </a:cubicBezTo>
                <a:cubicBezTo>
                  <a:pt x="15" y="32"/>
                  <a:pt x="16" y="32"/>
                  <a:pt x="16" y="32"/>
                </a:cubicBezTo>
                <a:cubicBezTo>
                  <a:pt x="17" y="32"/>
                  <a:pt x="17" y="33"/>
                  <a:pt x="17" y="33"/>
                </a:cubicBezTo>
                <a:cubicBezTo>
                  <a:pt x="17" y="33"/>
                  <a:pt x="17" y="33"/>
                  <a:pt x="17" y="32"/>
                </a:cubicBezTo>
                <a:cubicBezTo>
                  <a:pt x="18" y="32"/>
                  <a:pt x="18" y="31"/>
                  <a:pt x="19" y="31"/>
                </a:cubicBezTo>
                <a:cubicBezTo>
                  <a:pt x="20" y="31"/>
                  <a:pt x="20" y="31"/>
                  <a:pt x="21" y="31"/>
                </a:cubicBezTo>
                <a:cubicBezTo>
                  <a:pt x="22" y="31"/>
                  <a:pt x="22" y="31"/>
                  <a:pt x="23" y="31"/>
                </a:cubicBezTo>
                <a:cubicBezTo>
                  <a:pt x="23" y="30"/>
                  <a:pt x="22" y="29"/>
                  <a:pt x="22" y="29"/>
                </a:cubicBezTo>
                <a:cubicBezTo>
                  <a:pt x="22" y="28"/>
                  <a:pt x="21" y="27"/>
                  <a:pt x="21" y="26"/>
                </a:cubicBezTo>
                <a:cubicBezTo>
                  <a:pt x="21" y="25"/>
                  <a:pt x="20" y="25"/>
                  <a:pt x="20" y="25"/>
                </a:cubicBezTo>
                <a:cubicBezTo>
                  <a:pt x="20" y="24"/>
                  <a:pt x="21" y="23"/>
                  <a:pt x="21" y="23"/>
                </a:cubicBezTo>
                <a:cubicBezTo>
                  <a:pt x="22" y="22"/>
                  <a:pt x="23" y="23"/>
                  <a:pt x="23" y="23"/>
                </a:cubicBezTo>
                <a:cubicBezTo>
                  <a:pt x="23" y="22"/>
                  <a:pt x="24" y="23"/>
                  <a:pt x="24" y="23"/>
                </a:cubicBezTo>
                <a:cubicBezTo>
                  <a:pt x="25" y="23"/>
                  <a:pt x="26" y="22"/>
                  <a:pt x="26" y="21"/>
                </a:cubicBezTo>
                <a:cubicBezTo>
                  <a:pt x="26" y="20"/>
                  <a:pt x="27" y="20"/>
                  <a:pt x="27" y="20"/>
                </a:cubicBezTo>
                <a:cubicBezTo>
                  <a:pt x="28" y="20"/>
                  <a:pt x="28" y="18"/>
                  <a:pt x="28" y="18"/>
                </a:cubicBezTo>
                <a:cubicBezTo>
                  <a:pt x="29" y="17"/>
                  <a:pt x="30" y="17"/>
                  <a:pt x="30" y="16"/>
                </a:cubicBezTo>
                <a:cubicBezTo>
                  <a:pt x="30" y="16"/>
                  <a:pt x="30" y="15"/>
                  <a:pt x="31" y="15"/>
                </a:cubicBezTo>
                <a:cubicBezTo>
                  <a:pt x="31" y="15"/>
                  <a:pt x="31" y="14"/>
                  <a:pt x="31" y="14"/>
                </a:cubicBezTo>
                <a:cubicBezTo>
                  <a:pt x="31" y="13"/>
                  <a:pt x="32" y="12"/>
                  <a:pt x="32" y="12"/>
                </a:cubicBezTo>
                <a:cubicBezTo>
                  <a:pt x="33" y="12"/>
                  <a:pt x="32" y="11"/>
                  <a:pt x="31" y="11"/>
                </a:cubicBezTo>
                <a:cubicBezTo>
                  <a:pt x="30" y="11"/>
                  <a:pt x="30" y="9"/>
                  <a:pt x="30" y="9"/>
                </a:cubicBezTo>
                <a:cubicBezTo>
                  <a:pt x="30" y="9"/>
                  <a:pt x="30" y="7"/>
                  <a:pt x="30" y="7"/>
                </a:cubicBezTo>
                <a:cubicBezTo>
                  <a:pt x="29" y="7"/>
                  <a:pt x="30" y="6"/>
                  <a:pt x="31" y="6"/>
                </a:cubicBezTo>
                <a:cubicBezTo>
                  <a:pt x="32" y="6"/>
                  <a:pt x="33" y="7"/>
                  <a:pt x="34" y="6"/>
                </a:cubicBezTo>
                <a:cubicBezTo>
                  <a:pt x="35" y="6"/>
                  <a:pt x="36" y="5"/>
                  <a:pt x="36" y="5"/>
                </a:cubicBezTo>
                <a:cubicBezTo>
                  <a:pt x="36" y="5"/>
                  <a:pt x="37" y="4"/>
                  <a:pt x="37" y="4"/>
                </a:cubicBezTo>
                <a:cubicBezTo>
                  <a:pt x="37" y="4"/>
                  <a:pt x="36" y="3"/>
                  <a:pt x="3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402"/>
          <p:cNvSpPr>
            <a:spLocks noEditPoints="1"/>
          </p:cNvSpPr>
          <p:nvPr/>
        </p:nvSpPr>
        <p:spPr bwMode="auto">
          <a:xfrm>
            <a:off x="3202498" y="3218177"/>
            <a:ext cx="489754" cy="178742"/>
          </a:xfrm>
          <a:custGeom>
            <a:avLst/>
            <a:gdLst>
              <a:gd name="T0" fmla="*/ 7 w 101"/>
              <a:gd name="T1" fmla="*/ 16 h 37"/>
              <a:gd name="T2" fmla="*/ 28 w 101"/>
              <a:gd name="T3" fmla="*/ 20 h 37"/>
              <a:gd name="T4" fmla="*/ 4 w 101"/>
              <a:gd name="T5" fmla="*/ 10 h 37"/>
              <a:gd name="T6" fmla="*/ 54 w 101"/>
              <a:gd name="T7" fmla="*/ 26 h 37"/>
              <a:gd name="T8" fmla="*/ 56 w 101"/>
              <a:gd name="T9" fmla="*/ 21 h 37"/>
              <a:gd name="T10" fmla="*/ 60 w 101"/>
              <a:gd name="T11" fmla="*/ 22 h 37"/>
              <a:gd name="T12" fmla="*/ 62 w 101"/>
              <a:gd name="T13" fmla="*/ 15 h 37"/>
              <a:gd name="T14" fmla="*/ 62 w 101"/>
              <a:gd name="T15" fmla="*/ 13 h 37"/>
              <a:gd name="T16" fmla="*/ 58 w 101"/>
              <a:gd name="T17" fmla="*/ 11 h 37"/>
              <a:gd name="T18" fmla="*/ 52 w 101"/>
              <a:gd name="T19" fmla="*/ 19 h 37"/>
              <a:gd name="T20" fmla="*/ 24 w 101"/>
              <a:gd name="T21" fmla="*/ 21 h 37"/>
              <a:gd name="T22" fmla="*/ 23 w 101"/>
              <a:gd name="T23" fmla="*/ 17 h 37"/>
              <a:gd name="T24" fmla="*/ 22 w 101"/>
              <a:gd name="T25" fmla="*/ 19 h 37"/>
              <a:gd name="T26" fmla="*/ 18 w 101"/>
              <a:gd name="T27" fmla="*/ 14 h 37"/>
              <a:gd name="T28" fmla="*/ 15 w 101"/>
              <a:gd name="T29" fmla="*/ 10 h 37"/>
              <a:gd name="T30" fmla="*/ 10 w 101"/>
              <a:gd name="T31" fmla="*/ 7 h 37"/>
              <a:gd name="T32" fmla="*/ 0 w 101"/>
              <a:gd name="T33" fmla="*/ 1 h 37"/>
              <a:gd name="T34" fmla="*/ 9 w 101"/>
              <a:gd name="T35" fmla="*/ 13 h 37"/>
              <a:gd name="T36" fmla="*/ 19 w 101"/>
              <a:gd name="T37" fmla="*/ 25 h 37"/>
              <a:gd name="T38" fmla="*/ 23 w 101"/>
              <a:gd name="T39" fmla="*/ 23 h 37"/>
              <a:gd name="T40" fmla="*/ 73 w 101"/>
              <a:gd name="T41" fmla="*/ 10 h 37"/>
              <a:gd name="T42" fmla="*/ 73 w 101"/>
              <a:gd name="T43" fmla="*/ 13 h 37"/>
              <a:gd name="T44" fmla="*/ 68 w 101"/>
              <a:gd name="T45" fmla="*/ 21 h 37"/>
              <a:gd name="T46" fmla="*/ 54 w 101"/>
              <a:gd name="T47" fmla="*/ 33 h 37"/>
              <a:gd name="T48" fmla="*/ 63 w 101"/>
              <a:gd name="T49" fmla="*/ 32 h 37"/>
              <a:gd name="T50" fmla="*/ 75 w 101"/>
              <a:gd name="T51" fmla="*/ 21 h 37"/>
              <a:gd name="T52" fmla="*/ 42 w 101"/>
              <a:gd name="T53" fmla="*/ 31 h 37"/>
              <a:gd name="T54" fmla="*/ 38 w 101"/>
              <a:gd name="T55" fmla="*/ 29 h 37"/>
              <a:gd name="T56" fmla="*/ 24 w 101"/>
              <a:gd name="T57" fmla="*/ 27 h 37"/>
              <a:gd name="T58" fmla="*/ 25 w 101"/>
              <a:gd name="T59" fmla="*/ 30 h 37"/>
              <a:gd name="T60" fmla="*/ 39 w 101"/>
              <a:gd name="T61" fmla="*/ 32 h 37"/>
              <a:gd name="T62" fmla="*/ 42 w 101"/>
              <a:gd name="T63" fmla="*/ 31 h 37"/>
              <a:gd name="T64" fmla="*/ 88 w 101"/>
              <a:gd name="T65" fmla="*/ 21 h 37"/>
              <a:gd name="T66" fmla="*/ 79 w 101"/>
              <a:gd name="T67" fmla="*/ 16 h 37"/>
              <a:gd name="T68" fmla="*/ 85 w 101"/>
              <a:gd name="T69" fmla="*/ 19 h 37"/>
              <a:gd name="T70" fmla="*/ 81 w 101"/>
              <a:gd name="T71" fmla="*/ 20 h 37"/>
              <a:gd name="T72" fmla="*/ 87 w 101"/>
              <a:gd name="T73" fmla="*/ 23 h 37"/>
              <a:gd name="T74" fmla="*/ 96 w 101"/>
              <a:gd name="T75" fmla="*/ 28 h 37"/>
              <a:gd name="T76" fmla="*/ 99 w 101"/>
              <a:gd name="T77" fmla="*/ 32 h 37"/>
              <a:gd name="T78" fmla="*/ 94 w 101"/>
              <a:gd name="T79" fmla="*/ 17 h 37"/>
              <a:gd name="T80" fmla="*/ 64 w 101"/>
              <a:gd name="T81" fmla="*/ 34 h 37"/>
              <a:gd name="T82" fmla="*/ 65 w 101"/>
              <a:gd name="T83" fmla="*/ 35 h 37"/>
              <a:gd name="T84" fmla="*/ 66 w 101"/>
              <a:gd name="T85" fmla="*/ 34 h 37"/>
              <a:gd name="T86" fmla="*/ 49 w 101"/>
              <a:gd name="T87" fmla="*/ 13 h 37"/>
              <a:gd name="T88" fmla="*/ 50 w 101"/>
              <a:gd name="T89" fmla="*/ 8 h 37"/>
              <a:gd name="T90" fmla="*/ 49 w 101"/>
              <a:gd name="T91" fmla="*/ 4 h 37"/>
              <a:gd name="T92" fmla="*/ 44 w 101"/>
              <a:gd name="T93" fmla="*/ 7 h 37"/>
              <a:gd name="T94" fmla="*/ 39 w 101"/>
              <a:gd name="T95" fmla="*/ 10 h 37"/>
              <a:gd name="T96" fmla="*/ 32 w 101"/>
              <a:gd name="T97" fmla="*/ 10 h 37"/>
              <a:gd name="T98" fmla="*/ 30 w 101"/>
              <a:gd name="T99" fmla="*/ 12 h 37"/>
              <a:gd name="T100" fmla="*/ 35 w 101"/>
              <a:gd name="T101" fmla="*/ 20 h 37"/>
              <a:gd name="T102" fmla="*/ 42 w 101"/>
              <a:gd name="T103" fmla="*/ 22 h 37"/>
              <a:gd name="T104" fmla="*/ 52 w 101"/>
              <a:gd name="T105" fmla="*/ 35 h 37"/>
              <a:gd name="T106" fmla="*/ 52 w 101"/>
              <a:gd name="T107" fmla="*/ 35 h 37"/>
              <a:gd name="T108" fmla="*/ 46 w 101"/>
              <a:gd name="T109" fmla="*/ 33 h 37"/>
              <a:gd name="T110" fmla="*/ 49 w 101"/>
              <a:gd name="T11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37">
                <a:moveTo>
                  <a:pt x="7" y="16"/>
                </a:moveTo>
                <a:cubicBezTo>
                  <a:pt x="7" y="16"/>
                  <a:pt x="8" y="18"/>
                  <a:pt x="8" y="17"/>
                </a:cubicBezTo>
                <a:cubicBezTo>
                  <a:pt x="9" y="17"/>
                  <a:pt x="7" y="15"/>
                  <a:pt x="7" y="16"/>
                </a:cubicBezTo>
                <a:moveTo>
                  <a:pt x="28" y="20"/>
                </a:moveTo>
                <a:cubicBezTo>
                  <a:pt x="28" y="19"/>
                  <a:pt x="27" y="20"/>
                  <a:pt x="27" y="20"/>
                </a:cubicBezTo>
                <a:cubicBezTo>
                  <a:pt x="28" y="21"/>
                  <a:pt x="28" y="20"/>
                  <a:pt x="28" y="20"/>
                </a:cubicBezTo>
                <a:moveTo>
                  <a:pt x="4" y="10"/>
                </a:moveTo>
                <a:cubicBezTo>
                  <a:pt x="4" y="11"/>
                  <a:pt x="4" y="13"/>
                  <a:pt x="5" y="12"/>
                </a:cubicBezTo>
                <a:cubicBezTo>
                  <a:pt x="6" y="11"/>
                  <a:pt x="4" y="10"/>
                  <a:pt x="4" y="10"/>
                </a:cubicBezTo>
                <a:moveTo>
                  <a:pt x="53" y="21"/>
                </a:moveTo>
                <a:cubicBezTo>
                  <a:pt x="54" y="22"/>
                  <a:pt x="54" y="23"/>
                  <a:pt x="54" y="24"/>
                </a:cubicBezTo>
                <a:cubicBezTo>
                  <a:pt x="54" y="25"/>
                  <a:pt x="53" y="27"/>
                  <a:pt x="54" y="26"/>
                </a:cubicBezTo>
                <a:cubicBezTo>
                  <a:pt x="55" y="26"/>
                  <a:pt x="56" y="25"/>
                  <a:pt x="55" y="24"/>
                </a:cubicBezTo>
                <a:cubicBezTo>
                  <a:pt x="55" y="24"/>
                  <a:pt x="55" y="21"/>
                  <a:pt x="55" y="20"/>
                </a:cubicBezTo>
                <a:cubicBezTo>
                  <a:pt x="55" y="19"/>
                  <a:pt x="57" y="20"/>
                  <a:pt x="56" y="21"/>
                </a:cubicBezTo>
                <a:cubicBezTo>
                  <a:pt x="56" y="22"/>
                  <a:pt x="58" y="22"/>
                  <a:pt x="58" y="23"/>
                </a:cubicBezTo>
                <a:cubicBezTo>
                  <a:pt x="58" y="25"/>
                  <a:pt x="59" y="24"/>
                  <a:pt x="60" y="24"/>
                </a:cubicBezTo>
                <a:cubicBezTo>
                  <a:pt x="61" y="23"/>
                  <a:pt x="60" y="23"/>
                  <a:pt x="60" y="22"/>
                </a:cubicBezTo>
                <a:cubicBezTo>
                  <a:pt x="59" y="21"/>
                  <a:pt x="60" y="20"/>
                  <a:pt x="59" y="19"/>
                </a:cubicBezTo>
                <a:cubicBezTo>
                  <a:pt x="58" y="19"/>
                  <a:pt x="58" y="18"/>
                  <a:pt x="59" y="17"/>
                </a:cubicBezTo>
                <a:cubicBezTo>
                  <a:pt x="59" y="17"/>
                  <a:pt x="62" y="16"/>
                  <a:pt x="62" y="15"/>
                </a:cubicBezTo>
                <a:cubicBezTo>
                  <a:pt x="62" y="14"/>
                  <a:pt x="58" y="15"/>
                  <a:pt x="57" y="16"/>
                </a:cubicBezTo>
                <a:cubicBezTo>
                  <a:pt x="57" y="18"/>
                  <a:pt x="54" y="16"/>
                  <a:pt x="55" y="14"/>
                </a:cubicBezTo>
                <a:cubicBezTo>
                  <a:pt x="55" y="12"/>
                  <a:pt x="60" y="12"/>
                  <a:pt x="62" y="13"/>
                </a:cubicBezTo>
                <a:cubicBezTo>
                  <a:pt x="63" y="13"/>
                  <a:pt x="65" y="11"/>
                  <a:pt x="66" y="10"/>
                </a:cubicBezTo>
                <a:cubicBezTo>
                  <a:pt x="66" y="9"/>
                  <a:pt x="65" y="10"/>
                  <a:pt x="63" y="11"/>
                </a:cubicBezTo>
                <a:cubicBezTo>
                  <a:pt x="62" y="12"/>
                  <a:pt x="59" y="11"/>
                  <a:pt x="58" y="11"/>
                </a:cubicBezTo>
                <a:cubicBezTo>
                  <a:pt x="56" y="10"/>
                  <a:pt x="56" y="12"/>
                  <a:pt x="55" y="12"/>
                </a:cubicBezTo>
                <a:cubicBezTo>
                  <a:pt x="54" y="12"/>
                  <a:pt x="54" y="15"/>
                  <a:pt x="54" y="15"/>
                </a:cubicBezTo>
                <a:cubicBezTo>
                  <a:pt x="53" y="15"/>
                  <a:pt x="53" y="17"/>
                  <a:pt x="52" y="19"/>
                </a:cubicBezTo>
                <a:cubicBezTo>
                  <a:pt x="51" y="21"/>
                  <a:pt x="52" y="21"/>
                  <a:pt x="53" y="21"/>
                </a:cubicBezTo>
                <a:moveTo>
                  <a:pt x="23" y="23"/>
                </a:moveTo>
                <a:cubicBezTo>
                  <a:pt x="23" y="22"/>
                  <a:pt x="24" y="21"/>
                  <a:pt x="24" y="21"/>
                </a:cubicBezTo>
                <a:cubicBezTo>
                  <a:pt x="24" y="20"/>
                  <a:pt x="24" y="20"/>
                  <a:pt x="25" y="20"/>
                </a:cubicBezTo>
                <a:cubicBezTo>
                  <a:pt x="25" y="20"/>
                  <a:pt x="25" y="19"/>
                  <a:pt x="25" y="19"/>
                </a:cubicBezTo>
                <a:cubicBezTo>
                  <a:pt x="24" y="19"/>
                  <a:pt x="24" y="17"/>
                  <a:pt x="23" y="17"/>
                </a:cubicBezTo>
                <a:cubicBezTo>
                  <a:pt x="22" y="17"/>
                  <a:pt x="22" y="18"/>
                  <a:pt x="23" y="18"/>
                </a:cubicBezTo>
                <a:cubicBezTo>
                  <a:pt x="23" y="18"/>
                  <a:pt x="24" y="19"/>
                  <a:pt x="23" y="19"/>
                </a:cubicBezTo>
                <a:cubicBezTo>
                  <a:pt x="23" y="20"/>
                  <a:pt x="23" y="19"/>
                  <a:pt x="22" y="19"/>
                </a:cubicBezTo>
                <a:cubicBezTo>
                  <a:pt x="21" y="19"/>
                  <a:pt x="22" y="18"/>
                  <a:pt x="21" y="18"/>
                </a:cubicBezTo>
                <a:cubicBezTo>
                  <a:pt x="20" y="18"/>
                  <a:pt x="20" y="16"/>
                  <a:pt x="19" y="16"/>
                </a:cubicBezTo>
                <a:cubicBezTo>
                  <a:pt x="18" y="16"/>
                  <a:pt x="18" y="15"/>
                  <a:pt x="18" y="14"/>
                </a:cubicBezTo>
                <a:cubicBezTo>
                  <a:pt x="19" y="13"/>
                  <a:pt x="17" y="13"/>
                  <a:pt x="17" y="12"/>
                </a:cubicBezTo>
                <a:cubicBezTo>
                  <a:pt x="17" y="11"/>
                  <a:pt x="16" y="12"/>
                  <a:pt x="16" y="11"/>
                </a:cubicBezTo>
                <a:cubicBezTo>
                  <a:pt x="16" y="10"/>
                  <a:pt x="15" y="11"/>
                  <a:pt x="15" y="10"/>
                </a:cubicBezTo>
                <a:cubicBezTo>
                  <a:pt x="14" y="9"/>
                  <a:pt x="14" y="10"/>
                  <a:pt x="13" y="9"/>
                </a:cubicBezTo>
                <a:cubicBezTo>
                  <a:pt x="13" y="9"/>
                  <a:pt x="12" y="8"/>
                  <a:pt x="12" y="9"/>
                </a:cubicBezTo>
                <a:cubicBezTo>
                  <a:pt x="11" y="9"/>
                  <a:pt x="10" y="8"/>
                  <a:pt x="10" y="7"/>
                </a:cubicBezTo>
                <a:cubicBezTo>
                  <a:pt x="10" y="6"/>
                  <a:pt x="7" y="5"/>
                  <a:pt x="6" y="3"/>
                </a:cubicBezTo>
                <a:cubicBezTo>
                  <a:pt x="6" y="2"/>
                  <a:pt x="5" y="2"/>
                  <a:pt x="3" y="2"/>
                </a:cubicBezTo>
                <a:cubicBezTo>
                  <a:pt x="1" y="2"/>
                  <a:pt x="1" y="0"/>
                  <a:pt x="0" y="1"/>
                </a:cubicBezTo>
                <a:cubicBezTo>
                  <a:pt x="0" y="2"/>
                  <a:pt x="2" y="5"/>
                  <a:pt x="3" y="5"/>
                </a:cubicBezTo>
                <a:cubicBezTo>
                  <a:pt x="4" y="6"/>
                  <a:pt x="5" y="8"/>
                  <a:pt x="6" y="8"/>
                </a:cubicBezTo>
                <a:cubicBezTo>
                  <a:pt x="7" y="9"/>
                  <a:pt x="8" y="13"/>
                  <a:pt x="9" y="13"/>
                </a:cubicBezTo>
                <a:cubicBezTo>
                  <a:pt x="9" y="13"/>
                  <a:pt x="12" y="16"/>
                  <a:pt x="12" y="18"/>
                </a:cubicBezTo>
                <a:cubicBezTo>
                  <a:pt x="12" y="20"/>
                  <a:pt x="14" y="21"/>
                  <a:pt x="15" y="22"/>
                </a:cubicBezTo>
                <a:cubicBezTo>
                  <a:pt x="16" y="23"/>
                  <a:pt x="19" y="25"/>
                  <a:pt x="19" y="25"/>
                </a:cubicBezTo>
                <a:cubicBezTo>
                  <a:pt x="19" y="26"/>
                  <a:pt x="20" y="27"/>
                  <a:pt x="20" y="26"/>
                </a:cubicBezTo>
                <a:cubicBezTo>
                  <a:pt x="21" y="26"/>
                  <a:pt x="22" y="26"/>
                  <a:pt x="23" y="26"/>
                </a:cubicBezTo>
                <a:cubicBezTo>
                  <a:pt x="23" y="27"/>
                  <a:pt x="23" y="24"/>
                  <a:pt x="23" y="23"/>
                </a:cubicBezTo>
                <a:moveTo>
                  <a:pt x="73" y="13"/>
                </a:moveTo>
                <a:cubicBezTo>
                  <a:pt x="75" y="13"/>
                  <a:pt x="74" y="12"/>
                  <a:pt x="74" y="11"/>
                </a:cubicBezTo>
                <a:cubicBezTo>
                  <a:pt x="74" y="10"/>
                  <a:pt x="73" y="11"/>
                  <a:pt x="73" y="10"/>
                </a:cubicBezTo>
                <a:cubicBezTo>
                  <a:pt x="73" y="10"/>
                  <a:pt x="72" y="8"/>
                  <a:pt x="71" y="10"/>
                </a:cubicBezTo>
                <a:cubicBezTo>
                  <a:pt x="70" y="11"/>
                  <a:pt x="72" y="15"/>
                  <a:pt x="72" y="14"/>
                </a:cubicBezTo>
                <a:cubicBezTo>
                  <a:pt x="73" y="14"/>
                  <a:pt x="72" y="13"/>
                  <a:pt x="73" y="13"/>
                </a:cubicBezTo>
                <a:moveTo>
                  <a:pt x="68" y="21"/>
                </a:moveTo>
                <a:cubicBezTo>
                  <a:pt x="68" y="22"/>
                  <a:pt x="70" y="23"/>
                  <a:pt x="71" y="22"/>
                </a:cubicBezTo>
                <a:cubicBezTo>
                  <a:pt x="71" y="21"/>
                  <a:pt x="68" y="20"/>
                  <a:pt x="68" y="21"/>
                </a:cubicBezTo>
                <a:moveTo>
                  <a:pt x="63" y="32"/>
                </a:moveTo>
                <a:cubicBezTo>
                  <a:pt x="61" y="32"/>
                  <a:pt x="60" y="33"/>
                  <a:pt x="58" y="32"/>
                </a:cubicBezTo>
                <a:cubicBezTo>
                  <a:pt x="56" y="32"/>
                  <a:pt x="54" y="32"/>
                  <a:pt x="54" y="33"/>
                </a:cubicBezTo>
                <a:cubicBezTo>
                  <a:pt x="54" y="33"/>
                  <a:pt x="56" y="33"/>
                  <a:pt x="58" y="34"/>
                </a:cubicBezTo>
                <a:cubicBezTo>
                  <a:pt x="59" y="34"/>
                  <a:pt x="61" y="33"/>
                  <a:pt x="62" y="33"/>
                </a:cubicBezTo>
                <a:cubicBezTo>
                  <a:pt x="63" y="33"/>
                  <a:pt x="65" y="32"/>
                  <a:pt x="63" y="32"/>
                </a:cubicBezTo>
                <a:moveTo>
                  <a:pt x="77" y="20"/>
                </a:moveTo>
                <a:cubicBezTo>
                  <a:pt x="75" y="19"/>
                  <a:pt x="72" y="20"/>
                  <a:pt x="72" y="21"/>
                </a:cubicBezTo>
                <a:cubicBezTo>
                  <a:pt x="73" y="22"/>
                  <a:pt x="74" y="21"/>
                  <a:pt x="75" y="21"/>
                </a:cubicBezTo>
                <a:cubicBezTo>
                  <a:pt x="77" y="21"/>
                  <a:pt x="78" y="22"/>
                  <a:pt x="78" y="22"/>
                </a:cubicBezTo>
                <a:cubicBezTo>
                  <a:pt x="79" y="22"/>
                  <a:pt x="78" y="20"/>
                  <a:pt x="77" y="20"/>
                </a:cubicBezTo>
                <a:moveTo>
                  <a:pt x="42" y="31"/>
                </a:moveTo>
                <a:cubicBezTo>
                  <a:pt x="42" y="30"/>
                  <a:pt x="40" y="31"/>
                  <a:pt x="38" y="31"/>
                </a:cubicBezTo>
                <a:cubicBezTo>
                  <a:pt x="37" y="30"/>
                  <a:pt x="40" y="30"/>
                  <a:pt x="41" y="29"/>
                </a:cubicBezTo>
                <a:cubicBezTo>
                  <a:pt x="42" y="29"/>
                  <a:pt x="40" y="28"/>
                  <a:pt x="38" y="29"/>
                </a:cubicBezTo>
                <a:cubicBezTo>
                  <a:pt x="36" y="30"/>
                  <a:pt x="34" y="28"/>
                  <a:pt x="33" y="29"/>
                </a:cubicBezTo>
                <a:cubicBezTo>
                  <a:pt x="33" y="29"/>
                  <a:pt x="30" y="28"/>
                  <a:pt x="29" y="27"/>
                </a:cubicBezTo>
                <a:cubicBezTo>
                  <a:pt x="28" y="27"/>
                  <a:pt x="24" y="26"/>
                  <a:pt x="24" y="27"/>
                </a:cubicBezTo>
                <a:cubicBezTo>
                  <a:pt x="23" y="28"/>
                  <a:pt x="22" y="27"/>
                  <a:pt x="23" y="29"/>
                </a:cubicBezTo>
                <a:cubicBezTo>
                  <a:pt x="23" y="29"/>
                  <a:pt x="24" y="29"/>
                  <a:pt x="24" y="29"/>
                </a:cubicBezTo>
                <a:cubicBezTo>
                  <a:pt x="25" y="29"/>
                  <a:pt x="25" y="30"/>
                  <a:pt x="25" y="30"/>
                </a:cubicBezTo>
                <a:cubicBezTo>
                  <a:pt x="26" y="30"/>
                  <a:pt x="29" y="31"/>
                  <a:pt x="29" y="30"/>
                </a:cubicBezTo>
                <a:cubicBezTo>
                  <a:pt x="30" y="30"/>
                  <a:pt x="32" y="30"/>
                  <a:pt x="33" y="31"/>
                </a:cubicBezTo>
                <a:cubicBezTo>
                  <a:pt x="35" y="33"/>
                  <a:pt x="38" y="33"/>
                  <a:pt x="39" y="32"/>
                </a:cubicBezTo>
                <a:cubicBezTo>
                  <a:pt x="40" y="32"/>
                  <a:pt x="41" y="33"/>
                  <a:pt x="42" y="33"/>
                </a:cubicBezTo>
                <a:cubicBezTo>
                  <a:pt x="42" y="32"/>
                  <a:pt x="43" y="34"/>
                  <a:pt x="45" y="33"/>
                </a:cubicBezTo>
                <a:cubicBezTo>
                  <a:pt x="46" y="32"/>
                  <a:pt x="42" y="32"/>
                  <a:pt x="42" y="31"/>
                </a:cubicBezTo>
                <a:moveTo>
                  <a:pt x="94" y="17"/>
                </a:moveTo>
                <a:cubicBezTo>
                  <a:pt x="93" y="17"/>
                  <a:pt x="93" y="19"/>
                  <a:pt x="92" y="19"/>
                </a:cubicBezTo>
                <a:cubicBezTo>
                  <a:pt x="91" y="19"/>
                  <a:pt x="90" y="20"/>
                  <a:pt x="88" y="21"/>
                </a:cubicBezTo>
                <a:cubicBezTo>
                  <a:pt x="87" y="22"/>
                  <a:pt x="87" y="17"/>
                  <a:pt x="86" y="16"/>
                </a:cubicBezTo>
                <a:cubicBezTo>
                  <a:pt x="85" y="15"/>
                  <a:pt x="81" y="14"/>
                  <a:pt x="81" y="15"/>
                </a:cubicBezTo>
                <a:cubicBezTo>
                  <a:pt x="80" y="16"/>
                  <a:pt x="79" y="15"/>
                  <a:pt x="79" y="16"/>
                </a:cubicBezTo>
                <a:cubicBezTo>
                  <a:pt x="79" y="17"/>
                  <a:pt x="79" y="17"/>
                  <a:pt x="80" y="17"/>
                </a:cubicBezTo>
                <a:cubicBezTo>
                  <a:pt x="81" y="17"/>
                  <a:pt x="81" y="18"/>
                  <a:pt x="81" y="18"/>
                </a:cubicBezTo>
                <a:cubicBezTo>
                  <a:pt x="82" y="19"/>
                  <a:pt x="84" y="19"/>
                  <a:pt x="85" y="19"/>
                </a:cubicBezTo>
                <a:cubicBezTo>
                  <a:pt x="86" y="19"/>
                  <a:pt x="86" y="20"/>
                  <a:pt x="85" y="19"/>
                </a:cubicBezTo>
                <a:cubicBezTo>
                  <a:pt x="84" y="19"/>
                  <a:pt x="84" y="20"/>
                  <a:pt x="83" y="20"/>
                </a:cubicBezTo>
                <a:cubicBezTo>
                  <a:pt x="82" y="19"/>
                  <a:pt x="81" y="19"/>
                  <a:pt x="81" y="20"/>
                </a:cubicBezTo>
                <a:cubicBezTo>
                  <a:pt x="82" y="20"/>
                  <a:pt x="83" y="21"/>
                  <a:pt x="83" y="22"/>
                </a:cubicBezTo>
                <a:cubicBezTo>
                  <a:pt x="83" y="23"/>
                  <a:pt x="84" y="23"/>
                  <a:pt x="84" y="22"/>
                </a:cubicBezTo>
                <a:cubicBezTo>
                  <a:pt x="84" y="21"/>
                  <a:pt x="85" y="22"/>
                  <a:pt x="87" y="23"/>
                </a:cubicBezTo>
                <a:cubicBezTo>
                  <a:pt x="88" y="23"/>
                  <a:pt x="87" y="23"/>
                  <a:pt x="89" y="24"/>
                </a:cubicBezTo>
                <a:cubicBezTo>
                  <a:pt x="90" y="24"/>
                  <a:pt x="93" y="25"/>
                  <a:pt x="95" y="26"/>
                </a:cubicBezTo>
                <a:cubicBezTo>
                  <a:pt x="96" y="27"/>
                  <a:pt x="95" y="27"/>
                  <a:pt x="96" y="28"/>
                </a:cubicBezTo>
                <a:cubicBezTo>
                  <a:pt x="97" y="29"/>
                  <a:pt x="97" y="30"/>
                  <a:pt x="96" y="30"/>
                </a:cubicBezTo>
                <a:cubicBezTo>
                  <a:pt x="95" y="30"/>
                  <a:pt x="94" y="31"/>
                  <a:pt x="94" y="32"/>
                </a:cubicBezTo>
                <a:cubicBezTo>
                  <a:pt x="94" y="33"/>
                  <a:pt x="98" y="32"/>
                  <a:pt x="99" y="32"/>
                </a:cubicBezTo>
                <a:cubicBezTo>
                  <a:pt x="100" y="32"/>
                  <a:pt x="100" y="33"/>
                  <a:pt x="101" y="34"/>
                </a:cubicBezTo>
                <a:cubicBezTo>
                  <a:pt x="101" y="20"/>
                  <a:pt x="101" y="20"/>
                  <a:pt x="101" y="20"/>
                </a:cubicBezTo>
                <a:cubicBezTo>
                  <a:pt x="99" y="19"/>
                  <a:pt x="95" y="17"/>
                  <a:pt x="94" y="17"/>
                </a:cubicBezTo>
                <a:moveTo>
                  <a:pt x="65" y="34"/>
                </a:moveTo>
                <a:cubicBezTo>
                  <a:pt x="65" y="34"/>
                  <a:pt x="65" y="34"/>
                  <a:pt x="65" y="34"/>
                </a:cubicBezTo>
                <a:cubicBezTo>
                  <a:pt x="65" y="34"/>
                  <a:pt x="65" y="34"/>
                  <a:pt x="64" y="34"/>
                </a:cubicBezTo>
                <a:cubicBezTo>
                  <a:pt x="64" y="35"/>
                  <a:pt x="64" y="34"/>
                  <a:pt x="64" y="34"/>
                </a:cubicBezTo>
                <a:cubicBezTo>
                  <a:pt x="62" y="35"/>
                  <a:pt x="62" y="36"/>
                  <a:pt x="63" y="37"/>
                </a:cubicBezTo>
                <a:cubicBezTo>
                  <a:pt x="63" y="37"/>
                  <a:pt x="65" y="36"/>
                  <a:pt x="65" y="35"/>
                </a:cubicBezTo>
                <a:cubicBezTo>
                  <a:pt x="66" y="35"/>
                  <a:pt x="66" y="35"/>
                  <a:pt x="66" y="35"/>
                </a:cubicBezTo>
                <a:cubicBezTo>
                  <a:pt x="66" y="35"/>
                  <a:pt x="66" y="34"/>
                  <a:pt x="66" y="34"/>
                </a:cubicBezTo>
                <a:cubicBezTo>
                  <a:pt x="66" y="34"/>
                  <a:pt x="66" y="34"/>
                  <a:pt x="66" y="34"/>
                </a:cubicBezTo>
                <a:cubicBezTo>
                  <a:pt x="66" y="34"/>
                  <a:pt x="66" y="34"/>
                  <a:pt x="65" y="34"/>
                </a:cubicBezTo>
                <a:moveTo>
                  <a:pt x="47" y="17"/>
                </a:moveTo>
                <a:cubicBezTo>
                  <a:pt x="48" y="16"/>
                  <a:pt x="49" y="15"/>
                  <a:pt x="49" y="13"/>
                </a:cubicBezTo>
                <a:cubicBezTo>
                  <a:pt x="48" y="12"/>
                  <a:pt x="51" y="12"/>
                  <a:pt x="52" y="11"/>
                </a:cubicBezTo>
                <a:cubicBezTo>
                  <a:pt x="52" y="11"/>
                  <a:pt x="51" y="10"/>
                  <a:pt x="50" y="10"/>
                </a:cubicBezTo>
                <a:cubicBezTo>
                  <a:pt x="50" y="9"/>
                  <a:pt x="50" y="8"/>
                  <a:pt x="50" y="8"/>
                </a:cubicBezTo>
                <a:cubicBezTo>
                  <a:pt x="49" y="7"/>
                  <a:pt x="48" y="6"/>
                  <a:pt x="49" y="6"/>
                </a:cubicBezTo>
                <a:cubicBezTo>
                  <a:pt x="50" y="6"/>
                  <a:pt x="48" y="5"/>
                  <a:pt x="49" y="4"/>
                </a:cubicBezTo>
                <a:cubicBezTo>
                  <a:pt x="49" y="4"/>
                  <a:pt x="49" y="4"/>
                  <a:pt x="49" y="4"/>
                </a:cubicBezTo>
                <a:cubicBezTo>
                  <a:pt x="49" y="4"/>
                  <a:pt x="49" y="4"/>
                  <a:pt x="48" y="4"/>
                </a:cubicBezTo>
                <a:cubicBezTo>
                  <a:pt x="47" y="4"/>
                  <a:pt x="45" y="3"/>
                  <a:pt x="45" y="5"/>
                </a:cubicBezTo>
                <a:cubicBezTo>
                  <a:pt x="45" y="7"/>
                  <a:pt x="44" y="6"/>
                  <a:pt x="44" y="7"/>
                </a:cubicBezTo>
                <a:cubicBezTo>
                  <a:pt x="44" y="8"/>
                  <a:pt x="43" y="8"/>
                  <a:pt x="43" y="9"/>
                </a:cubicBezTo>
                <a:cubicBezTo>
                  <a:pt x="43" y="10"/>
                  <a:pt x="42" y="10"/>
                  <a:pt x="41" y="11"/>
                </a:cubicBezTo>
                <a:cubicBezTo>
                  <a:pt x="40" y="11"/>
                  <a:pt x="40" y="10"/>
                  <a:pt x="39" y="10"/>
                </a:cubicBezTo>
                <a:cubicBezTo>
                  <a:pt x="38" y="10"/>
                  <a:pt x="38" y="11"/>
                  <a:pt x="37" y="11"/>
                </a:cubicBezTo>
                <a:cubicBezTo>
                  <a:pt x="36" y="11"/>
                  <a:pt x="34" y="11"/>
                  <a:pt x="34" y="11"/>
                </a:cubicBezTo>
                <a:cubicBezTo>
                  <a:pt x="33" y="12"/>
                  <a:pt x="33" y="10"/>
                  <a:pt x="32" y="10"/>
                </a:cubicBezTo>
                <a:cubicBezTo>
                  <a:pt x="32" y="10"/>
                  <a:pt x="32" y="10"/>
                  <a:pt x="31" y="9"/>
                </a:cubicBezTo>
                <a:cubicBezTo>
                  <a:pt x="31" y="9"/>
                  <a:pt x="31" y="9"/>
                  <a:pt x="31" y="9"/>
                </a:cubicBezTo>
                <a:cubicBezTo>
                  <a:pt x="30" y="9"/>
                  <a:pt x="29" y="11"/>
                  <a:pt x="30" y="12"/>
                </a:cubicBezTo>
                <a:cubicBezTo>
                  <a:pt x="31" y="13"/>
                  <a:pt x="30" y="14"/>
                  <a:pt x="31" y="15"/>
                </a:cubicBezTo>
                <a:cubicBezTo>
                  <a:pt x="31" y="16"/>
                  <a:pt x="33" y="16"/>
                  <a:pt x="33" y="17"/>
                </a:cubicBezTo>
                <a:cubicBezTo>
                  <a:pt x="33" y="19"/>
                  <a:pt x="34" y="21"/>
                  <a:pt x="35" y="20"/>
                </a:cubicBezTo>
                <a:cubicBezTo>
                  <a:pt x="36" y="20"/>
                  <a:pt x="36" y="21"/>
                  <a:pt x="37" y="21"/>
                </a:cubicBezTo>
                <a:cubicBezTo>
                  <a:pt x="37" y="22"/>
                  <a:pt x="39" y="21"/>
                  <a:pt x="40" y="21"/>
                </a:cubicBezTo>
                <a:cubicBezTo>
                  <a:pt x="40" y="21"/>
                  <a:pt x="42" y="21"/>
                  <a:pt x="42" y="22"/>
                </a:cubicBezTo>
                <a:cubicBezTo>
                  <a:pt x="43" y="23"/>
                  <a:pt x="44" y="22"/>
                  <a:pt x="46" y="22"/>
                </a:cubicBezTo>
                <a:cubicBezTo>
                  <a:pt x="47" y="21"/>
                  <a:pt x="46" y="17"/>
                  <a:pt x="47" y="17"/>
                </a:cubicBezTo>
                <a:moveTo>
                  <a:pt x="52" y="35"/>
                </a:moveTo>
                <a:cubicBezTo>
                  <a:pt x="53" y="36"/>
                  <a:pt x="54" y="36"/>
                  <a:pt x="54" y="36"/>
                </a:cubicBezTo>
                <a:cubicBezTo>
                  <a:pt x="55" y="36"/>
                  <a:pt x="56" y="37"/>
                  <a:pt x="56" y="36"/>
                </a:cubicBezTo>
                <a:cubicBezTo>
                  <a:pt x="56" y="35"/>
                  <a:pt x="52" y="34"/>
                  <a:pt x="52" y="35"/>
                </a:cubicBezTo>
                <a:moveTo>
                  <a:pt x="49" y="32"/>
                </a:moveTo>
                <a:cubicBezTo>
                  <a:pt x="49" y="32"/>
                  <a:pt x="48" y="33"/>
                  <a:pt x="47" y="32"/>
                </a:cubicBezTo>
                <a:cubicBezTo>
                  <a:pt x="46" y="32"/>
                  <a:pt x="45" y="33"/>
                  <a:pt x="46" y="33"/>
                </a:cubicBezTo>
                <a:cubicBezTo>
                  <a:pt x="46" y="33"/>
                  <a:pt x="47" y="35"/>
                  <a:pt x="49" y="34"/>
                </a:cubicBezTo>
                <a:cubicBezTo>
                  <a:pt x="51" y="33"/>
                  <a:pt x="52" y="34"/>
                  <a:pt x="52" y="33"/>
                </a:cubicBezTo>
                <a:cubicBezTo>
                  <a:pt x="53" y="32"/>
                  <a:pt x="49" y="31"/>
                  <a:pt x="49"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403"/>
          <p:cNvSpPr>
            <a:spLocks noEditPoints="1"/>
          </p:cNvSpPr>
          <p:nvPr/>
        </p:nvSpPr>
        <p:spPr bwMode="auto">
          <a:xfrm>
            <a:off x="3513510" y="3371896"/>
            <a:ext cx="32174" cy="14299"/>
          </a:xfrm>
          <a:custGeom>
            <a:avLst/>
            <a:gdLst>
              <a:gd name="T0" fmla="*/ 0 w 7"/>
              <a:gd name="T1" fmla="*/ 2 h 3"/>
              <a:gd name="T2" fmla="*/ 0 w 7"/>
              <a:gd name="T3" fmla="*/ 2 h 3"/>
              <a:gd name="T4" fmla="*/ 0 w 7"/>
              <a:gd name="T5" fmla="*/ 2 h 3"/>
              <a:gd name="T6" fmla="*/ 1 w 7"/>
              <a:gd name="T7" fmla="*/ 2 h 3"/>
              <a:gd name="T8" fmla="*/ 0 w 7"/>
              <a:gd name="T9" fmla="*/ 2 h 3"/>
              <a:gd name="T10" fmla="*/ 0 w 7"/>
              <a:gd name="T11" fmla="*/ 2 h 3"/>
              <a:gd name="T12" fmla="*/ 4 w 7"/>
              <a:gd name="T13" fmla="*/ 0 h 3"/>
              <a:gd name="T14" fmla="*/ 2 w 7"/>
              <a:gd name="T15" fmla="*/ 1 h 3"/>
              <a:gd name="T16" fmla="*/ 1 w 7"/>
              <a:gd name="T17" fmla="*/ 2 h 3"/>
              <a:gd name="T18" fmla="*/ 2 w 7"/>
              <a:gd name="T19" fmla="*/ 2 h 3"/>
              <a:gd name="T20" fmla="*/ 7 w 7"/>
              <a:gd name="T21" fmla="*/ 0 h 3"/>
              <a:gd name="T22" fmla="*/ 4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2"/>
                </a:moveTo>
                <a:cubicBezTo>
                  <a:pt x="0" y="2"/>
                  <a:pt x="0" y="2"/>
                  <a:pt x="0" y="2"/>
                </a:cubicBezTo>
                <a:cubicBezTo>
                  <a:pt x="0" y="2"/>
                  <a:pt x="0" y="3"/>
                  <a:pt x="0" y="2"/>
                </a:cubicBezTo>
                <a:cubicBezTo>
                  <a:pt x="1" y="2"/>
                  <a:pt x="1" y="2"/>
                  <a:pt x="1" y="2"/>
                </a:cubicBezTo>
                <a:cubicBezTo>
                  <a:pt x="1" y="2"/>
                  <a:pt x="1" y="2"/>
                  <a:pt x="0" y="2"/>
                </a:cubicBezTo>
                <a:cubicBezTo>
                  <a:pt x="0" y="2"/>
                  <a:pt x="0" y="2"/>
                  <a:pt x="0" y="2"/>
                </a:cubicBezTo>
                <a:moveTo>
                  <a:pt x="4" y="0"/>
                </a:moveTo>
                <a:cubicBezTo>
                  <a:pt x="3" y="0"/>
                  <a:pt x="2" y="1"/>
                  <a:pt x="2" y="1"/>
                </a:cubicBezTo>
                <a:cubicBezTo>
                  <a:pt x="2" y="1"/>
                  <a:pt x="2" y="1"/>
                  <a:pt x="1" y="2"/>
                </a:cubicBezTo>
                <a:cubicBezTo>
                  <a:pt x="2" y="2"/>
                  <a:pt x="2" y="2"/>
                  <a:pt x="2" y="2"/>
                </a:cubicBezTo>
                <a:cubicBezTo>
                  <a:pt x="3" y="2"/>
                  <a:pt x="7" y="1"/>
                  <a:pt x="7" y="0"/>
                </a:cubicBezTo>
                <a:cubicBezTo>
                  <a:pt x="7" y="0"/>
                  <a:pt x="5" y="0"/>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404"/>
          <p:cNvSpPr>
            <a:spLocks noEditPoints="1"/>
          </p:cNvSpPr>
          <p:nvPr/>
        </p:nvSpPr>
        <p:spPr bwMode="auto">
          <a:xfrm>
            <a:off x="2273038" y="2735573"/>
            <a:ext cx="121545" cy="128695"/>
          </a:xfrm>
          <a:custGeom>
            <a:avLst/>
            <a:gdLst>
              <a:gd name="T0" fmla="*/ 17 w 25"/>
              <a:gd name="T1" fmla="*/ 24 h 27"/>
              <a:gd name="T2" fmla="*/ 15 w 25"/>
              <a:gd name="T3" fmla="*/ 24 h 27"/>
              <a:gd name="T4" fmla="*/ 13 w 25"/>
              <a:gd name="T5" fmla="*/ 24 h 27"/>
              <a:gd name="T6" fmla="*/ 15 w 25"/>
              <a:gd name="T7" fmla="*/ 26 h 27"/>
              <a:gd name="T8" fmla="*/ 18 w 25"/>
              <a:gd name="T9" fmla="*/ 27 h 27"/>
              <a:gd name="T10" fmla="*/ 18 w 25"/>
              <a:gd name="T11" fmla="*/ 26 h 27"/>
              <a:gd name="T12" fmla="*/ 19 w 25"/>
              <a:gd name="T13" fmla="*/ 24 h 27"/>
              <a:gd name="T14" fmla="*/ 17 w 25"/>
              <a:gd name="T15" fmla="*/ 24 h 27"/>
              <a:gd name="T16" fmla="*/ 5 w 25"/>
              <a:gd name="T17" fmla="*/ 16 h 27"/>
              <a:gd name="T18" fmla="*/ 3 w 25"/>
              <a:gd name="T19" fmla="*/ 17 h 27"/>
              <a:gd name="T20" fmla="*/ 4 w 25"/>
              <a:gd name="T21" fmla="*/ 19 h 27"/>
              <a:gd name="T22" fmla="*/ 5 w 25"/>
              <a:gd name="T23" fmla="*/ 22 h 27"/>
              <a:gd name="T24" fmla="*/ 6 w 25"/>
              <a:gd name="T25" fmla="*/ 21 h 27"/>
              <a:gd name="T26" fmla="*/ 7 w 25"/>
              <a:gd name="T27" fmla="*/ 17 h 27"/>
              <a:gd name="T28" fmla="*/ 5 w 25"/>
              <a:gd name="T29" fmla="*/ 16 h 27"/>
              <a:gd name="T30" fmla="*/ 21 w 25"/>
              <a:gd name="T31" fmla="*/ 15 h 27"/>
              <a:gd name="T32" fmla="*/ 19 w 25"/>
              <a:gd name="T33" fmla="*/ 14 h 27"/>
              <a:gd name="T34" fmla="*/ 16 w 25"/>
              <a:gd name="T35" fmla="*/ 10 h 27"/>
              <a:gd name="T36" fmla="*/ 13 w 25"/>
              <a:gd name="T37" fmla="*/ 7 h 27"/>
              <a:gd name="T38" fmla="*/ 13 w 25"/>
              <a:gd name="T39" fmla="*/ 5 h 27"/>
              <a:gd name="T40" fmla="*/ 14 w 25"/>
              <a:gd name="T41" fmla="*/ 4 h 27"/>
              <a:gd name="T42" fmla="*/ 14 w 25"/>
              <a:gd name="T43" fmla="*/ 1 h 27"/>
              <a:gd name="T44" fmla="*/ 13 w 25"/>
              <a:gd name="T45" fmla="*/ 0 h 27"/>
              <a:gd name="T46" fmla="*/ 12 w 25"/>
              <a:gd name="T47" fmla="*/ 0 h 27"/>
              <a:gd name="T48" fmla="*/ 10 w 25"/>
              <a:gd name="T49" fmla="*/ 0 h 27"/>
              <a:gd name="T50" fmla="*/ 9 w 25"/>
              <a:gd name="T51" fmla="*/ 0 h 27"/>
              <a:gd name="T52" fmla="*/ 9 w 25"/>
              <a:gd name="T53" fmla="*/ 0 h 27"/>
              <a:gd name="T54" fmla="*/ 8 w 25"/>
              <a:gd name="T55" fmla="*/ 0 h 27"/>
              <a:gd name="T56" fmla="*/ 8 w 25"/>
              <a:gd name="T57" fmla="*/ 1 h 27"/>
              <a:gd name="T58" fmla="*/ 7 w 25"/>
              <a:gd name="T59" fmla="*/ 1 h 27"/>
              <a:gd name="T60" fmla="*/ 6 w 25"/>
              <a:gd name="T61" fmla="*/ 2 h 27"/>
              <a:gd name="T62" fmla="*/ 5 w 25"/>
              <a:gd name="T63" fmla="*/ 2 h 27"/>
              <a:gd name="T64" fmla="*/ 5 w 25"/>
              <a:gd name="T65" fmla="*/ 3 h 27"/>
              <a:gd name="T66" fmla="*/ 4 w 25"/>
              <a:gd name="T67" fmla="*/ 1 h 27"/>
              <a:gd name="T68" fmla="*/ 3 w 25"/>
              <a:gd name="T69" fmla="*/ 3 h 27"/>
              <a:gd name="T70" fmla="*/ 1 w 25"/>
              <a:gd name="T71" fmla="*/ 3 h 27"/>
              <a:gd name="T72" fmla="*/ 1 w 25"/>
              <a:gd name="T73" fmla="*/ 4 h 27"/>
              <a:gd name="T74" fmla="*/ 0 w 25"/>
              <a:gd name="T75" fmla="*/ 5 h 27"/>
              <a:gd name="T76" fmla="*/ 0 w 25"/>
              <a:gd name="T77" fmla="*/ 5 h 27"/>
              <a:gd name="T78" fmla="*/ 1 w 25"/>
              <a:gd name="T79" fmla="*/ 7 h 27"/>
              <a:gd name="T80" fmla="*/ 1 w 25"/>
              <a:gd name="T81" fmla="*/ 8 h 27"/>
              <a:gd name="T82" fmla="*/ 2 w 25"/>
              <a:gd name="T83" fmla="*/ 8 h 27"/>
              <a:gd name="T84" fmla="*/ 2 w 25"/>
              <a:gd name="T85" fmla="*/ 9 h 27"/>
              <a:gd name="T86" fmla="*/ 3 w 25"/>
              <a:gd name="T87" fmla="*/ 8 h 27"/>
              <a:gd name="T88" fmla="*/ 5 w 25"/>
              <a:gd name="T89" fmla="*/ 7 h 27"/>
              <a:gd name="T90" fmla="*/ 8 w 25"/>
              <a:gd name="T91" fmla="*/ 8 h 27"/>
              <a:gd name="T92" fmla="*/ 8 w 25"/>
              <a:gd name="T93" fmla="*/ 10 h 27"/>
              <a:gd name="T94" fmla="*/ 10 w 25"/>
              <a:gd name="T95" fmla="*/ 12 h 27"/>
              <a:gd name="T96" fmla="*/ 13 w 25"/>
              <a:gd name="T97" fmla="*/ 15 h 27"/>
              <a:gd name="T98" fmla="*/ 16 w 25"/>
              <a:gd name="T99" fmla="*/ 16 h 27"/>
              <a:gd name="T100" fmla="*/ 17 w 25"/>
              <a:gd name="T101" fmla="*/ 17 h 27"/>
              <a:gd name="T102" fmla="*/ 19 w 25"/>
              <a:gd name="T103" fmla="*/ 18 h 27"/>
              <a:gd name="T104" fmla="*/ 20 w 25"/>
              <a:gd name="T105" fmla="*/ 20 h 27"/>
              <a:gd name="T106" fmla="*/ 20 w 25"/>
              <a:gd name="T107" fmla="*/ 22 h 27"/>
              <a:gd name="T108" fmla="*/ 20 w 25"/>
              <a:gd name="T109" fmla="*/ 24 h 27"/>
              <a:gd name="T110" fmla="*/ 21 w 25"/>
              <a:gd name="T111" fmla="*/ 22 h 27"/>
              <a:gd name="T112" fmla="*/ 22 w 25"/>
              <a:gd name="T113" fmla="*/ 21 h 27"/>
              <a:gd name="T114" fmla="*/ 21 w 25"/>
              <a:gd name="T115" fmla="*/ 19 h 27"/>
              <a:gd name="T116" fmla="*/ 23 w 25"/>
              <a:gd name="T117" fmla="*/ 18 h 27"/>
              <a:gd name="T118" fmla="*/ 25 w 25"/>
              <a:gd name="T119" fmla="*/ 18 h 27"/>
              <a:gd name="T120" fmla="*/ 21 w 25"/>
              <a:gd name="T12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 h="27">
                <a:moveTo>
                  <a:pt x="17" y="24"/>
                </a:moveTo>
                <a:cubicBezTo>
                  <a:pt x="16" y="24"/>
                  <a:pt x="15" y="24"/>
                  <a:pt x="15" y="24"/>
                </a:cubicBezTo>
                <a:cubicBezTo>
                  <a:pt x="14" y="23"/>
                  <a:pt x="13" y="24"/>
                  <a:pt x="13" y="24"/>
                </a:cubicBezTo>
                <a:cubicBezTo>
                  <a:pt x="13" y="25"/>
                  <a:pt x="13" y="25"/>
                  <a:pt x="15" y="26"/>
                </a:cubicBezTo>
                <a:cubicBezTo>
                  <a:pt x="17" y="26"/>
                  <a:pt x="17" y="27"/>
                  <a:pt x="18" y="27"/>
                </a:cubicBezTo>
                <a:cubicBezTo>
                  <a:pt x="18" y="27"/>
                  <a:pt x="18" y="27"/>
                  <a:pt x="18" y="26"/>
                </a:cubicBezTo>
                <a:cubicBezTo>
                  <a:pt x="18" y="25"/>
                  <a:pt x="19" y="24"/>
                  <a:pt x="19" y="24"/>
                </a:cubicBezTo>
                <a:cubicBezTo>
                  <a:pt x="19" y="24"/>
                  <a:pt x="19" y="23"/>
                  <a:pt x="17" y="24"/>
                </a:cubicBezTo>
                <a:moveTo>
                  <a:pt x="5" y="16"/>
                </a:moveTo>
                <a:cubicBezTo>
                  <a:pt x="4" y="17"/>
                  <a:pt x="3" y="16"/>
                  <a:pt x="3" y="17"/>
                </a:cubicBezTo>
                <a:cubicBezTo>
                  <a:pt x="3" y="17"/>
                  <a:pt x="4" y="18"/>
                  <a:pt x="4" y="19"/>
                </a:cubicBezTo>
                <a:cubicBezTo>
                  <a:pt x="4" y="21"/>
                  <a:pt x="4" y="22"/>
                  <a:pt x="5" y="22"/>
                </a:cubicBezTo>
                <a:cubicBezTo>
                  <a:pt x="6" y="21"/>
                  <a:pt x="6" y="21"/>
                  <a:pt x="6" y="21"/>
                </a:cubicBezTo>
                <a:cubicBezTo>
                  <a:pt x="7" y="20"/>
                  <a:pt x="6" y="18"/>
                  <a:pt x="7" y="17"/>
                </a:cubicBezTo>
                <a:cubicBezTo>
                  <a:pt x="7" y="16"/>
                  <a:pt x="5" y="16"/>
                  <a:pt x="5" y="16"/>
                </a:cubicBezTo>
                <a:moveTo>
                  <a:pt x="21" y="15"/>
                </a:moveTo>
                <a:cubicBezTo>
                  <a:pt x="20" y="15"/>
                  <a:pt x="20" y="14"/>
                  <a:pt x="19" y="14"/>
                </a:cubicBezTo>
                <a:cubicBezTo>
                  <a:pt x="18" y="14"/>
                  <a:pt x="16" y="12"/>
                  <a:pt x="16" y="10"/>
                </a:cubicBezTo>
                <a:cubicBezTo>
                  <a:pt x="15" y="8"/>
                  <a:pt x="13" y="8"/>
                  <a:pt x="13" y="7"/>
                </a:cubicBezTo>
                <a:cubicBezTo>
                  <a:pt x="12" y="6"/>
                  <a:pt x="13" y="6"/>
                  <a:pt x="13" y="5"/>
                </a:cubicBezTo>
                <a:cubicBezTo>
                  <a:pt x="12" y="4"/>
                  <a:pt x="13" y="4"/>
                  <a:pt x="14" y="4"/>
                </a:cubicBezTo>
                <a:cubicBezTo>
                  <a:pt x="14" y="3"/>
                  <a:pt x="14" y="1"/>
                  <a:pt x="14" y="1"/>
                </a:cubicBezTo>
                <a:cubicBezTo>
                  <a:pt x="13" y="1"/>
                  <a:pt x="13" y="1"/>
                  <a:pt x="13" y="0"/>
                </a:cubicBezTo>
                <a:cubicBezTo>
                  <a:pt x="12" y="0"/>
                  <a:pt x="12" y="0"/>
                  <a:pt x="12" y="0"/>
                </a:cubicBezTo>
                <a:cubicBezTo>
                  <a:pt x="12" y="0"/>
                  <a:pt x="11" y="0"/>
                  <a:pt x="10" y="0"/>
                </a:cubicBezTo>
                <a:cubicBezTo>
                  <a:pt x="10" y="0"/>
                  <a:pt x="9" y="0"/>
                  <a:pt x="9" y="0"/>
                </a:cubicBezTo>
                <a:cubicBezTo>
                  <a:pt x="9" y="0"/>
                  <a:pt x="9" y="0"/>
                  <a:pt x="9" y="0"/>
                </a:cubicBezTo>
                <a:cubicBezTo>
                  <a:pt x="8" y="0"/>
                  <a:pt x="8" y="0"/>
                  <a:pt x="8" y="0"/>
                </a:cubicBezTo>
                <a:cubicBezTo>
                  <a:pt x="8" y="0"/>
                  <a:pt x="8" y="1"/>
                  <a:pt x="8" y="1"/>
                </a:cubicBezTo>
                <a:cubicBezTo>
                  <a:pt x="8" y="1"/>
                  <a:pt x="7" y="1"/>
                  <a:pt x="7" y="1"/>
                </a:cubicBezTo>
                <a:cubicBezTo>
                  <a:pt x="7" y="2"/>
                  <a:pt x="7" y="2"/>
                  <a:pt x="6" y="2"/>
                </a:cubicBezTo>
                <a:cubicBezTo>
                  <a:pt x="6" y="1"/>
                  <a:pt x="5" y="2"/>
                  <a:pt x="5" y="2"/>
                </a:cubicBezTo>
                <a:cubicBezTo>
                  <a:pt x="5" y="2"/>
                  <a:pt x="5" y="3"/>
                  <a:pt x="5" y="3"/>
                </a:cubicBezTo>
                <a:cubicBezTo>
                  <a:pt x="4" y="2"/>
                  <a:pt x="4" y="1"/>
                  <a:pt x="4" y="1"/>
                </a:cubicBezTo>
                <a:cubicBezTo>
                  <a:pt x="3" y="1"/>
                  <a:pt x="3" y="3"/>
                  <a:pt x="3" y="3"/>
                </a:cubicBezTo>
                <a:cubicBezTo>
                  <a:pt x="2" y="3"/>
                  <a:pt x="1" y="3"/>
                  <a:pt x="1" y="3"/>
                </a:cubicBezTo>
                <a:cubicBezTo>
                  <a:pt x="0" y="4"/>
                  <a:pt x="1" y="4"/>
                  <a:pt x="1" y="4"/>
                </a:cubicBezTo>
                <a:cubicBezTo>
                  <a:pt x="1" y="4"/>
                  <a:pt x="1" y="5"/>
                  <a:pt x="0" y="5"/>
                </a:cubicBezTo>
                <a:cubicBezTo>
                  <a:pt x="0" y="5"/>
                  <a:pt x="0" y="5"/>
                  <a:pt x="0" y="5"/>
                </a:cubicBezTo>
                <a:cubicBezTo>
                  <a:pt x="0" y="6"/>
                  <a:pt x="1" y="6"/>
                  <a:pt x="1" y="7"/>
                </a:cubicBezTo>
                <a:cubicBezTo>
                  <a:pt x="0" y="7"/>
                  <a:pt x="1" y="8"/>
                  <a:pt x="1" y="8"/>
                </a:cubicBezTo>
                <a:cubicBezTo>
                  <a:pt x="2" y="8"/>
                  <a:pt x="2" y="8"/>
                  <a:pt x="2" y="8"/>
                </a:cubicBezTo>
                <a:cubicBezTo>
                  <a:pt x="2" y="8"/>
                  <a:pt x="2" y="8"/>
                  <a:pt x="2" y="9"/>
                </a:cubicBezTo>
                <a:cubicBezTo>
                  <a:pt x="2" y="9"/>
                  <a:pt x="3" y="9"/>
                  <a:pt x="3" y="8"/>
                </a:cubicBezTo>
                <a:cubicBezTo>
                  <a:pt x="4" y="8"/>
                  <a:pt x="3" y="7"/>
                  <a:pt x="5" y="7"/>
                </a:cubicBezTo>
                <a:cubicBezTo>
                  <a:pt x="6" y="7"/>
                  <a:pt x="7" y="8"/>
                  <a:pt x="8" y="8"/>
                </a:cubicBezTo>
                <a:cubicBezTo>
                  <a:pt x="8" y="9"/>
                  <a:pt x="8" y="9"/>
                  <a:pt x="8" y="10"/>
                </a:cubicBezTo>
                <a:cubicBezTo>
                  <a:pt x="8" y="10"/>
                  <a:pt x="9" y="11"/>
                  <a:pt x="10" y="12"/>
                </a:cubicBezTo>
                <a:cubicBezTo>
                  <a:pt x="12" y="13"/>
                  <a:pt x="13" y="15"/>
                  <a:pt x="13" y="15"/>
                </a:cubicBezTo>
                <a:cubicBezTo>
                  <a:pt x="14" y="15"/>
                  <a:pt x="15" y="15"/>
                  <a:pt x="16" y="16"/>
                </a:cubicBezTo>
                <a:cubicBezTo>
                  <a:pt x="16" y="16"/>
                  <a:pt x="17" y="17"/>
                  <a:pt x="17" y="17"/>
                </a:cubicBezTo>
                <a:cubicBezTo>
                  <a:pt x="18" y="18"/>
                  <a:pt x="18" y="18"/>
                  <a:pt x="19" y="18"/>
                </a:cubicBezTo>
                <a:cubicBezTo>
                  <a:pt x="20" y="19"/>
                  <a:pt x="19" y="19"/>
                  <a:pt x="20" y="20"/>
                </a:cubicBezTo>
                <a:cubicBezTo>
                  <a:pt x="20" y="20"/>
                  <a:pt x="20" y="22"/>
                  <a:pt x="20" y="22"/>
                </a:cubicBezTo>
                <a:cubicBezTo>
                  <a:pt x="19" y="23"/>
                  <a:pt x="20" y="24"/>
                  <a:pt x="20" y="24"/>
                </a:cubicBezTo>
                <a:cubicBezTo>
                  <a:pt x="20" y="24"/>
                  <a:pt x="21" y="23"/>
                  <a:pt x="21" y="22"/>
                </a:cubicBezTo>
                <a:cubicBezTo>
                  <a:pt x="21" y="21"/>
                  <a:pt x="22" y="21"/>
                  <a:pt x="22" y="21"/>
                </a:cubicBezTo>
                <a:cubicBezTo>
                  <a:pt x="23" y="20"/>
                  <a:pt x="22" y="20"/>
                  <a:pt x="21" y="19"/>
                </a:cubicBezTo>
                <a:cubicBezTo>
                  <a:pt x="21" y="18"/>
                  <a:pt x="22" y="17"/>
                  <a:pt x="23" y="18"/>
                </a:cubicBezTo>
                <a:cubicBezTo>
                  <a:pt x="25" y="19"/>
                  <a:pt x="25" y="19"/>
                  <a:pt x="25" y="18"/>
                </a:cubicBezTo>
                <a:cubicBezTo>
                  <a:pt x="25" y="17"/>
                  <a:pt x="22" y="16"/>
                  <a:pt x="21"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405"/>
          <p:cNvSpPr>
            <a:spLocks/>
          </p:cNvSpPr>
          <p:nvPr/>
        </p:nvSpPr>
        <p:spPr bwMode="auto">
          <a:xfrm>
            <a:off x="2394583" y="2782046"/>
            <a:ext cx="14299" cy="14299"/>
          </a:xfrm>
          <a:custGeom>
            <a:avLst/>
            <a:gdLst>
              <a:gd name="T0" fmla="*/ 1 w 3"/>
              <a:gd name="T1" fmla="*/ 0 h 3"/>
              <a:gd name="T2" fmla="*/ 0 w 3"/>
              <a:gd name="T3" fmla="*/ 1 h 3"/>
              <a:gd name="T4" fmla="*/ 0 w 3"/>
              <a:gd name="T5" fmla="*/ 2 h 3"/>
              <a:gd name="T6" fmla="*/ 2 w 3"/>
              <a:gd name="T7" fmla="*/ 3 h 3"/>
              <a:gd name="T8" fmla="*/ 2 w 3"/>
              <a:gd name="T9" fmla="*/ 3 h 3"/>
              <a:gd name="T10" fmla="*/ 3 w 3"/>
              <a:gd name="T11" fmla="*/ 2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0"/>
                  <a:pt x="0" y="1"/>
                  <a:pt x="0" y="1"/>
                </a:cubicBezTo>
                <a:cubicBezTo>
                  <a:pt x="0" y="1"/>
                  <a:pt x="0" y="2"/>
                  <a:pt x="0" y="2"/>
                </a:cubicBezTo>
                <a:cubicBezTo>
                  <a:pt x="1" y="3"/>
                  <a:pt x="1" y="3"/>
                  <a:pt x="2" y="3"/>
                </a:cubicBezTo>
                <a:cubicBezTo>
                  <a:pt x="2" y="3"/>
                  <a:pt x="2" y="3"/>
                  <a:pt x="2" y="3"/>
                </a:cubicBezTo>
                <a:cubicBezTo>
                  <a:pt x="2" y="3"/>
                  <a:pt x="2" y="2"/>
                  <a:pt x="3" y="2"/>
                </a:cubicBezTo>
                <a:cubicBezTo>
                  <a:pt x="2" y="1"/>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406"/>
          <p:cNvSpPr>
            <a:spLocks/>
          </p:cNvSpPr>
          <p:nvPr/>
        </p:nvSpPr>
        <p:spPr bwMode="auto">
          <a:xfrm>
            <a:off x="2398158" y="2746297"/>
            <a:ext cx="42898" cy="50048"/>
          </a:xfrm>
          <a:custGeom>
            <a:avLst/>
            <a:gdLst>
              <a:gd name="T0" fmla="*/ 8 w 9"/>
              <a:gd name="T1" fmla="*/ 7 h 11"/>
              <a:gd name="T2" fmla="*/ 8 w 9"/>
              <a:gd name="T3" fmla="*/ 6 h 11"/>
              <a:gd name="T4" fmla="*/ 8 w 9"/>
              <a:gd name="T5" fmla="*/ 5 h 11"/>
              <a:gd name="T6" fmla="*/ 5 w 9"/>
              <a:gd name="T7" fmla="*/ 4 h 11"/>
              <a:gd name="T8" fmla="*/ 5 w 9"/>
              <a:gd name="T9" fmla="*/ 2 h 11"/>
              <a:gd name="T10" fmla="*/ 4 w 9"/>
              <a:gd name="T11" fmla="*/ 2 h 11"/>
              <a:gd name="T12" fmla="*/ 4 w 9"/>
              <a:gd name="T13" fmla="*/ 0 h 11"/>
              <a:gd name="T14" fmla="*/ 4 w 9"/>
              <a:gd name="T15" fmla="*/ 0 h 11"/>
              <a:gd name="T16" fmla="*/ 3 w 9"/>
              <a:gd name="T17" fmla="*/ 0 h 11"/>
              <a:gd name="T18" fmla="*/ 2 w 9"/>
              <a:gd name="T19" fmla="*/ 0 h 11"/>
              <a:gd name="T20" fmla="*/ 0 w 9"/>
              <a:gd name="T21" fmla="*/ 1 h 11"/>
              <a:gd name="T22" fmla="*/ 0 w 9"/>
              <a:gd name="T23" fmla="*/ 2 h 11"/>
              <a:gd name="T24" fmla="*/ 1 w 9"/>
              <a:gd name="T25" fmla="*/ 3 h 11"/>
              <a:gd name="T26" fmla="*/ 1 w 9"/>
              <a:gd name="T27" fmla="*/ 7 h 11"/>
              <a:gd name="T28" fmla="*/ 0 w 9"/>
              <a:gd name="T29" fmla="*/ 8 h 11"/>
              <a:gd name="T30" fmla="*/ 2 w 9"/>
              <a:gd name="T31" fmla="*/ 10 h 11"/>
              <a:gd name="T32" fmla="*/ 2 w 9"/>
              <a:gd name="T33" fmla="*/ 10 h 11"/>
              <a:gd name="T34" fmla="*/ 4 w 9"/>
              <a:gd name="T35" fmla="*/ 11 h 11"/>
              <a:gd name="T36" fmla="*/ 8 w 9"/>
              <a:gd name="T37" fmla="*/ 10 h 11"/>
              <a:gd name="T38" fmla="*/ 8 w 9"/>
              <a:gd name="T39" fmla="*/ 10 h 11"/>
              <a:gd name="T40" fmla="*/ 9 w 9"/>
              <a:gd name="T41" fmla="*/ 9 h 11"/>
              <a:gd name="T42" fmla="*/ 8 w 9"/>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1">
                <a:moveTo>
                  <a:pt x="8" y="7"/>
                </a:moveTo>
                <a:cubicBezTo>
                  <a:pt x="7" y="7"/>
                  <a:pt x="7" y="6"/>
                  <a:pt x="8" y="6"/>
                </a:cubicBezTo>
                <a:cubicBezTo>
                  <a:pt x="8" y="5"/>
                  <a:pt x="8" y="5"/>
                  <a:pt x="8" y="5"/>
                </a:cubicBezTo>
                <a:cubicBezTo>
                  <a:pt x="8" y="4"/>
                  <a:pt x="6" y="4"/>
                  <a:pt x="5" y="4"/>
                </a:cubicBezTo>
                <a:cubicBezTo>
                  <a:pt x="5" y="4"/>
                  <a:pt x="6" y="2"/>
                  <a:pt x="5" y="2"/>
                </a:cubicBezTo>
                <a:cubicBezTo>
                  <a:pt x="5" y="2"/>
                  <a:pt x="4" y="2"/>
                  <a:pt x="4" y="2"/>
                </a:cubicBezTo>
                <a:cubicBezTo>
                  <a:pt x="4" y="1"/>
                  <a:pt x="4" y="1"/>
                  <a:pt x="4" y="0"/>
                </a:cubicBezTo>
                <a:cubicBezTo>
                  <a:pt x="4" y="0"/>
                  <a:pt x="4" y="0"/>
                  <a:pt x="4" y="0"/>
                </a:cubicBezTo>
                <a:cubicBezTo>
                  <a:pt x="3" y="0"/>
                  <a:pt x="3" y="0"/>
                  <a:pt x="3" y="0"/>
                </a:cubicBezTo>
                <a:cubicBezTo>
                  <a:pt x="3" y="0"/>
                  <a:pt x="2" y="0"/>
                  <a:pt x="2" y="0"/>
                </a:cubicBezTo>
                <a:cubicBezTo>
                  <a:pt x="2" y="0"/>
                  <a:pt x="1" y="0"/>
                  <a:pt x="0" y="1"/>
                </a:cubicBezTo>
                <a:cubicBezTo>
                  <a:pt x="0" y="1"/>
                  <a:pt x="0" y="2"/>
                  <a:pt x="0" y="2"/>
                </a:cubicBezTo>
                <a:cubicBezTo>
                  <a:pt x="1" y="2"/>
                  <a:pt x="1" y="3"/>
                  <a:pt x="1" y="3"/>
                </a:cubicBezTo>
                <a:cubicBezTo>
                  <a:pt x="1" y="4"/>
                  <a:pt x="1" y="7"/>
                  <a:pt x="1" y="7"/>
                </a:cubicBezTo>
                <a:cubicBezTo>
                  <a:pt x="1" y="7"/>
                  <a:pt x="0" y="7"/>
                  <a:pt x="0" y="8"/>
                </a:cubicBezTo>
                <a:cubicBezTo>
                  <a:pt x="1" y="8"/>
                  <a:pt x="1" y="9"/>
                  <a:pt x="2" y="10"/>
                </a:cubicBezTo>
                <a:cubicBezTo>
                  <a:pt x="2" y="10"/>
                  <a:pt x="2" y="10"/>
                  <a:pt x="2" y="10"/>
                </a:cubicBezTo>
                <a:cubicBezTo>
                  <a:pt x="2" y="10"/>
                  <a:pt x="4" y="11"/>
                  <a:pt x="4" y="11"/>
                </a:cubicBezTo>
                <a:cubicBezTo>
                  <a:pt x="4" y="11"/>
                  <a:pt x="6" y="10"/>
                  <a:pt x="8" y="10"/>
                </a:cubicBezTo>
                <a:cubicBezTo>
                  <a:pt x="8" y="10"/>
                  <a:pt x="8" y="10"/>
                  <a:pt x="8" y="10"/>
                </a:cubicBezTo>
                <a:cubicBezTo>
                  <a:pt x="8" y="9"/>
                  <a:pt x="8" y="9"/>
                  <a:pt x="9" y="9"/>
                </a:cubicBezTo>
                <a:cubicBezTo>
                  <a:pt x="9" y="9"/>
                  <a:pt x="8" y="8"/>
                  <a:pt x="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407"/>
          <p:cNvSpPr>
            <a:spLocks/>
          </p:cNvSpPr>
          <p:nvPr/>
        </p:nvSpPr>
        <p:spPr bwMode="auto">
          <a:xfrm>
            <a:off x="3431289" y="1738190"/>
            <a:ext cx="607800" cy="722119"/>
          </a:xfrm>
          <a:custGeom>
            <a:avLst/>
            <a:gdLst>
              <a:gd name="T0" fmla="*/ 0 w 300"/>
              <a:gd name="T1" fmla="*/ 202 h 202"/>
              <a:gd name="T2" fmla="*/ 0 w 300"/>
              <a:gd name="T3" fmla="*/ 0 h 202"/>
              <a:gd name="T4" fmla="*/ 300 w 300"/>
              <a:gd name="T5" fmla="*/ 0 h 202"/>
            </a:gdLst>
            <a:ahLst/>
            <a:cxnLst>
              <a:cxn ang="0">
                <a:pos x="T0" y="T1"/>
              </a:cxn>
              <a:cxn ang="0">
                <a:pos x="T2" y="T3"/>
              </a:cxn>
              <a:cxn ang="0">
                <a:pos x="T4" y="T5"/>
              </a:cxn>
            </a:cxnLst>
            <a:rect l="0" t="0" r="r" b="b"/>
            <a:pathLst>
              <a:path w="300" h="202">
                <a:moveTo>
                  <a:pt x="0" y="202"/>
                </a:moveTo>
                <a:lnTo>
                  <a:pt x="0" y="0"/>
                </a:lnTo>
                <a:lnTo>
                  <a:pt x="30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7" name="Group 196"/>
          <p:cNvGrpSpPr/>
          <p:nvPr/>
        </p:nvGrpSpPr>
        <p:grpSpPr>
          <a:xfrm>
            <a:off x="3349067" y="2374513"/>
            <a:ext cx="164443" cy="164443"/>
            <a:chOff x="3349067" y="2374513"/>
            <a:chExt cx="164443" cy="164443"/>
          </a:xfrm>
        </p:grpSpPr>
        <p:sp>
          <p:nvSpPr>
            <p:cNvPr id="181" name="Oval 408"/>
            <p:cNvSpPr>
              <a:spLocks noChangeArrowheads="1"/>
            </p:cNvSpPr>
            <p:nvPr/>
          </p:nvSpPr>
          <p:spPr bwMode="auto">
            <a:xfrm>
              <a:off x="3359792" y="2381663"/>
              <a:ext cx="142994" cy="14656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3" name="Freeform 410"/>
          <p:cNvSpPr>
            <a:spLocks/>
          </p:cNvSpPr>
          <p:nvPr/>
        </p:nvSpPr>
        <p:spPr bwMode="auto">
          <a:xfrm>
            <a:off x="1676038" y="3436243"/>
            <a:ext cx="1068879" cy="722119"/>
          </a:xfrm>
          <a:custGeom>
            <a:avLst/>
            <a:gdLst>
              <a:gd name="T0" fmla="*/ 0 w 299"/>
              <a:gd name="T1" fmla="*/ 0 h 202"/>
              <a:gd name="T2" fmla="*/ 0 w 299"/>
              <a:gd name="T3" fmla="*/ 202 h 202"/>
              <a:gd name="T4" fmla="*/ 299 w 299"/>
              <a:gd name="T5" fmla="*/ 202 h 202"/>
            </a:gdLst>
            <a:ahLst/>
            <a:cxnLst>
              <a:cxn ang="0">
                <a:pos x="T0" y="T1"/>
              </a:cxn>
              <a:cxn ang="0">
                <a:pos x="T2" y="T3"/>
              </a:cxn>
              <a:cxn ang="0">
                <a:pos x="T4" y="T5"/>
              </a:cxn>
            </a:cxnLst>
            <a:rect l="0" t="0" r="r" b="b"/>
            <a:pathLst>
              <a:path w="299" h="202">
                <a:moveTo>
                  <a:pt x="0" y="0"/>
                </a:moveTo>
                <a:lnTo>
                  <a:pt x="0" y="202"/>
                </a:lnTo>
                <a:lnTo>
                  <a:pt x="299" y="202"/>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411"/>
          <p:cNvSpPr>
            <a:spLocks noChangeArrowheads="1"/>
          </p:cNvSpPr>
          <p:nvPr/>
        </p:nvSpPr>
        <p:spPr bwMode="auto">
          <a:xfrm>
            <a:off x="1600967" y="3368321"/>
            <a:ext cx="146569" cy="142994"/>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412"/>
          <p:cNvSpPr>
            <a:spLocks noEditPoints="1"/>
          </p:cNvSpPr>
          <p:nvPr/>
        </p:nvSpPr>
        <p:spPr bwMode="auto">
          <a:xfrm>
            <a:off x="1593817" y="3357596"/>
            <a:ext cx="164443" cy="164443"/>
          </a:xfrm>
          <a:custGeom>
            <a:avLst/>
            <a:gdLst>
              <a:gd name="T0" fmla="*/ 0 w 34"/>
              <a:gd name="T1" fmla="*/ 17 h 34"/>
              <a:gd name="T2" fmla="*/ 17 w 34"/>
              <a:gd name="T3" fmla="*/ 34 h 34"/>
              <a:gd name="T4" fmla="*/ 34 w 34"/>
              <a:gd name="T5" fmla="*/ 17 h 34"/>
              <a:gd name="T6" fmla="*/ 17 w 34"/>
              <a:gd name="T7" fmla="*/ 0 h 34"/>
              <a:gd name="T8" fmla="*/ 0 w 34"/>
              <a:gd name="T9" fmla="*/ 17 h 34"/>
              <a:gd name="T10" fmla="*/ 0 w 34"/>
              <a:gd name="T11" fmla="*/ 17 h 34"/>
              <a:gd name="T12" fmla="*/ 30 w 34"/>
              <a:gd name="T13" fmla="*/ 17 h 34"/>
              <a:gd name="T14" fmla="*/ 17 w 34"/>
              <a:gd name="T15" fmla="*/ 30 h 34"/>
              <a:gd name="T16" fmla="*/ 4 w 34"/>
              <a:gd name="T17" fmla="*/ 17 h 34"/>
              <a:gd name="T18" fmla="*/ 17 w 34"/>
              <a:gd name="T19" fmla="*/ 4 h 34"/>
              <a:gd name="T20" fmla="*/ 30 w 34"/>
              <a:gd name="T21" fmla="*/ 17 h 34"/>
              <a:gd name="T22" fmla="*/ 30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0" y="17"/>
                </a:moveTo>
                <a:cubicBezTo>
                  <a:pt x="0" y="26"/>
                  <a:pt x="8" y="34"/>
                  <a:pt x="17" y="34"/>
                </a:cubicBezTo>
                <a:cubicBezTo>
                  <a:pt x="26" y="34"/>
                  <a:pt x="34" y="26"/>
                  <a:pt x="34" y="17"/>
                </a:cubicBezTo>
                <a:cubicBezTo>
                  <a:pt x="34" y="8"/>
                  <a:pt x="26" y="0"/>
                  <a:pt x="17" y="0"/>
                </a:cubicBezTo>
                <a:cubicBezTo>
                  <a:pt x="8" y="0"/>
                  <a:pt x="0" y="8"/>
                  <a:pt x="0" y="17"/>
                </a:cubicBezTo>
                <a:cubicBezTo>
                  <a:pt x="0" y="26"/>
                  <a:pt x="0" y="8"/>
                  <a:pt x="0" y="17"/>
                </a:cubicBezTo>
                <a:moveTo>
                  <a:pt x="30" y="17"/>
                </a:moveTo>
                <a:cubicBezTo>
                  <a:pt x="30" y="24"/>
                  <a:pt x="24" y="30"/>
                  <a:pt x="17" y="30"/>
                </a:cubicBezTo>
                <a:cubicBezTo>
                  <a:pt x="10" y="30"/>
                  <a:pt x="4" y="24"/>
                  <a:pt x="4" y="17"/>
                </a:cubicBezTo>
                <a:cubicBezTo>
                  <a:pt x="4" y="10"/>
                  <a:pt x="10" y="4"/>
                  <a:pt x="17" y="4"/>
                </a:cubicBezTo>
                <a:cubicBezTo>
                  <a:pt x="24" y="4"/>
                  <a:pt x="30" y="10"/>
                  <a:pt x="30" y="17"/>
                </a:cubicBezTo>
                <a:cubicBezTo>
                  <a:pt x="30" y="24"/>
                  <a:pt x="30" y="10"/>
                  <a:pt x="30"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413"/>
          <p:cNvSpPr>
            <a:spLocks/>
          </p:cNvSpPr>
          <p:nvPr/>
        </p:nvSpPr>
        <p:spPr bwMode="auto">
          <a:xfrm>
            <a:off x="768027" y="1505825"/>
            <a:ext cx="1004532" cy="625598"/>
          </a:xfrm>
          <a:custGeom>
            <a:avLst/>
            <a:gdLst>
              <a:gd name="T0" fmla="*/ 281 w 281"/>
              <a:gd name="T1" fmla="*/ 201 h 201"/>
              <a:gd name="T2" fmla="*/ 281 w 281"/>
              <a:gd name="T3" fmla="*/ 0 h 201"/>
              <a:gd name="T4" fmla="*/ 0 w 281"/>
              <a:gd name="T5" fmla="*/ 0 h 201"/>
            </a:gdLst>
            <a:ahLst/>
            <a:cxnLst>
              <a:cxn ang="0">
                <a:pos x="T0" y="T1"/>
              </a:cxn>
              <a:cxn ang="0">
                <a:pos x="T2" y="T3"/>
              </a:cxn>
              <a:cxn ang="0">
                <a:pos x="T4" y="T5"/>
              </a:cxn>
            </a:cxnLst>
            <a:rect l="0" t="0" r="r" b="b"/>
            <a:pathLst>
              <a:path w="281" h="201">
                <a:moveTo>
                  <a:pt x="281" y="201"/>
                </a:moveTo>
                <a:lnTo>
                  <a:pt x="281" y="0"/>
                </a:lnTo>
                <a:lnTo>
                  <a:pt x="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414"/>
          <p:cNvSpPr>
            <a:spLocks noChangeArrowheads="1"/>
          </p:cNvSpPr>
          <p:nvPr/>
        </p:nvSpPr>
        <p:spPr bwMode="auto">
          <a:xfrm>
            <a:off x="1697488" y="2056352"/>
            <a:ext cx="146569" cy="142994"/>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415"/>
          <p:cNvSpPr>
            <a:spLocks noEditPoints="1"/>
          </p:cNvSpPr>
          <p:nvPr/>
        </p:nvSpPr>
        <p:spPr bwMode="auto">
          <a:xfrm>
            <a:off x="1690338" y="2045627"/>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8"/>
                  <a:pt x="26" y="0"/>
                  <a:pt x="17" y="0"/>
                </a:cubicBezTo>
                <a:cubicBezTo>
                  <a:pt x="7" y="0"/>
                  <a:pt x="0" y="8"/>
                  <a:pt x="0" y="17"/>
                </a:cubicBezTo>
                <a:cubicBezTo>
                  <a:pt x="0" y="27"/>
                  <a:pt x="7" y="34"/>
                  <a:pt x="17" y="34"/>
                </a:cubicBezTo>
                <a:cubicBezTo>
                  <a:pt x="26" y="34"/>
                  <a:pt x="34" y="27"/>
                  <a:pt x="34" y="17"/>
                </a:cubicBezTo>
                <a:cubicBezTo>
                  <a:pt x="34" y="8"/>
                  <a:pt x="34" y="27"/>
                  <a:pt x="34" y="17"/>
                </a:cubicBezTo>
                <a:moveTo>
                  <a:pt x="4" y="17"/>
                </a:moveTo>
                <a:cubicBezTo>
                  <a:pt x="4" y="10"/>
                  <a:pt x="9" y="4"/>
                  <a:pt x="17" y="4"/>
                </a:cubicBezTo>
                <a:cubicBezTo>
                  <a:pt x="24" y="4"/>
                  <a:pt x="30" y="10"/>
                  <a:pt x="30" y="17"/>
                </a:cubicBezTo>
                <a:cubicBezTo>
                  <a:pt x="30" y="24"/>
                  <a:pt x="24" y="30"/>
                  <a:pt x="17" y="30"/>
                </a:cubicBezTo>
                <a:cubicBezTo>
                  <a:pt x="9"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Text Placeholder 2"/>
          <p:cNvSpPr txBox="1">
            <a:spLocks/>
          </p:cNvSpPr>
          <p:nvPr/>
        </p:nvSpPr>
        <p:spPr>
          <a:xfrm>
            <a:off x="4159037" y="152320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2</a:t>
            </a:r>
          </a:p>
          <a:p>
            <a:pPr>
              <a:lnSpc>
                <a:spcPct val="100000"/>
              </a:lnSpc>
              <a:spcAft>
                <a:spcPts val="0"/>
              </a:spcAft>
              <a:buClr>
                <a:schemeClr val="tx2"/>
              </a:buClr>
            </a:pPr>
            <a:r>
              <a:rPr lang="en-US" sz="1200" dirty="0">
                <a:solidFill>
                  <a:schemeClr val="bg1"/>
                </a:solidFill>
              </a:rPr>
              <a:t>Lorem ipsum</a:t>
            </a:r>
          </a:p>
        </p:txBody>
      </p:sp>
      <p:sp>
        <p:nvSpPr>
          <p:cNvPr id="191" name="Text Placeholder 2"/>
          <p:cNvSpPr txBox="1">
            <a:spLocks/>
          </p:cNvSpPr>
          <p:nvPr/>
        </p:nvSpPr>
        <p:spPr>
          <a:xfrm>
            <a:off x="396243" y="140068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1</a:t>
            </a:r>
          </a:p>
          <a:p>
            <a:pPr>
              <a:lnSpc>
                <a:spcPct val="100000"/>
              </a:lnSpc>
              <a:spcAft>
                <a:spcPts val="0"/>
              </a:spcAft>
              <a:buClr>
                <a:schemeClr val="tx2"/>
              </a:buClr>
            </a:pPr>
            <a:r>
              <a:rPr lang="en-US" sz="1200" dirty="0">
                <a:solidFill>
                  <a:schemeClr val="bg1"/>
                </a:solidFill>
              </a:rPr>
              <a:t>Lorem ipsum</a:t>
            </a:r>
          </a:p>
        </p:txBody>
      </p:sp>
      <p:sp>
        <p:nvSpPr>
          <p:cNvPr id="192" name="Text Placeholder 2"/>
          <p:cNvSpPr txBox="1">
            <a:spLocks/>
          </p:cNvSpPr>
          <p:nvPr/>
        </p:nvSpPr>
        <p:spPr>
          <a:xfrm>
            <a:off x="2783373" y="3949410"/>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3</a:t>
            </a:r>
          </a:p>
          <a:p>
            <a:pPr>
              <a:lnSpc>
                <a:spcPct val="100000"/>
              </a:lnSpc>
              <a:spcAft>
                <a:spcPts val="0"/>
              </a:spcAft>
              <a:buClr>
                <a:schemeClr val="tx2"/>
              </a:buClr>
            </a:pPr>
            <a:r>
              <a:rPr lang="en-US" sz="1200" dirty="0">
                <a:solidFill>
                  <a:schemeClr val="bg1"/>
                </a:solidFill>
              </a:rPr>
              <a:t>Lorem ipsum</a:t>
            </a:r>
          </a:p>
        </p:txBody>
      </p:sp>
      <p:grpSp>
        <p:nvGrpSpPr>
          <p:cNvPr id="424" name="Group 423"/>
          <p:cNvGrpSpPr/>
          <p:nvPr/>
        </p:nvGrpSpPr>
        <p:grpSpPr>
          <a:xfrm>
            <a:off x="4745781" y="2184738"/>
            <a:ext cx="2298111" cy="1802338"/>
            <a:chOff x="4525192" y="2175954"/>
            <a:chExt cx="2298111" cy="1802338"/>
          </a:xfrm>
        </p:grpSpPr>
        <p:sp>
          <p:nvSpPr>
            <p:cNvPr id="189" name="Text Placeholder 2"/>
            <p:cNvSpPr txBox="1">
              <a:spLocks/>
            </p:cNvSpPr>
            <p:nvPr/>
          </p:nvSpPr>
          <p:spPr>
            <a:xfrm>
              <a:off x="4836365" y="2175954"/>
              <a:ext cx="1881765"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005A82"/>
                  </a:solidFill>
                </a:rPr>
                <a:t>Lorem ipsum </a:t>
              </a:r>
              <a:r>
                <a:rPr lang="en-US" sz="900" dirty="0">
                  <a:solidFill>
                    <a:schemeClr val="bg1"/>
                  </a:solidFill>
                </a:rPr>
                <a:t>dolor sit amet, consectetur adipiscing elit. Nulla lorem, ondimentum vehicula at. </a:t>
              </a:r>
            </a:p>
          </p:txBody>
        </p:sp>
        <p:sp>
          <p:nvSpPr>
            <p:cNvPr id="193" name="Text Placeholder 2"/>
            <p:cNvSpPr txBox="1">
              <a:spLocks/>
            </p:cNvSpPr>
            <p:nvPr/>
          </p:nvSpPr>
          <p:spPr>
            <a:xfrm>
              <a:off x="4836364" y="2902394"/>
              <a:ext cx="1971551"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893713"/>
                  </a:solidFill>
                </a:rPr>
                <a:t>Lorem ipsum </a:t>
              </a:r>
              <a:r>
                <a:rPr lang="en-US" sz="900" dirty="0">
                  <a:solidFill>
                    <a:schemeClr val="bg1"/>
                  </a:solidFill>
                </a:rPr>
                <a:t>dolor sit amet, consectetur adipiscing elit. Nulla lorem, ondimentum vehicula at. </a:t>
              </a:r>
            </a:p>
          </p:txBody>
        </p:sp>
        <p:sp>
          <p:nvSpPr>
            <p:cNvPr id="194" name="Text Placeholder 2"/>
            <p:cNvSpPr txBox="1">
              <a:spLocks/>
            </p:cNvSpPr>
            <p:nvPr/>
          </p:nvSpPr>
          <p:spPr>
            <a:xfrm>
              <a:off x="4836365" y="3562794"/>
              <a:ext cx="1986938"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chemeClr val="accent4"/>
                  </a:solidFill>
                </a:rPr>
                <a:t>Lorem ipsum </a:t>
              </a:r>
              <a:r>
                <a:rPr lang="en-US" sz="900" dirty="0">
                  <a:solidFill>
                    <a:schemeClr val="bg1"/>
                  </a:solidFill>
                </a:rPr>
                <a:t>dolor sit amet, consectetur adipiscing elit. Nulla lorem, ondimentum vehicula at. </a:t>
              </a:r>
            </a:p>
          </p:txBody>
        </p:sp>
        <p:grpSp>
          <p:nvGrpSpPr>
            <p:cNvPr id="198" name="Group 197"/>
            <p:cNvGrpSpPr/>
            <p:nvPr/>
          </p:nvGrpSpPr>
          <p:grpSpPr>
            <a:xfrm>
              <a:off x="4525192" y="2195913"/>
              <a:ext cx="164443" cy="164443"/>
              <a:chOff x="3349067" y="2374513"/>
              <a:chExt cx="164443" cy="164443"/>
            </a:xfrm>
          </p:grpSpPr>
          <p:sp>
            <p:nvSpPr>
              <p:cNvPr id="199" name="Oval 408"/>
              <p:cNvSpPr>
                <a:spLocks noChangeArrowheads="1"/>
              </p:cNvSpPr>
              <p:nvPr/>
            </p:nvSpPr>
            <p:spPr bwMode="auto">
              <a:xfrm>
                <a:off x="3359792" y="2381663"/>
                <a:ext cx="142994" cy="146569"/>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1" name="Group 200"/>
            <p:cNvGrpSpPr/>
            <p:nvPr/>
          </p:nvGrpSpPr>
          <p:grpSpPr>
            <a:xfrm>
              <a:off x="4525192" y="2907113"/>
              <a:ext cx="164443" cy="164443"/>
              <a:chOff x="3349067" y="2374513"/>
              <a:chExt cx="164443" cy="164443"/>
            </a:xfrm>
          </p:grpSpPr>
          <p:sp>
            <p:nvSpPr>
              <p:cNvPr id="202" name="Oval 408"/>
              <p:cNvSpPr>
                <a:spLocks noChangeArrowheads="1"/>
              </p:cNvSpPr>
              <p:nvPr/>
            </p:nvSpPr>
            <p:spPr bwMode="auto">
              <a:xfrm>
                <a:off x="3359792" y="2381663"/>
                <a:ext cx="142994" cy="146569"/>
              </a:xfrm>
              <a:prstGeom prst="ellipse">
                <a:avLst/>
              </a:pr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4" name="Group 203"/>
            <p:cNvGrpSpPr/>
            <p:nvPr/>
          </p:nvGrpSpPr>
          <p:grpSpPr>
            <a:xfrm>
              <a:off x="4525192" y="3582753"/>
              <a:ext cx="164443" cy="164443"/>
              <a:chOff x="3349067" y="2374513"/>
              <a:chExt cx="164443" cy="164443"/>
            </a:xfrm>
          </p:grpSpPr>
          <p:sp>
            <p:nvSpPr>
              <p:cNvPr id="205" name="Oval 408"/>
              <p:cNvSpPr>
                <a:spLocks noChangeArrowheads="1"/>
              </p:cNvSpPr>
              <p:nvPr/>
            </p:nvSpPr>
            <p:spPr bwMode="auto">
              <a:xfrm>
                <a:off x="3359792" y="2381663"/>
                <a:ext cx="142994" cy="14656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35" name="Group 434"/>
          <p:cNvGrpSpPr/>
          <p:nvPr/>
        </p:nvGrpSpPr>
        <p:grpSpPr>
          <a:xfrm>
            <a:off x="9132889" y="2329097"/>
            <a:ext cx="2422652" cy="1198944"/>
            <a:chOff x="9132889" y="2532297"/>
            <a:chExt cx="2422652" cy="1198944"/>
          </a:xfrm>
        </p:grpSpPr>
        <p:sp>
          <p:nvSpPr>
            <p:cNvPr id="421" name="Text Placeholder 2"/>
            <p:cNvSpPr txBox="1">
              <a:spLocks/>
            </p:cNvSpPr>
            <p:nvPr/>
          </p:nvSpPr>
          <p:spPr>
            <a:xfrm>
              <a:off x="10485929" y="259034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sp>
          <p:nvSpPr>
            <p:cNvPr id="219" name="Freeform 419"/>
            <p:cNvSpPr>
              <a:spLocks/>
            </p:cNvSpPr>
            <p:nvPr/>
          </p:nvSpPr>
          <p:spPr bwMode="auto">
            <a:xfrm>
              <a:off x="9132889" y="2699366"/>
              <a:ext cx="1677988" cy="841375"/>
            </a:xfrm>
            <a:custGeom>
              <a:avLst/>
              <a:gdLst>
                <a:gd name="T0" fmla="*/ 399 w 399"/>
                <a:gd name="T1" fmla="*/ 200 h 200"/>
                <a:gd name="T2" fmla="*/ 383 w 399"/>
                <a:gd name="T3" fmla="*/ 200 h 200"/>
                <a:gd name="T4" fmla="*/ 199 w 399"/>
                <a:gd name="T5" fmla="*/ 16 h 200"/>
                <a:gd name="T6" fmla="*/ 16 w 399"/>
                <a:gd name="T7" fmla="*/ 200 h 200"/>
                <a:gd name="T8" fmla="*/ 0 w 399"/>
                <a:gd name="T9" fmla="*/ 200 h 200"/>
                <a:gd name="T10" fmla="*/ 199 w 399"/>
                <a:gd name="T11" fmla="*/ 0 h 200"/>
                <a:gd name="T12" fmla="*/ 399 w 39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99" h="200">
                  <a:moveTo>
                    <a:pt x="399" y="200"/>
                  </a:moveTo>
                  <a:cubicBezTo>
                    <a:pt x="383" y="200"/>
                    <a:pt x="383" y="200"/>
                    <a:pt x="383" y="200"/>
                  </a:cubicBezTo>
                  <a:cubicBezTo>
                    <a:pt x="383" y="98"/>
                    <a:pt x="301" y="16"/>
                    <a:pt x="199" y="16"/>
                  </a:cubicBezTo>
                  <a:cubicBezTo>
                    <a:pt x="98" y="16"/>
                    <a:pt x="16" y="98"/>
                    <a:pt x="16" y="200"/>
                  </a:cubicBezTo>
                  <a:cubicBezTo>
                    <a:pt x="0" y="200"/>
                    <a:pt x="0" y="200"/>
                    <a:pt x="0" y="200"/>
                  </a:cubicBezTo>
                  <a:cubicBezTo>
                    <a:pt x="0" y="90"/>
                    <a:pt x="89" y="0"/>
                    <a:pt x="199" y="0"/>
                  </a:cubicBezTo>
                  <a:cubicBezTo>
                    <a:pt x="309" y="0"/>
                    <a:pt x="399" y="90"/>
                    <a:pt x="399" y="200"/>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0" name="Freeform 420"/>
            <p:cNvSpPr>
              <a:spLocks/>
            </p:cNvSpPr>
            <p:nvPr/>
          </p:nvSpPr>
          <p:spPr bwMode="auto">
            <a:xfrm>
              <a:off x="9229726" y="2796203"/>
              <a:ext cx="1114425" cy="744538"/>
            </a:xfrm>
            <a:custGeom>
              <a:avLst/>
              <a:gdLst>
                <a:gd name="T0" fmla="*/ 16 w 265"/>
                <a:gd name="T1" fmla="*/ 177 h 177"/>
                <a:gd name="T2" fmla="*/ 0 w 265"/>
                <a:gd name="T3" fmla="*/ 177 h 177"/>
                <a:gd name="T4" fmla="*/ 176 w 265"/>
                <a:gd name="T5" fmla="*/ 0 h 177"/>
                <a:gd name="T6" fmla="*/ 265 w 265"/>
                <a:gd name="T7" fmla="*/ 24 h 177"/>
                <a:gd name="T8" fmla="*/ 257 w 265"/>
                <a:gd name="T9" fmla="*/ 38 h 177"/>
                <a:gd name="T10" fmla="*/ 176 w 265"/>
                <a:gd name="T11" fmla="*/ 16 h 177"/>
                <a:gd name="T12" fmla="*/ 16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16" y="177"/>
                  </a:moveTo>
                  <a:cubicBezTo>
                    <a:pt x="0" y="177"/>
                    <a:pt x="0" y="177"/>
                    <a:pt x="0" y="177"/>
                  </a:cubicBezTo>
                  <a:cubicBezTo>
                    <a:pt x="0" y="79"/>
                    <a:pt x="79" y="0"/>
                    <a:pt x="176" y="0"/>
                  </a:cubicBezTo>
                  <a:cubicBezTo>
                    <a:pt x="207" y="0"/>
                    <a:pt x="238" y="8"/>
                    <a:pt x="265" y="24"/>
                  </a:cubicBezTo>
                  <a:cubicBezTo>
                    <a:pt x="257" y="38"/>
                    <a:pt x="257" y="38"/>
                    <a:pt x="257" y="38"/>
                  </a:cubicBezTo>
                  <a:cubicBezTo>
                    <a:pt x="232" y="23"/>
                    <a:pt x="205" y="16"/>
                    <a:pt x="176" y="16"/>
                  </a:cubicBezTo>
                  <a:cubicBezTo>
                    <a:pt x="88" y="16"/>
                    <a:pt x="16" y="88"/>
                    <a:pt x="16"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1" name="Freeform 421"/>
            <p:cNvSpPr>
              <a:spLocks/>
            </p:cNvSpPr>
            <p:nvPr/>
          </p:nvSpPr>
          <p:spPr bwMode="auto">
            <a:xfrm>
              <a:off x="9645651" y="2893041"/>
              <a:ext cx="971550" cy="647700"/>
            </a:xfrm>
            <a:custGeom>
              <a:avLst/>
              <a:gdLst>
                <a:gd name="T0" fmla="*/ 231 w 231"/>
                <a:gd name="T1" fmla="*/ 154 h 154"/>
                <a:gd name="T2" fmla="*/ 215 w 231"/>
                <a:gd name="T3" fmla="*/ 154 h 154"/>
                <a:gd name="T4" fmla="*/ 77 w 231"/>
                <a:gd name="T5" fmla="*/ 16 h 154"/>
                <a:gd name="T6" fmla="*/ 8 w 231"/>
                <a:gd name="T7" fmla="*/ 34 h 154"/>
                <a:gd name="T8" fmla="*/ 0 w 231"/>
                <a:gd name="T9" fmla="*/ 21 h 154"/>
                <a:gd name="T10" fmla="*/ 77 w 231"/>
                <a:gd name="T11" fmla="*/ 0 h 154"/>
                <a:gd name="T12" fmla="*/ 231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231" y="154"/>
                  </a:moveTo>
                  <a:cubicBezTo>
                    <a:pt x="215" y="154"/>
                    <a:pt x="215" y="154"/>
                    <a:pt x="215" y="154"/>
                  </a:cubicBezTo>
                  <a:cubicBezTo>
                    <a:pt x="215" y="78"/>
                    <a:pt x="153" y="16"/>
                    <a:pt x="77" y="16"/>
                  </a:cubicBezTo>
                  <a:cubicBezTo>
                    <a:pt x="53" y="16"/>
                    <a:pt x="29" y="22"/>
                    <a:pt x="8" y="34"/>
                  </a:cubicBezTo>
                  <a:cubicBezTo>
                    <a:pt x="0" y="21"/>
                    <a:pt x="0" y="21"/>
                    <a:pt x="0" y="21"/>
                  </a:cubicBezTo>
                  <a:cubicBezTo>
                    <a:pt x="24" y="7"/>
                    <a:pt x="50" y="0"/>
                    <a:pt x="77" y="0"/>
                  </a:cubicBezTo>
                  <a:cubicBezTo>
                    <a:pt x="162" y="0"/>
                    <a:pt x="231" y="69"/>
                    <a:pt x="231" y="1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2" name="Freeform 422"/>
            <p:cNvSpPr>
              <a:spLocks/>
            </p:cNvSpPr>
            <p:nvPr/>
          </p:nvSpPr>
          <p:spPr bwMode="auto">
            <a:xfrm>
              <a:off x="9418639" y="2989878"/>
              <a:ext cx="550863" cy="550863"/>
            </a:xfrm>
            <a:custGeom>
              <a:avLst/>
              <a:gdLst>
                <a:gd name="T0" fmla="*/ 16 w 131"/>
                <a:gd name="T1" fmla="*/ 131 h 131"/>
                <a:gd name="T2" fmla="*/ 0 w 131"/>
                <a:gd name="T3" fmla="*/ 131 h 131"/>
                <a:gd name="T4" fmla="*/ 131 w 131"/>
                <a:gd name="T5" fmla="*/ 0 h 131"/>
                <a:gd name="T6" fmla="*/ 131 w 131"/>
                <a:gd name="T7" fmla="*/ 16 h 131"/>
                <a:gd name="T8" fmla="*/ 16 w 131"/>
                <a:gd name="T9" fmla="*/ 131 h 131"/>
              </a:gdLst>
              <a:ahLst/>
              <a:cxnLst>
                <a:cxn ang="0">
                  <a:pos x="T0" y="T1"/>
                </a:cxn>
                <a:cxn ang="0">
                  <a:pos x="T2" y="T3"/>
                </a:cxn>
                <a:cxn ang="0">
                  <a:pos x="T4" y="T5"/>
                </a:cxn>
                <a:cxn ang="0">
                  <a:pos x="T6" y="T7"/>
                </a:cxn>
                <a:cxn ang="0">
                  <a:pos x="T8" y="T9"/>
                </a:cxn>
              </a:cxnLst>
              <a:rect l="0" t="0" r="r" b="b"/>
              <a:pathLst>
                <a:path w="131" h="131">
                  <a:moveTo>
                    <a:pt x="16" y="131"/>
                  </a:moveTo>
                  <a:cubicBezTo>
                    <a:pt x="0" y="131"/>
                    <a:pt x="0" y="131"/>
                    <a:pt x="0" y="131"/>
                  </a:cubicBezTo>
                  <a:cubicBezTo>
                    <a:pt x="0" y="59"/>
                    <a:pt x="59" y="0"/>
                    <a:pt x="131" y="0"/>
                  </a:cubicBezTo>
                  <a:cubicBezTo>
                    <a:pt x="131" y="16"/>
                    <a:pt x="131" y="16"/>
                    <a:pt x="131" y="16"/>
                  </a:cubicBezTo>
                  <a:cubicBezTo>
                    <a:pt x="68" y="16"/>
                    <a:pt x="16" y="67"/>
                    <a:pt x="16"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423"/>
            <p:cNvSpPr>
              <a:spLocks/>
            </p:cNvSpPr>
            <p:nvPr/>
          </p:nvSpPr>
          <p:spPr bwMode="auto">
            <a:xfrm>
              <a:off x="9515476" y="3086716"/>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7"/>
                    <a:pt x="159" y="16"/>
                    <a:pt x="108" y="16"/>
                  </a:cubicBezTo>
                  <a:cubicBezTo>
                    <a:pt x="58" y="16"/>
                    <a:pt x="16" y="57"/>
                    <a:pt x="16" y="108"/>
                  </a:cubicBezTo>
                  <a:cubicBezTo>
                    <a:pt x="0" y="108"/>
                    <a:pt x="0" y="108"/>
                    <a:pt x="0" y="108"/>
                  </a:cubicBezTo>
                  <a:cubicBezTo>
                    <a:pt x="0" y="48"/>
                    <a:pt x="49" y="0"/>
                    <a:pt x="108" y="0"/>
                  </a:cubicBezTo>
                  <a:cubicBezTo>
                    <a:pt x="168" y="0"/>
                    <a:pt x="216" y="48"/>
                    <a:pt x="216" y="108"/>
                  </a:cubicBezTo>
                  <a:close/>
                </a:path>
              </a:pathLst>
            </a:custGeom>
            <a:solidFill>
              <a:srgbClr val="165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424"/>
            <p:cNvSpPr>
              <a:spLocks/>
            </p:cNvSpPr>
            <p:nvPr/>
          </p:nvSpPr>
          <p:spPr bwMode="auto">
            <a:xfrm>
              <a:off x="9645651" y="3213716"/>
              <a:ext cx="652463" cy="327025"/>
            </a:xfrm>
            <a:custGeom>
              <a:avLst/>
              <a:gdLst>
                <a:gd name="T0" fmla="*/ 0 w 155"/>
                <a:gd name="T1" fmla="*/ 78 h 78"/>
                <a:gd name="T2" fmla="*/ 77 w 155"/>
                <a:gd name="T3" fmla="*/ 0 h 78"/>
                <a:gd name="T4" fmla="*/ 155 w 155"/>
                <a:gd name="T5" fmla="*/ 78 h 78"/>
              </a:gdLst>
              <a:ahLst/>
              <a:cxnLst>
                <a:cxn ang="0">
                  <a:pos x="T0" y="T1"/>
                </a:cxn>
                <a:cxn ang="0">
                  <a:pos x="T2" y="T3"/>
                </a:cxn>
                <a:cxn ang="0">
                  <a:pos x="T4" y="T5"/>
                </a:cxn>
              </a:cxnLst>
              <a:rect l="0" t="0" r="r" b="b"/>
              <a:pathLst>
                <a:path w="155" h="78">
                  <a:moveTo>
                    <a:pt x="0" y="78"/>
                  </a:moveTo>
                  <a:cubicBezTo>
                    <a:pt x="0" y="35"/>
                    <a:pt x="35" y="0"/>
                    <a:pt x="77" y="0"/>
                  </a:cubicBezTo>
                  <a:cubicBezTo>
                    <a:pt x="120" y="0"/>
                    <a:pt x="155" y="35"/>
                    <a:pt x="155" y="78"/>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465"/>
            <p:cNvSpPr>
              <a:spLocks/>
            </p:cNvSpPr>
            <p:nvPr/>
          </p:nvSpPr>
          <p:spPr bwMode="auto">
            <a:xfrm>
              <a:off x="9431339" y="3634403"/>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466"/>
            <p:cNvSpPr>
              <a:spLocks noEditPoints="1"/>
            </p:cNvSpPr>
            <p:nvPr/>
          </p:nvSpPr>
          <p:spPr bwMode="auto">
            <a:xfrm>
              <a:off x="9510714" y="3629641"/>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Freeform 467"/>
            <p:cNvSpPr>
              <a:spLocks noEditPoints="1"/>
            </p:cNvSpPr>
            <p:nvPr/>
          </p:nvSpPr>
          <p:spPr bwMode="auto">
            <a:xfrm>
              <a:off x="9628189" y="3634403"/>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468"/>
            <p:cNvSpPr>
              <a:spLocks/>
            </p:cNvSpPr>
            <p:nvPr/>
          </p:nvSpPr>
          <p:spPr bwMode="auto">
            <a:xfrm>
              <a:off x="9734551" y="3634403"/>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5 w 45"/>
                <a:gd name="T11" fmla="*/ 10 h 61"/>
                <a:gd name="T12" fmla="*/ 15 w 45"/>
                <a:gd name="T13" fmla="*/ 21 h 61"/>
                <a:gd name="T14" fmla="*/ 42 w 45"/>
                <a:gd name="T15" fmla="*/ 21 h 61"/>
                <a:gd name="T16" fmla="*/ 42 w 45"/>
                <a:gd name="T17" fmla="*/ 34 h 61"/>
                <a:gd name="T18" fmla="*/ 15 w 45"/>
                <a:gd name="T19" fmla="*/ 34 h 61"/>
                <a:gd name="T20" fmla="*/ 15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5" y="10"/>
                  </a:lnTo>
                  <a:lnTo>
                    <a:pt x="15" y="21"/>
                  </a:lnTo>
                  <a:lnTo>
                    <a:pt x="42" y="21"/>
                  </a:lnTo>
                  <a:lnTo>
                    <a:pt x="42" y="34"/>
                  </a:lnTo>
                  <a:lnTo>
                    <a:pt x="15" y="34"/>
                  </a:lnTo>
                  <a:lnTo>
                    <a:pt x="15"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469"/>
            <p:cNvSpPr>
              <a:spLocks/>
            </p:cNvSpPr>
            <p:nvPr/>
          </p:nvSpPr>
          <p:spPr bwMode="auto">
            <a:xfrm>
              <a:off x="9826626" y="3634403"/>
              <a:ext cx="104775" cy="96838"/>
            </a:xfrm>
            <a:custGeom>
              <a:avLst/>
              <a:gdLst>
                <a:gd name="T0" fmla="*/ 66 w 66"/>
                <a:gd name="T1" fmla="*/ 61 h 61"/>
                <a:gd name="T2" fmla="*/ 50 w 66"/>
                <a:gd name="T3" fmla="*/ 61 h 61"/>
                <a:gd name="T4" fmla="*/ 50 w 66"/>
                <a:gd name="T5" fmla="*/ 18 h 61"/>
                <a:gd name="T6" fmla="*/ 40 w 66"/>
                <a:gd name="T7" fmla="*/ 45 h 61"/>
                <a:gd name="T8" fmla="*/ 26 w 66"/>
                <a:gd name="T9" fmla="*/ 45 h 61"/>
                <a:gd name="T10" fmla="*/ 16 w 66"/>
                <a:gd name="T11" fmla="*/ 18 h 61"/>
                <a:gd name="T12" fmla="*/ 16 w 66"/>
                <a:gd name="T13" fmla="*/ 61 h 61"/>
                <a:gd name="T14" fmla="*/ 0 w 66"/>
                <a:gd name="T15" fmla="*/ 61 h 61"/>
                <a:gd name="T16" fmla="*/ 0 w 66"/>
                <a:gd name="T17" fmla="*/ 0 h 61"/>
                <a:gd name="T18" fmla="*/ 18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6" y="45"/>
                  </a:lnTo>
                  <a:lnTo>
                    <a:pt x="16" y="18"/>
                  </a:lnTo>
                  <a:lnTo>
                    <a:pt x="16" y="61"/>
                  </a:lnTo>
                  <a:lnTo>
                    <a:pt x="0" y="61"/>
                  </a:lnTo>
                  <a:lnTo>
                    <a:pt x="0" y="0"/>
                  </a:lnTo>
                  <a:lnTo>
                    <a:pt x="18"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0" name="Freeform 470"/>
            <p:cNvSpPr>
              <a:spLocks/>
            </p:cNvSpPr>
            <p:nvPr/>
          </p:nvSpPr>
          <p:spPr bwMode="auto">
            <a:xfrm>
              <a:off x="9998076" y="3634403"/>
              <a:ext cx="60325" cy="96838"/>
            </a:xfrm>
            <a:custGeom>
              <a:avLst/>
              <a:gdLst>
                <a:gd name="T0" fmla="*/ 38 w 38"/>
                <a:gd name="T1" fmla="*/ 61 h 61"/>
                <a:gd name="T2" fmla="*/ 0 w 38"/>
                <a:gd name="T3" fmla="*/ 61 h 61"/>
                <a:gd name="T4" fmla="*/ 0 w 38"/>
                <a:gd name="T5" fmla="*/ 50 h 61"/>
                <a:gd name="T6" fmla="*/ 11 w 38"/>
                <a:gd name="T7" fmla="*/ 50 h 61"/>
                <a:gd name="T8" fmla="*/ 11 w 38"/>
                <a:gd name="T9" fmla="*/ 10 h 61"/>
                <a:gd name="T10" fmla="*/ 0 w 38"/>
                <a:gd name="T11" fmla="*/ 10 h 61"/>
                <a:gd name="T12" fmla="*/ 0 w 38"/>
                <a:gd name="T13" fmla="*/ 0 h 61"/>
                <a:gd name="T14" fmla="*/ 38 w 38"/>
                <a:gd name="T15" fmla="*/ 0 h 61"/>
                <a:gd name="T16" fmla="*/ 38 w 38"/>
                <a:gd name="T17" fmla="*/ 10 h 61"/>
                <a:gd name="T18" fmla="*/ 27 w 38"/>
                <a:gd name="T19" fmla="*/ 10 h 61"/>
                <a:gd name="T20" fmla="*/ 27 w 38"/>
                <a:gd name="T21" fmla="*/ 50 h 61"/>
                <a:gd name="T22" fmla="*/ 38 w 38"/>
                <a:gd name="T23" fmla="*/ 50 h 61"/>
                <a:gd name="T24" fmla="*/ 38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38" y="61"/>
                  </a:moveTo>
                  <a:lnTo>
                    <a:pt x="0" y="61"/>
                  </a:lnTo>
                  <a:lnTo>
                    <a:pt x="0" y="50"/>
                  </a:lnTo>
                  <a:lnTo>
                    <a:pt x="11" y="50"/>
                  </a:lnTo>
                  <a:lnTo>
                    <a:pt x="11" y="10"/>
                  </a:lnTo>
                  <a:lnTo>
                    <a:pt x="0" y="10"/>
                  </a:lnTo>
                  <a:lnTo>
                    <a:pt x="0" y="0"/>
                  </a:lnTo>
                  <a:lnTo>
                    <a:pt x="38" y="0"/>
                  </a:lnTo>
                  <a:lnTo>
                    <a:pt x="38" y="10"/>
                  </a:lnTo>
                  <a:lnTo>
                    <a:pt x="27" y="10"/>
                  </a:lnTo>
                  <a:lnTo>
                    <a:pt x="27" y="50"/>
                  </a:lnTo>
                  <a:lnTo>
                    <a:pt x="38" y="50"/>
                  </a:lnTo>
                  <a:lnTo>
                    <a:pt x="38"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471"/>
            <p:cNvSpPr>
              <a:spLocks noEditPoints="1"/>
            </p:cNvSpPr>
            <p:nvPr/>
          </p:nvSpPr>
          <p:spPr bwMode="auto">
            <a:xfrm>
              <a:off x="10074276" y="3634403"/>
              <a:ext cx="84138" cy="96838"/>
            </a:xfrm>
            <a:custGeom>
              <a:avLst/>
              <a:gdLst>
                <a:gd name="T0" fmla="*/ 20 w 20"/>
                <a:gd name="T1" fmla="*/ 7 h 23"/>
                <a:gd name="T2" fmla="*/ 19 w 20"/>
                <a:gd name="T3" fmla="*/ 10 h 23"/>
                <a:gd name="T4" fmla="*/ 18 w 20"/>
                <a:gd name="T5" fmla="*/ 12 h 23"/>
                <a:gd name="T6" fmla="*/ 14 w 20"/>
                <a:gd name="T7" fmla="*/ 14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4"/>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4"/>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0"/>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472"/>
            <p:cNvSpPr>
              <a:spLocks/>
            </p:cNvSpPr>
            <p:nvPr/>
          </p:nvSpPr>
          <p:spPr bwMode="auto">
            <a:xfrm>
              <a:off x="10171114" y="3629641"/>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19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19"/>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473"/>
            <p:cNvSpPr>
              <a:spLocks/>
            </p:cNvSpPr>
            <p:nvPr/>
          </p:nvSpPr>
          <p:spPr bwMode="auto">
            <a:xfrm>
              <a:off x="10272714" y="3634403"/>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2"/>
                    <a:pt x="13" y="23"/>
                    <a:pt x="10" y="23"/>
                  </a:cubicBezTo>
                  <a:cubicBezTo>
                    <a:pt x="6" y="23"/>
                    <a:pt x="4" y="22"/>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474"/>
            <p:cNvSpPr>
              <a:spLocks/>
            </p:cNvSpPr>
            <p:nvPr/>
          </p:nvSpPr>
          <p:spPr bwMode="auto">
            <a:xfrm>
              <a:off x="10382251" y="3634403"/>
              <a:ext cx="100013" cy="96838"/>
            </a:xfrm>
            <a:custGeom>
              <a:avLst/>
              <a:gdLst>
                <a:gd name="T0" fmla="*/ 63 w 63"/>
                <a:gd name="T1" fmla="*/ 61 h 61"/>
                <a:gd name="T2" fmla="*/ 47 w 63"/>
                <a:gd name="T3" fmla="*/ 61 h 61"/>
                <a:gd name="T4" fmla="*/ 47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1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7" y="61"/>
                  </a:lnTo>
                  <a:lnTo>
                    <a:pt x="47" y="18"/>
                  </a:lnTo>
                  <a:lnTo>
                    <a:pt x="37" y="45"/>
                  </a:lnTo>
                  <a:lnTo>
                    <a:pt x="26" y="45"/>
                  </a:lnTo>
                  <a:lnTo>
                    <a:pt x="16" y="18"/>
                  </a:lnTo>
                  <a:lnTo>
                    <a:pt x="16" y="61"/>
                  </a:lnTo>
                  <a:lnTo>
                    <a:pt x="0" y="61"/>
                  </a:lnTo>
                  <a:lnTo>
                    <a:pt x="0" y="0"/>
                  </a:lnTo>
                  <a:lnTo>
                    <a:pt x="18" y="0"/>
                  </a:lnTo>
                  <a:lnTo>
                    <a:pt x="31"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475"/>
            <p:cNvSpPr>
              <a:spLocks/>
            </p:cNvSpPr>
            <p:nvPr/>
          </p:nvSpPr>
          <p:spPr bwMode="auto">
            <a:xfrm>
              <a:off x="9801226" y="3381991"/>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476"/>
            <p:cNvSpPr>
              <a:spLocks noEditPoints="1"/>
            </p:cNvSpPr>
            <p:nvPr/>
          </p:nvSpPr>
          <p:spPr bwMode="auto">
            <a:xfrm>
              <a:off x="9893301" y="3381991"/>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77"/>
            <p:cNvSpPr>
              <a:spLocks/>
            </p:cNvSpPr>
            <p:nvPr/>
          </p:nvSpPr>
          <p:spPr bwMode="auto">
            <a:xfrm>
              <a:off x="9998076" y="3381991"/>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78"/>
            <p:cNvSpPr>
              <a:spLocks/>
            </p:cNvSpPr>
            <p:nvPr/>
          </p:nvSpPr>
          <p:spPr bwMode="auto">
            <a:xfrm>
              <a:off x="10086976" y="3381991"/>
              <a:ext cx="76200" cy="100013"/>
            </a:xfrm>
            <a:custGeom>
              <a:avLst/>
              <a:gdLst>
                <a:gd name="T0" fmla="*/ 17 w 18"/>
                <a:gd name="T1" fmla="*/ 13 h 24"/>
                <a:gd name="T2" fmla="*/ 18 w 18"/>
                <a:gd name="T3" fmla="*/ 14 h 24"/>
                <a:gd name="T4" fmla="*/ 18 w 18"/>
                <a:gd name="T5" fmla="*/ 16 h 24"/>
                <a:gd name="T6" fmla="*/ 18 w 18"/>
                <a:gd name="T7" fmla="*/ 20 h 24"/>
                <a:gd name="T8" fmla="*/ 16 w 18"/>
                <a:gd name="T9" fmla="*/ 22 h 24"/>
                <a:gd name="T10" fmla="*/ 12 w 18"/>
                <a:gd name="T11" fmla="*/ 23 h 24"/>
                <a:gd name="T12" fmla="*/ 8 w 18"/>
                <a:gd name="T13" fmla="*/ 24 h 24"/>
                <a:gd name="T14" fmla="*/ 3 w 18"/>
                <a:gd name="T15" fmla="*/ 24 h 24"/>
                <a:gd name="T16" fmla="*/ 0 w 18"/>
                <a:gd name="T17" fmla="*/ 23 h 24"/>
                <a:gd name="T18" fmla="*/ 0 w 18"/>
                <a:gd name="T19" fmla="*/ 17 h 24"/>
                <a:gd name="T20" fmla="*/ 0 w 18"/>
                <a:gd name="T21" fmla="*/ 17 h 24"/>
                <a:gd name="T22" fmla="*/ 4 w 18"/>
                <a:gd name="T23" fmla="*/ 19 h 24"/>
                <a:gd name="T24" fmla="*/ 7 w 18"/>
                <a:gd name="T25" fmla="*/ 19 h 24"/>
                <a:gd name="T26" fmla="*/ 9 w 18"/>
                <a:gd name="T27" fmla="*/ 19 h 24"/>
                <a:gd name="T28" fmla="*/ 11 w 18"/>
                <a:gd name="T29" fmla="*/ 19 h 24"/>
                <a:gd name="T30" fmla="*/ 12 w 18"/>
                <a:gd name="T31" fmla="*/ 18 h 24"/>
                <a:gd name="T32" fmla="*/ 12 w 18"/>
                <a:gd name="T33" fmla="*/ 16 h 24"/>
                <a:gd name="T34" fmla="*/ 12 w 18"/>
                <a:gd name="T35" fmla="*/ 14 h 24"/>
                <a:gd name="T36" fmla="*/ 10 w 18"/>
                <a:gd name="T37" fmla="*/ 14 h 24"/>
                <a:gd name="T38" fmla="*/ 9 w 18"/>
                <a:gd name="T39" fmla="*/ 13 h 24"/>
                <a:gd name="T40" fmla="*/ 7 w 18"/>
                <a:gd name="T41" fmla="*/ 13 h 24"/>
                <a:gd name="T42" fmla="*/ 5 w 18"/>
                <a:gd name="T43" fmla="*/ 13 h 24"/>
                <a:gd name="T44" fmla="*/ 5 w 18"/>
                <a:gd name="T45" fmla="*/ 9 h 24"/>
                <a:gd name="T46" fmla="*/ 7 w 18"/>
                <a:gd name="T47" fmla="*/ 9 h 24"/>
                <a:gd name="T48" fmla="*/ 9 w 18"/>
                <a:gd name="T49" fmla="*/ 9 h 24"/>
                <a:gd name="T50" fmla="*/ 10 w 18"/>
                <a:gd name="T51" fmla="*/ 9 h 24"/>
                <a:gd name="T52" fmla="*/ 11 w 18"/>
                <a:gd name="T53" fmla="*/ 8 h 24"/>
                <a:gd name="T54" fmla="*/ 12 w 18"/>
                <a:gd name="T55" fmla="*/ 7 h 24"/>
                <a:gd name="T56" fmla="*/ 11 w 18"/>
                <a:gd name="T57" fmla="*/ 5 h 24"/>
                <a:gd name="T58" fmla="*/ 10 w 18"/>
                <a:gd name="T59" fmla="*/ 5 h 24"/>
                <a:gd name="T60" fmla="*/ 9 w 18"/>
                <a:gd name="T61" fmla="*/ 4 h 24"/>
                <a:gd name="T62" fmla="*/ 8 w 18"/>
                <a:gd name="T63" fmla="*/ 4 h 24"/>
                <a:gd name="T64" fmla="*/ 4 w 18"/>
                <a:gd name="T65" fmla="*/ 5 h 24"/>
                <a:gd name="T66" fmla="*/ 1 w 18"/>
                <a:gd name="T67" fmla="*/ 6 h 24"/>
                <a:gd name="T68" fmla="*/ 1 w 18"/>
                <a:gd name="T69" fmla="*/ 6 h 24"/>
                <a:gd name="T70" fmla="*/ 1 w 18"/>
                <a:gd name="T71" fmla="*/ 1 h 24"/>
                <a:gd name="T72" fmla="*/ 4 w 18"/>
                <a:gd name="T73" fmla="*/ 0 h 24"/>
                <a:gd name="T74" fmla="*/ 8 w 18"/>
                <a:gd name="T75" fmla="*/ 0 h 24"/>
                <a:gd name="T76" fmla="*/ 12 w 18"/>
                <a:gd name="T77" fmla="*/ 0 h 24"/>
                <a:gd name="T78" fmla="*/ 15 w 18"/>
                <a:gd name="T79" fmla="*/ 1 h 24"/>
                <a:gd name="T80" fmla="*/ 17 w 18"/>
                <a:gd name="T81" fmla="*/ 3 h 24"/>
                <a:gd name="T82" fmla="*/ 18 w 18"/>
                <a:gd name="T83" fmla="*/ 6 h 24"/>
                <a:gd name="T84" fmla="*/ 16 w 18"/>
                <a:gd name="T85" fmla="*/ 9 h 24"/>
                <a:gd name="T86" fmla="*/ 13 w 18"/>
                <a:gd name="T87" fmla="*/ 11 h 24"/>
                <a:gd name="T88" fmla="*/ 13 w 18"/>
                <a:gd name="T89" fmla="*/ 11 h 24"/>
                <a:gd name="T90" fmla="*/ 15 w 18"/>
                <a:gd name="T91" fmla="*/ 12 h 24"/>
                <a:gd name="T92" fmla="*/ 17 w 18"/>
                <a:gd name="T9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4">
                  <a:moveTo>
                    <a:pt x="17" y="13"/>
                  </a:moveTo>
                  <a:cubicBezTo>
                    <a:pt x="17" y="13"/>
                    <a:pt x="17" y="14"/>
                    <a:pt x="18" y="14"/>
                  </a:cubicBezTo>
                  <a:cubicBezTo>
                    <a:pt x="18" y="15"/>
                    <a:pt x="18" y="15"/>
                    <a:pt x="18" y="16"/>
                  </a:cubicBezTo>
                  <a:cubicBezTo>
                    <a:pt x="18" y="18"/>
                    <a:pt x="18" y="19"/>
                    <a:pt x="18" y="20"/>
                  </a:cubicBezTo>
                  <a:cubicBezTo>
                    <a:pt x="17" y="20"/>
                    <a:pt x="16" y="21"/>
                    <a:pt x="16" y="22"/>
                  </a:cubicBezTo>
                  <a:cubicBezTo>
                    <a:pt x="15" y="23"/>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0" y="17"/>
                    <a:pt x="0" y="17"/>
                    <a:pt x="0" y="17"/>
                  </a:cubicBezTo>
                  <a:cubicBezTo>
                    <a:pt x="1" y="18"/>
                    <a:pt x="2" y="18"/>
                    <a:pt x="4" y="19"/>
                  </a:cubicBezTo>
                  <a:cubicBezTo>
                    <a:pt x="5" y="19"/>
                    <a:pt x="6" y="19"/>
                    <a:pt x="7" y="19"/>
                  </a:cubicBezTo>
                  <a:cubicBezTo>
                    <a:pt x="8" y="19"/>
                    <a:pt x="8" y="19"/>
                    <a:pt x="9" y="19"/>
                  </a:cubicBezTo>
                  <a:cubicBezTo>
                    <a:pt x="10" y="19"/>
                    <a:pt x="10" y="19"/>
                    <a:pt x="11" y="19"/>
                  </a:cubicBezTo>
                  <a:cubicBezTo>
                    <a:pt x="11" y="18"/>
                    <a:pt x="12" y="18"/>
                    <a:pt x="12" y="18"/>
                  </a:cubicBezTo>
                  <a:cubicBezTo>
                    <a:pt x="12" y="17"/>
                    <a:pt x="12" y="17"/>
                    <a:pt x="12" y="16"/>
                  </a:cubicBezTo>
                  <a:cubicBezTo>
                    <a:pt x="12" y="15"/>
                    <a:pt x="12" y="15"/>
                    <a:pt x="12" y="14"/>
                  </a:cubicBezTo>
                  <a:cubicBezTo>
                    <a:pt x="11" y="14"/>
                    <a:pt x="11" y="14"/>
                    <a:pt x="10" y="14"/>
                  </a:cubicBezTo>
                  <a:cubicBezTo>
                    <a:pt x="10" y="14"/>
                    <a:pt x="9" y="13"/>
                    <a:pt x="9" y="13"/>
                  </a:cubicBezTo>
                  <a:cubicBezTo>
                    <a:pt x="8" y="13"/>
                    <a:pt x="7" y="13"/>
                    <a:pt x="7" y="13"/>
                  </a:cubicBezTo>
                  <a:cubicBezTo>
                    <a:pt x="5" y="13"/>
                    <a:pt x="5" y="13"/>
                    <a:pt x="5" y="13"/>
                  </a:cubicBezTo>
                  <a:cubicBezTo>
                    <a:pt x="5" y="9"/>
                    <a:pt x="5" y="9"/>
                    <a:pt x="5" y="9"/>
                  </a:cubicBezTo>
                  <a:cubicBezTo>
                    <a:pt x="7" y="9"/>
                    <a:pt x="7" y="9"/>
                    <a:pt x="7" y="9"/>
                  </a:cubicBezTo>
                  <a:cubicBezTo>
                    <a:pt x="7" y="9"/>
                    <a:pt x="8" y="9"/>
                    <a:pt x="9" y="9"/>
                  </a:cubicBezTo>
                  <a:cubicBezTo>
                    <a:pt x="9" y="9"/>
                    <a:pt x="10" y="9"/>
                    <a:pt x="10" y="9"/>
                  </a:cubicBezTo>
                  <a:cubicBezTo>
                    <a:pt x="11" y="9"/>
                    <a:pt x="11" y="8"/>
                    <a:pt x="11" y="8"/>
                  </a:cubicBezTo>
                  <a:cubicBezTo>
                    <a:pt x="12" y="8"/>
                    <a:pt x="12" y="7"/>
                    <a:pt x="12" y="7"/>
                  </a:cubicBezTo>
                  <a:cubicBezTo>
                    <a:pt x="12" y="6"/>
                    <a:pt x="12" y="6"/>
                    <a:pt x="11" y="5"/>
                  </a:cubicBezTo>
                  <a:cubicBezTo>
                    <a:pt x="11" y="5"/>
                    <a:pt x="11" y="5"/>
                    <a:pt x="10" y="5"/>
                  </a:cubicBezTo>
                  <a:cubicBezTo>
                    <a:pt x="10" y="5"/>
                    <a:pt x="10" y="4"/>
                    <a:pt x="9" y="4"/>
                  </a:cubicBezTo>
                  <a:cubicBezTo>
                    <a:pt x="8" y="4"/>
                    <a:pt x="8" y="4"/>
                    <a:pt x="8" y="4"/>
                  </a:cubicBezTo>
                  <a:cubicBezTo>
                    <a:pt x="7" y="4"/>
                    <a:pt x="6" y="4"/>
                    <a:pt x="4" y="5"/>
                  </a:cubicBezTo>
                  <a:cubicBezTo>
                    <a:pt x="3" y="5"/>
                    <a:pt x="2" y="6"/>
                    <a:pt x="1" y="6"/>
                  </a:cubicBezTo>
                  <a:cubicBezTo>
                    <a:pt x="1" y="6"/>
                    <a:pt x="1" y="6"/>
                    <a:pt x="1" y="6"/>
                  </a:cubicBezTo>
                  <a:cubicBezTo>
                    <a:pt x="1" y="1"/>
                    <a:pt x="1" y="1"/>
                    <a:pt x="1" y="1"/>
                  </a:cubicBezTo>
                  <a:cubicBezTo>
                    <a:pt x="1" y="1"/>
                    <a:pt x="3" y="1"/>
                    <a:pt x="4" y="0"/>
                  </a:cubicBezTo>
                  <a:cubicBezTo>
                    <a:pt x="5" y="0"/>
                    <a:pt x="7" y="0"/>
                    <a:pt x="8" y="0"/>
                  </a:cubicBezTo>
                  <a:cubicBezTo>
                    <a:pt x="10" y="0"/>
                    <a:pt x="11" y="0"/>
                    <a:pt x="12" y="0"/>
                  </a:cubicBezTo>
                  <a:cubicBezTo>
                    <a:pt x="13" y="0"/>
                    <a:pt x="14" y="1"/>
                    <a:pt x="15" y="1"/>
                  </a:cubicBezTo>
                  <a:cubicBezTo>
                    <a:pt x="16" y="2"/>
                    <a:pt x="17" y="2"/>
                    <a:pt x="17" y="3"/>
                  </a:cubicBezTo>
                  <a:cubicBezTo>
                    <a:pt x="17" y="4"/>
                    <a:pt x="18" y="5"/>
                    <a:pt x="18" y="6"/>
                  </a:cubicBezTo>
                  <a:cubicBezTo>
                    <a:pt x="18" y="7"/>
                    <a:pt x="17" y="8"/>
                    <a:pt x="16" y="9"/>
                  </a:cubicBezTo>
                  <a:cubicBezTo>
                    <a:pt x="16" y="10"/>
                    <a:pt x="15" y="11"/>
                    <a:pt x="13" y="11"/>
                  </a:cubicBezTo>
                  <a:cubicBezTo>
                    <a:pt x="13" y="11"/>
                    <a:pt x="13" y="11"/>
                    <a:pt x="13" y="11"/>
                  </a:cubicBezTo>
                  <a:cubicBezTo>
                    <a:pt x="14" y="11"/>
                    <a:pt x="14" y="11"/>
                    <a:pt x="15" y="12"/>
                  </a:cubicBezTo>
                  <a:cubicBezTo>
                    <a:pt x="15" y="12"/>
                    <a:pt x="16" y="12"/>
                    <a:pt x="17"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479"/>
            <p:cNvSpPr>
              <a:spLocks/>
            </p:cNvSpPr>
            <p:nvPr/>
          </p:nvSpPr>
          <p:spPr bwMode="auto">
            <a:xfrm>
              <a:off x="10393491" y="2532297"/>
              <a:ext cx="1162050" cy="230188"/>
            </a:xfrm>
            <a:custGeom>
              <a:avLst/>
              <a:gdLst>
                <a:gd name="T0" fmla="*/ 11 w 732"/>
                <a:gd name="T1" fmla="*/ 145 h 145"/>
                <a:gd name="T2" fmla="*/ 0 w 732"/>
                <a:gd name="T3" fmla="*/ 145 h 145"/>
                <a:gd name="T4" fmla="*/ 0 w 732"/>
                <a:gd name="T5" fmla="*/ 0 h 145"/>
                <a:gd name="T6" fmla="*/ 732 w 732"/>
                <a:gd name="T7" fmla="*/ 0 h 145"/>
                <a:gd name="T8" fmla="*/ 732 w 732"/>
                <a:gd name="T9" fmla="*/ 10 h 145"/>
                <a:gd name="T10" fmla="*/ 11 w 732"/>
                <a:gd name="T11" fmla="*/ 10 h 145"/>
                <a:gd name="T12" fmla="*/ 11 w 732"/>
                <a:gd name="T13" fmla="*/ 145 h 145"/>
                <a:gd name="T14" fmla="*/ 11 w 732"/>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5">
                  <a:moveTo>
                    <a:pt x="11" y="145"/>
                  </a:moveTo>
                  <a:lnTo>
                    <a:pt x="0" y="145"/>
                  </a:lnTo>
                  <a:lnTo>
                    <a:pt x="0" y="0"/>
                  </a:lnTo>
                  <a:lnTo>
                    <a:pt x="732" y="0"/>
                  </a:lnTo>
                  <a:lnTo>
                    <a:pt x="732" y="10"/>
                  </a:lnTo>
                  <a:lnTo>
                    <a:pt x="11" y="10"/>
                  </a:lnTo>
                  <a:lnTo>
                    <a:pt x="11" y="145"/>
                  </a:lnTo>
                  <a:lnTo>
                    <a:pt x="11" y="145"/>
                  </a:ln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37" name="Group 436"/>
          <p:cNvGrpSpPr/>
          <p:nvPr/>
        </p:nvGrpSpPr>
        <p:grpSpPr>
          <a:xfrm>
            <a:off x="9132889" y="5248256"/>
            <a:ext cx="2503108" cy="1162050"/>
            <a:chOff x="9132889" y="5156816"/>
            <a:chExt cx="2503108" cy="1162050"/>
          </a:xfrm>
        </p:grpSpPr>
        <p:sp>
          <p:nvSpPr>
            <p:cNvPr id="231" name="Freeform 431"/>
            <p:cNvSpPr>
              <a:spLocks/>
            </p:cNvSpPr>
            <p:nvPr/>
          </p:nvSpPr>
          <p:spPr bwMode="auto">
            <a:xfrm>
              <a:off x="9132889" y="5291753"/>
              <a:ext cx="1677988" cy="836613"/>
            </a:xfrm>
            <a:custGeom>
              <a:avLst/>
              <a:gdLst>
                <a:gd name="T0" fmla="*/ 399 w 399"/>
                <a:gd name="T1" fmla="*/ 199 h 199"/>
                <a:gd name="T2" fmla="*/ 383 w 399"/>
                <a:gd name="T3" fmla="*/ 199 h 199"/>
                <a:gd name="T4" fmla="*/ 199 w 399"/>
                <a:gd name="T5" fmla="*/ 16 h 199"/>
                <a:gd name="T6" fmla="*/ 16 w 399"/>
                <a:gd name="T7" fmla="*/ 199 h 199"/>
                <a:gd name="T8" fmla="*/ 0 w 399"/>
                <a:gd name="T9" fmla="*/ 199 h 199"/>
                <a:gd name="T10" fmla="*/ 199 w 399"/>
                <a:gd name="T11" fmla="*/ 0 h 199"/>
                <a:gd name="T12" fmla="*/ 399 w 39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399" h="199">
                  <a:moveTo>
                    <a:pt x="399" y="199"/>
                  </a:moveTo>
                  <a:cubicBezTo>
                    <a:pt x="383" y="199"/>
                    <a:pt x="383" y="199"/>
                    <a:pt x="383" y="199"/>
                  </a:cubicBezTo>
                  <a:cubicBezTo>
                    <a:pt x="383" y="98"/>
                    <a:pt x="301" y="16"/>
                    <a:pt x="199" y="16"/>
                  </a:cubicBezTo>
                  <a:cubicBezTo>
                    <a:pt x="98" y="16"/>
                    <a:pt x="16" y="98"/>
                    <a:pt x="16" y="199"/>
                  </a:cubicBezTo>
                  <a:cubicBezTo>
                    <a:pt x="0" y="199"/>
                    <a:pt x="0" y="199"/>
                    <a:pt x="0" y="199"/>
                  </a:cubicBezTo>
                  <a:cubicBezTo>
                    <a:pt x="0" y="89"/>
                    <a:pt x="89" y="0"/>
                    <a:pt x="199" y="0"/>
                  </a:cubicBezTo>
                  <a:cubicBezTo>
                    <a:pt x="309" y="0"/>
                    <a:pt x="399" y="89"/>
                    <a:pt x="399" y="199"/>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432"/>
            <p:cNvSpPr>
              <a:spLocks/>
            </p:cNvSpPr>
            <p:nvPr/>
          </p:nvSpPr>
          <p:spPr bwMode="auto">
            <a:xfrm>
              <a:off x="9464676" y="6222028"/>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433"/>
            <p:cNvSpPr>
              <a:spLocks noEditPoints="1"/>
            </p:cNvSpPr>
            <p:nvPr/>
          </p:nvSpPr>
          <p:spPr bwMode="auto">
            <a:xfrm>
              <a:off x="9544051" y="6217266"/>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434"/>
            <p:cNvSpPr>
              <a:spLocks noEditPoints="1"/>
            </p:cNvSpPr>
            <p:nvPr/>
          </p:nvSpPr>
          <p:spPr bwMode="auto">
            <a:xfrm>
              <a:off x="9661526" y="6222028"/>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435"/>
            <p:cNvSpPr>
              <a:spLocks/>
            </p:cNvSpPr>
            <p:nvPr/>
          </p:nvSpPr>
          <p:spPr bwMode="auto">
            <a:xfrm>
              <a:off x="9767889" y="6222028"/>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6 w 45"/>
                <a:gd name="T11" fmla="*/ 10 h 61"/>
                <a:gd name="T12" fmla="*/ 16 w 45"/>
                <a:gd name="T13" fmla="*/ 21 h 61"/>
                <a:gd name="T14" fmla="*/ 42 w 45"/>
                <a:gd name="T15" fmla="*/ 21 h 61"/>
                <a:gd name="T16" fmla="*/ 42 w 45"/>
                <a:gd name="T17" fmla="*/ 34 h 61"/>
                <a:gd name="T18" fmla="*/ 16 w 45"/>
                <a:gd name="T19" fmla="*/ 34 h 61"/>
                <a:gd name="T20" fmla="*/ 16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6" y="10"/>
                  </a:lnTo>
                  <a:lnTo>
                    <a:pt x="16" y="21"/>
                  </a:lnTo>
                  <a:lnTo>
                    <a:pt x="42" y="21"/>
                  </a:lnTo>
                  <a:lnTo>
                    <a:pt x="42" y="34"/>
                  </a:lnTo>
                  <a:lnTo>
                    <a:pt x="16" y="34"/>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436"/>
            <p:cNvSpPr>
              <a:spLocks/>
            </p:cNvSpPr>
            <p:nvPr/>
          </p:nvSpPr>
          <p:spPr bwMode="auto">
            <a:xfrm>
              <a:off x="9859964" y="6222028"/>
              <a:ext cx="104775" cy="96838"/>
            </a:xfrm>
            <a:custGeom>
              <a:avLst/>
              <a:gdLst>
                <a:gd name="T0" fmla="*/ 66 w 66"/>
                <a:gd name="T1" fmla="*/ 61 h 61"/>
                <a:gd name="T2" fmla="*/ 50 w 66"/>
                <a:gd name="T3" fmla="*/ 61 h 61"/>
                <a:gd name="T4" fmla="*/ 50 w 66"/>
                <a:gd name="T5" fmla="*/ 18 h 61"/>
                <a:gd name="T6" fmla="*/ 40 w 66"/>
                <a:gd name="T7" fmla="*/ 45 h 61"/>
                <a:gd name="T8" fmla="*/ 27 w 66"/>
                <a:gd name="T9" fmla="*/ 45 h 61"/>
                <a:gd name="T10" fmla="*/ 16 w 66"/>
                <a:gd name="T11" fmla="*/ 18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7" y="45"/>
                  </a:lnTo>
                  <a:lnTo>
                    <a:pt x="16" y="18"/>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437"/>
            <p:cNvSpPr>
              <a:spLocks/>
            </p:cNvSpPr>
            <p:nvPr/>
          </p:nvSpPr>
          <p:spPr bwMode="auto">
            <a:xfrm>
              <a:off x="10033001" y="6222028"/>
              <a:ext cx="58738" cy="96838"/>
            </a:xfrm>
            <a:custGeom>
              <a:avLst/>
              <a:gdLst>
                <a:gd name="T0" fmla="*/ 37 w 37"/>
                <a:gd name="T1" fmla="*/ 61 h 61"/>
                <a:gd name="T2" fmla="*/ 0 w 37"/>
                <a:gd name="T3" fmla="*/ 61 h 61"/>
                <a:gd name="T4" fmla="*/ 0 w 37"/>
                <a:gd name="T5" fmla="*/ 50 h 61"/>
                <a:gd name="T6" fmla="*/ 10 w 37"/>
                <a:gd name="T7" fmla="*/ 50 h 61"/>
                <a:gd name="T8" fmla="*/ 10 w 37"/>
                <a:gd name="T9" fmla="*/ 10 h 61"/>
                <a:gd name="T10" fmla="*/ 0 w 37"/>
                <a:gd name="T11" fmla="*/ 10 h 61"/>
                <a:gd name="T12" fmla="*/ 0 w 37"/>
                <a:gd name="T13" fmla="*/ 0 h 61"/>
                <a:gd name="T14" fmla="*/ 37 w 37"/>
                <a:gd name="T15" fmla="*/ 0 h 61"/>
                <a:gd name="T16" fmla="*/ 37 w 37"/>
                <a:gd name="T17" fmla="*/ 10 h 61"/>
                <a:gd name="T18" fmla="*/ 26 w 37"/>
                <a:gd name="T19" fmla="*/ 10 h 61"/>
                <a:gd name="T20" fmla="*/ 26 w 37"/>
                <a:gd name="T21" fmla="*/ 50 h 61"/>
                <a:gd name="T22" fmla="*/ 37 w 37"/>
                <a:gd name="T23" fmla="*/ 50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0"/>
                  </a:lnTo>
                  <a:lnTo>
                    <a:pt x="10" y="50"/>
                  </a:lnTo>
                  <a:lnTo>
                    <a:pt x="10" y="10"/>
                  </a:lnTo>
                  <a:lnTo>
                    <a:pt x="0" y="10"/>
                  </a:lnTo>
                  <a:lnTo>
                    <a:pt x="0" y="0"/>
                  </a:lnTo>
                  <a:lnTo>
                    <a:pt x="37" y="0"/>
                  </a:lnTo>
                  <a:lnTo>
                    <a:pt x="37" y="10"/>
                  </a:lnTo>
                  <a:lnTo>
                    <a:pt x="26" y="10"/>
                  </a:lnTo>
                  <a:lnTo>
                    <a:pt x="26" y="50"/>
                  </a:lnTo>
                  <a:lnTo>
                    <a:pt x="37" y="50"/>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438"/>
            <p:cNvSpPr>
              <a:spLocks noEditPoints="1"/>
            </p:cNvSpPr>
            <p:nvPr/>
          </p:nvSpPr>
          <p:spPr bwMode="auto">
            <a:xfrm>
              <a:off x="10107614" y="6222028"/>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439"/>
            <p:cNvSpPr>
              <a:spLocks/>
            </p:cNvSpPr>
            <p:nvPr/>
          </p:nvSpPr>
          <p:spPr bwMode="auto">
            <a:xfrm>
              <a:off x="10204451" y="6217266"/>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40"/>
            <p:cNvSpPr>
              <a:spLocks/>
            </p:cNvSpPr>
            <p:nvPr/>
          </p:nvSpPr>
          <p:spPr bwMode="auto">
            <a:xfrm>
              <a:off x="10306051" y="6222028"/>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441"/>
            <p:cNvSpPr>
              <a:spLocks/>
            </p:cNvSpPr>
            <p:nvPr/>
          </p:nvSpPr>
          <p:spPr bwMode="auto">
            <a:xfrm>
              <a:off x="10415589" y="6222028"/>
              <a:ext cx="100013" cy="96838"/>
            </a:xfrm>
            <a:custGeom>
              <a:avLst/>
              <a:gdLst>
                <a:gd name="T0" fmla="*/ 63 w 63"/>
                <a:gd name="T1" fmla="*/ 61 h 61"/>
                <a:gd name="T2" fmla="*/ 48 w 63"/>
                <a:gd name="T3" fmla="*/ 61 h 61"/>
                <a:gd name="T4" fmla="*/ 48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8"/>
                  </a:lnTo>
                  <a:lnTo>
                    <a:pt x="37" y="45"/>
                  </a:lnTo>
                  <a:lnTo>
                    <a:pt x="26" y="45"/>
                  </a:lnTo>
                  <a:lnTo>
                    <a:pt x="16" y="18"/>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442"/>
            <p:cNvSpPr>
              <a:spLocks/>
            </p:cNvSpPr>
            <p:nvPr/>
          </p:nvSpPr>
          <p:spPr bwMode="auto">
            <a:xfrm>
              <a:off x="9599614" y="5388591"/>
              <a:ext cx="1012825" cy="403225"/>
            </a:xfrm>
            <a:custGeom>
              <a:avLst/>
              <a:gdLst>
                <a:gd name="T0" fmla="*/ 228 w 241"/>
                <a:gd name="T1" fmla="*/ 96 h 96"/>
                <a:gd name="T2" fmla="*/ 88 w 241"/>
                <a:gd name="T3" fmla="*/ 16 h 96"/>
                <a:gd name="T4" fmla="*/ 8 w 241"/>
                <a:gd name="T5" fmla="*/ 37 h 96"/>
                <a:gd name="T6" fmla="*/ 0 w 241"/>
                <a:gd name="T7" fmla="*/ 23 h 96"/>
                <a:gd name="T8" fmla="*/ 88 w 241"/>
                <a:gd name="T9" fmla="*/ 0 h 96"/>
                <a:gd name="T10" fmla="*/ 241 w 241"/>
                <a:gd name="T11" fmla="*/ 88 h 96"/>
                <a:gd name="T12" fmla="*/ 228 w 24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1" h="96">
                  <a:moveTo>
                    <a:pt x="228" y="96"/>
                  </a:moveTo>
                  <a:cubicBezTo>
                    <a:pt x="199" y="46"/>
                    <a:pt x="146" y="16"/>
                    <a:pt x="88" y="16"/>
                  </a:cubicBezTo>
                  <a:cubicBezTo>
                    <a:pt x="60" y="16"/>
                    <a:pt x="32" y="23"/>
                    <a:pt x="8" y="37"/>
                  </a:cubicBezTo>
                  <a:cubicBezTo>
                    <a:pt x="0" y="23"/>
                    <a:pt x="0" y="23"/>
                    <a:pt x="0" y="23"/>
                  </a:cubicBezTo>
                  <a:cubicBezTo>
                    <a:pt x="27" y="8"/>
                    <a:pt x="57" y="0"/>
                    <a:pt x="88" y="0"/>
                  </a:cubicBezTo>
                  <a:cubicBezTo>
                    <a:pt x="151" y="0"/>
                    <a:pt x="210" y="33"/>
                    <a:pt x="241" y="88"/>
                  </a:cubicBezTo>
                  <a:cubicBezTo>
                    <a:pt x="228" y="96"/>
                    <a:pt x="228" y="96"/>
                    <a:pt x="228" y="96"/>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443"/>
            <p:cNvSpPr>
              <a:spLocks/>
            </p:cNvSpPr>
            <p:nvPr/>
          </p:nvSpPr>
          <p:spPr bwMode="auto">
            <a:xfrm>
              <a:off x="9326564" y="5485428"/>
              <a:ext cx="966788" cy="642938"/>
            </a:xfrm>
            <a:custGeom>
              <a:avLst/>
              <a:gdLst>
                <a:gd name="T0" fmla="*/ 16 w 230"/>
                <a:gd name="T1" fmla="*/ 153 h 153"/>
                <a:gd name="T2" fmla="*/ 0 w 230"/>
                <a:gd name="T3" fmla="*/ 153 h 153"/>
                <a:gd name="T4" fmla="*/ 153 w 230"/>
                <a:gd name="T5" fmla="*/ 0 h 153"/>
                <a:gd name="T6" fmla="*/ 230 w 230"/>
                <a:gd name="T7" fmla="*/ 20 h 153"/>
                <a:gd name="T8" fmla="*/ 222 w 230"/>
                <a:gd name="T9" fmla="*/ 34 h 153"/>
                <a:gd name="T10" fmla="*/ 153 w 230"/>
                <a:gd name="T11" fmla="*/ 16 h 153"/>
                <a:gd name="T12" fmla="*/ 16 w 230"/>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230" h="153">
                  <a:moveTo>
                    <a:pt x="16" y="153"/>
                  </a:moveTo>
                  <a:cubicBezTo>
                    <a:pt x="0" y="153"/>
                    <a:pt x="0" y="153"/>
                    <a:pt x="0" y="153"/>
                  </a:cubicBezTo>
                  <a:cubicBezTo>
                    <a:pt x="0" y="69"/>
                    <a:pt x="69" y="0"/>
                    <a:pt x="153" y="0"/>
                  </a:cubicBezTo>
                  <a:cubicBezTo>
                    <a:pt x="180" y="0"/>
                    <a:pt x="207" y="7"/>
                    <a:pt x="230" y="20"/>
                  </a:cubicBezTo>
                  <a:cubicBezTo>
                    <a:pt x="222" y="34"/>
                    <a:pt x="222" y="34"/>
                    <a:pt x="222" y="34"/>
                  </a:cubicBezTo>
                  <a:cubicBezTo>
                    <a:pt x="201" y="22"/>
                    <a:pt x="178" y="16"/>
                    <a:pt x="153" y="16"/>
                  </a:cubicBezTo>
                  <a:cubicBezTo>
                    <a:pt x="77" y="16"/>
                    <a:pt x="16" y="77"/>
                    <a:pt x="16" y="1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444"/>
            <p:cNvSpPr>
              <a:spLocks/>
            </p:cNvSpPr>
            <p:nvPr/>
          </p:nvSpPr>
          <p:spPr bwMode="auto">
            <a:xfrm>
              <a:off x="9969501" y="5577503"/>
              <a:ext cx="550863" cy="550863"/>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8"/>
                    <a:pt x="64" y="16"/>
                    <a:pt x="0" y="16"/>
                  </a:cubicBezTo>
                  <a:cubicBezTo>
                    <a:pt x="0" y="0"/>
                    <a:pt x="0" y="0"/>
                    <a:pt x="0" y="0"/>
                  </a:cubicBezTo>
                  <a:cubicBezTo>
                    <a:pt x="73"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445"/>
            <p:cNvSpPr>
              <a:spLocks/>
            </p:cNvSpPr>
            <p:nvPr/>
          </p:nvSpPr>
          <p:spPr bwMode="auto">
            <a:xfrm>
              <a:off x="9515476" y="5674341"/>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8"/>
                    <a:pt x="159" y="16"/>
                    <a:pt x="108" y="16"/>
                  </a:cubicBezTo>
                  <a:cubicBezTo>
                    <a:pt x="58" y="16"/>
                    <a:pt x="16" y="58"/>
                    <a:pt x="16" y="108"/>
                  </a:cubicBezTo>
                  <a:cubicBezTo>
                    <a:pt x="0" y="108"/>
                    <a:pt x="0" y="108"/>
                    <a:pt x="0" y="108"/>
                  </a:cubicBezTo>
                  <a:cubicBezTo>
                    <a:pt x="0" y="49"/>
                    <a:pt x="49" y="0"/>
                    <a:pt x="108" y="0"/>
                  </a:cubicBezTo>
                  <a:cubicBezTo>
                    <a:pt x="168" y="0"/>
                    <a:pt x="216" y="49"/>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446"/>
            <p:cNvSpPr>
              <a:spLocks/>
            </p:cNvSpPr>
            <p:nvPr/>
          </p:nvSpPr>
          <p:spPr bwMode="auto">
            <a:xfrm>
              <a:off x="9645651" y="5804516"/>
              <a:ext cx="652463" cy="323850"/>
            </a:xfrm>
            <a:custGeom>
              <a:avLst/>
              <a:gdLst>
                <a:gd name="T0" fmla="*/ 155 w 155"/>
                <a:gd name="T1" fmla="*/ 77 h 77"/>
                <a:gd name="T2" fmla="*/ 77 w 155"/>
                <a:gd name="T3" fmla="*/ 0 h 77"/>
                <a:gd name="T4" fmla="*/ 0 w 155"/>
                <a:gd name="T5" fmla="*/ 77 h 77"/>
              </a:gdLst>
              <a:ahLst/>
              <a:cxnLst>
                <a:cxn ang="0">
                  <a:pos x="T0" y="T1"/>
                </a:cxn>
                <a:cxn ang="0">
                  <a:pos x="T2" y="T3"/>
                </a:cxn>
                <a:cxn ang="0">
                  <a:pos x="T4" y="T5"/>
                </a:cxn>
              </a:cxnLst>
              <a:rect l="0" t="0" r="r" b="b"/>
              <a:pathLst>
                <a:path w="155" h="77">
                  <a:moveTo>
                    <a:pt x="155" y="77"/>
                  </a:moveTo>
                  <a:cubicBezTo>
                    <a:pt x="155" y="35"/>
                    <a:pt x="120" y="0"/>
                    <a:pt x="77" y="0"/>
                  </a:cubicBezTo>
                  <a:cubicBezTo>
                    <a:pt x="35" y="0"/>
                    <a:pt x="0" y="35"/>
                    <a:pt x="0"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47"/>
            <p:cNvSpPr>
              <a:spLocks/>
            </p:cNvSpPr>
            <p:nvPr/>
          </p:nvSpPr>
          <p:spPr bwMode="auto">
            <a:xfrm>
              <a:off x="9801226" y="5969616"/>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8"/>
            <p:cNvSpPr>
              <a:spLocks noEditPoints="1"/>
            </p:cNvSpPr>
            <p:nvPr/>
          </p:nvSpPr>
          <p:spPr bwMode="auto">
            <a:xfrm>
              <a:off x="9893301" y="5969616"/>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49"/>
            <p:cNvSpPr>
              <a:spLocks/>
            </p:cNvSpPr>
            <p:nvPr/>
          </p:nvSpPr>
          <p:spPr bwMode="auto">
            <a:xfrm>
              <a:off x="9998076" y="5969616"/>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50"/>
            <p:cNvSpPr>
              <a:spLocks/>
            </p:cNvSpPr>
            <p:nvPr/>
          </p:nvSpPr>
          <p:spPr bwMode="auto">
            <a:xfrm>
              <a:off x="10086976" y="5969616"/>
              <a:ext cx="76200" cy="100013"/>
            </a:xfrm>
            <a:custGeom>
              <a:avLst/>
              <a:gdLst>
                <a:gd name="T0" fmla="*/ 18 w 18"/>
                <a:gd name="T1" fmla="*/ 16 h 24"/>
                <a:gd name="T2" fmla="*/ 18 w 18"/>
                <a:gd name="T3" fmla="*/ 19 h 24"/>
                <a:gd name="T4" fmla="*/ 16 w 18"/>
                <a:gd name="T5" fmla="*/ 22 h 24"/>
                <a:gd name="T6" fmla="*/ 12 w 18"/>
                <a:gd name="T7" fmla="*/ 23 h 24"/>
                <a:gd name="T8" fmla="*/ 8 w 18"/>
                <a:gd name="T9" fmla="*/ 24 h 24"/>
                <a:gd name="T10" fmla="*/ 3 w 18"/>
                <a:gd name="T11" fmla="*/ 24 h 24"/>
                <a:gd name="T12" fmla="*/ 0 w 18"/>
                <a:gd name="T13" fmla="*/ 23 h 24"/>
                <a:gd name="T14" fmla="*/ 0 w 18"/>
                <a:gd name="T15" fmla="*/ 17 h 24"/>
                <a:gd name="T16" fmla="*/ 1 w 18"/>
                <a:gd name="T17" fmla="*/ 17 h 24"/>
                <a:gd name="T18" fmla="*/ 4 w 18"/>
                <a:gd name="T19" fmla="*/ 19 h 24"/>
                <a:gd name="T20" fmla="*/ 7 w 18"/>
                <a:gd name="T21" fmla="*/ 19 h 24"/>
                <a:gd name="T22" fmla="*/ 9 w 18"/>
                <a:gd name="T23" fmla="*/ 19 h 24"/>
                <a:gd name="T24" fmla="*/ 11 w 18"/>
                <a:gd name="T25" fmla="*/ 18 h 24"/>
                <a:gd name="T26" fmla="*/ 12 w 18"/>
                <a:gd name="T27" fmla="*/ 17 h 24"/>
                <a:gd name="T28" fmla="*/ 12 w 18"/>
                <a:gd name="T29" fmla="*/ 16 h 24"/>
                <a:gd name="T30" fmla="*/ 12 w 18"/>
                <a:gd name="T31" fmla="*/ 14 h 24"/>
                <a:gd name="T32" fmla="*/ 11 w 18"/>
                <a:gd name="T33" fmla="*/ 13 h 24"/>
                <a:gd name="T34" fmla="*/ 9 w 18"/>
                <a:gd name="T35" fmla="*/ 13 h 24"/>
                <a:gd name="T36" fmla="*/ 7 w 18"/>
                <a:gd name="T37" fmla="*/ 13 h 24"/>
                <a:gd name="T38" fmla="*/ 4 w 18"/>
                <a:gd name="T39" fmla="*/ 13 h 24"/>
                <a:gd name="T40" fmla="*/ 2 w 18"/>
                <a:gd name="T41" fmla="*/ 13 h 24"/>
                <a:gd name="T42" fmla="*/ 1 w 18"/>
                <a:gd name="T43" fmla="*/ 13 h 24"/>
                <a:gd name="T44" fmla="*/ 1 w 18"/>
                <a:gd name="T45" fmla="*/ 0 h 24"/>
                <a:gd name="T46" fmla="*/ 18 w 18"/>
                <a:gd name="T47" fmla="*/ 0 h 24"/>
                <a:gd name="T48" fmla="*/ 18 w 18"/>
                <a:gd name="T49" fmla="*/ 5 h 24"/>
                <a:gd name="T50" fmla="*/ 7 w 18"/>
                <a:gd name="T51" fmla="*/ 5 h 24"/>
                <a:gd name="T52" fmla="*/ 7 w 18"/>
                <a:gd name="T53" fmla="*/ 8 h 24"/>
                <a:gd name="T54" fmla="*/ 8 w 18"/>
                <a:gd name="T55" fmla="*/ 8 h 24"/>
                <a:gd name="T56" fmla="*/ 9 w 18"/>
                <a:gd name="T57" fmla="*/ 8 h 24"/>
                <a:gd name="T58" fmla="*/ 13 w 18"/>
                <a:gd name="T59" fmla="*/ 9 h 24"/>
                <a:gd name="T60" fmla="*/ 15 w 18"/>
                <a:gd name="T61" fmla="*/ 10 h 24"/>
                <a:gd name="T62" fmla="*/ 18 w 18"/>
                <a:gd name="T63" fmla="*/ 12 h 24"/>
                <a:gd name="T64" fmla="*/ 18 w 18"/>
                <a:gd name="T6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24">
                  <a:moveTo>
                    <a:pt x="18" y="16"/>
                  </a:moveTo>
                  <a:cubicBezTo>
                    <a:pt x="18" y="17"/>
                    <a:pt x="18" y="18"/>
                    <a:pt x="18" y="19"/>
                  </a:cubicBezTo>
                  <a:cubicBezTo>
                    <a:pt x="17" y="20"/>
                    <a:pt x="17" y="21"/>
                    <a:pt x="16" y="22"/>
                  </a:cubicBezTo>
                  <a:cubicBezTo>
                    <a:pt x="15" y="22"/>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1" y="17"/>
                    <a:pt x="1" y="17"/>
                    <a:pt x="1" y="17"/>
                  </a:cubicBezTo>
                  <a:cubicBezTo>
                    <a:pt x="2" y="18"/>
                    <a:pt x="3" y="18"/>
                    <a:pt x="4" y="19"/>
                  </a:cubicBezTo>
                  <a:cubicBezTo>
                    <a:pt x="5" y="19"/>
                    <a:pt x="6" y="19"/>
                    <a:pt x="7" y="19"/>
                  </a:cubicBezTo>
                  <a:cubicBezTo>
                    <a:pt x="8" y="19"/>
                    <a:pt x="9" y="19"/>
                    <a:pt x="9" y="19"/>
                  </a:cubicBezTo>
                  <a:cubicBezTo>
                    <a:pt x="10" y="19"/>
                    <a:pt x="11" y="19"/>
                    <a:pt x="11" y="18"/>
                  </a:cubicBezTo>
                  <a:cubicBezTo>
                    <a:pt x="12" y="18"/>
                    <a:pt x="12" y="18"/>
                    <a:pt x="12" y="17"/>
                  </a:cubicBezTo>
                  <a:cubicBezTo>
                    <a:pt x="12" y="17"/>
                    <a:pt x="12" y="17"/>
                    <a:pt x="12" y="16"/>
                  </a:cubicBezTo>
                  <a:cubicBezTo>
                    <a:pt x="12" y="15"/>
                    <a:pt x="12" y="15"/>
                    <a:pt x="12" y="14"/>
                  </a:cubicBezTo>
                  <a:cubicBezTo>
                    <a:pt x="12" y="14"/>
                    <a:pt x="11" y="14"/>
                    <a:pt x="11" y="13"/>
                  </a:cubicBezTo>
                  <a:cubicBezTo>
                    <a:pt x="10" y="13"/>
                    <a:pt x="10" y="13"/>
                    <a:pt x="9" y="13"/>
                  </a:cubicBezTo>
                  <a:cubicBezTo>
                    <a:pt x="8" y="13"/>
                    <a:pt x="7" y="13"/>
                    <a:pt x="7" y="13"/>
                  </a:cubicBezTo>
                  <a:cubicBezTo>
                    <a:pt x="6" y="13"/>
                    <a:pt x="5" y="13"/>
                    <a:pt x="4" y="13"/>
                  </a:cubicBezTo>
                  <a:cubicBezTo>
                    <a:pt x="3" y="13"/>
                    <a:pt x="2" y="13"/>
                    <a:pt x="2" y="13"/>
                  </a:cubicBezTo>
                  <a:cubicBezTo>
                    <a:pt x="1" y="13"/>
                    <a:pt x="1" y="13"/>
                    <a:pt x="1" y="13"/>
                  </a:cubicBezTo>
                  <a:cubicBezTo>
                    <a:pt x="1" y="0"/>
                    <a:pt x="1" y="0"/>
                    <a:pt x="1" y="0"/>
                  </a:cubicBezTo>
                  <a:cubicBezTo>
                    <a:pt x="18" y="0"/>
                    <a:pt x="18" y="0"/>
                    <a:pt x="18" y="0"/>
                  </a:cubicBezTo>
                  <a:cubicBezTo>
                    <a:pt x="18" y="5"/>
                    <a:pt x="18" y="5"/>
                    <a:pt x="18" y="5"/>
                  </a:cubicBezTo>
                  <a:cubicBezTo>
                    <a:pt x="7" y="5"/>
                    <a:pt x="7" y="5"/>
                    <a:pt x="7" y="5"/>
                  </a:cubicBezTo>
                  <a:cubicBezTo>
                    <a:pt x="7" y="8"/>
                    <a:pt x="7" y="8"/>
                    <a:pt x="7" y="8"/>
                  </a:cubicBezTo>
                  <a:cubicBezTo>
                    <a:pt x="7" y="8"/>
                    <a:pt x="7" y="8"/>
                    <a:pt x="8" y="8"/>
                  </a:cubicBezTo>
                  <a:cubicBezTo>
                    <a:pt x="8" y="8"/>
                    <a:pt x="9" y="8"/>
                    <a:pt x="9" y="8"/>
                  </a:cubicBezTo>
                  <a:cubicBezTo>
                    <a:pt x="11" y="8"/>
                    <a:pt x="12" y="9"/>
                    <a:pt x="13" y="9"/>
                  </a:cubicBezTo>
                  <a:cubicBezTo>
                    <a:pt x="14" y="9"/>
                    <a:pt x="15" y="9"/>
                    <a:pt x="15" y="10"/>
                  </a:cubicBezTo>
                  <a:cubicBezTo>
                    <a:pt x="16" y="10"/>
                    <a:pt x="17" y="11"/>
                    <a:pt x="18" y="12"/>
                  </a:cubicBezTo>
                  <a:cubicBezTo>
                    <a:pt x="18" y="13"/>
                    <a:pt x="18" y="14"/>
                    <a:pt x="18" y="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480"/>
            <p:cNvSpPr>
              <a:spLocks/>
            </p:cNvSpPr>
            <p:nvPr/>
          </p:nvSpPr>
          <p:spPr bwMode="auto">
            <a:xfrm>
              <a:off x="10473947" y="5156816"/>
              <a:ext cx="1162050" cy="231775"/>
            </a:xfrm>
            <a:custGeom>
              <a:avLst/>
              <a:gdLst>
                <a:gd name="T0" fmla="*/ 11 w 732"/>
                <a:gd name="T1" fmla="*/ 146 h 146"/>
                <a:gd name="T2" fmla="*/ 0 w 732"/>
                <a:gd name="T3" fmla="*/ 146 h 146"/>
                <a:gd name="T4" fmla="*/ 0 w 732"/>
                <a:gd name="T5" fmla="*/ 0 h 146"/>
                <a:gd name="T6" fmla="*/ 732 w 732"/>
                <a:gd name="T7" fmla="*/ 0 h 146"/>
                <a:gd name="T8" fmla="*/ 732 w 732"/>
                <a:gd name="T9" fmla="*/ 11 h 146"/>
                <a:gd name="T10" fmla="*/ 11 w 732"/>
                <a:gd name="T11" fmla="*/ 11 h 146"/>
                <a:gd name="T12" fmla="*/ 11 w 732"/>
                <a:gd name="T13" fmla="*/ 146 h 146"/>
                <a:gd name="T14" fmla="*/ 11 w 732"/>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6">
                  <a:moveTo>
                    <a:pt x="11" y="146"/>
                  </a:moveTo>
                  <a:lnTo>
                    <a:pt x="0" y="146"/>
                  </a:lnTo>
                  <a:lnTo>
                    <a:pt x="0" y="0"/>
                  </a:lnTo>
                  <a:lnTo>
                    <a:pt x="732" y="0"/>
                  </a:lnTo>
                  <a:lnTo>
                    <a:pt x="732" y="11"/>
                  </a:lnTo>
                  <a:lnTo>
                    <a:pt x="11" y="11"/>
                  </a:lnTo>
                  <a:lnTo>
                    <a:pt x="11" y="146"/>
                  </a:lnTo>
                  <a:lnTo>
                    <a:pt x="11" y="146"/>
                  </a:ln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2" name="Text Placeholder 2"/>
            <p:cNvSpPr txBox="1">
              <a:spLocks/>
            </p:cNvSpPr>
            <p:nvPr/>
          </p:nvSpPr>
          <p:spPr>
            <a:xfrm>
              <a:off x="10566385" y="5206733"/>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grpSp>
      <p:grpSp>
        <p:nvGrpSpPr>
          <p:cNvPr id="436" name="Group 435"/>
          <p:cNvGrpSpPr/>
          <p:nvPr/>
        </p:nvGrpSpPr>
        <p:grpSpPr>
          <a:xfrm>
            <a:off x="8401559" y="3803408"/>
            <a:ext cx="2358517" cy="1169480"/>
            <a:chOff x="8401559" y="3865099"/>
            <a:chExt cx="2358517" cy="1169480"/>
          </a:xfrm>
        </p:grpSpPr>
        <p:sp>
          <p:nvSpPr>
            <p:cNvPr id="225" name="Freeform 425"/>
            <p:cNvSpPr>
              <a:spLocks/>
            </p:cNvSpPr>
            <p:nvPr/>
          </p:nvSpPr>
          <p:spPr bwMode="auto">
            <a:xfrm>
              <a:off x="9178926" y="3996353"/>
              <a:ext cx="1262063" cy="841375"/>
            </a:xfrm>
            <a:custGeom>
              <a:avLst/>
              <a:gdLst>
                <a:gd name="T0" fmla="*/ 16 w 300"/>
                <a:gd name="T1" fmla="*/ 200 h 200"/>
                <a:gd name="T2" fmla="*/ 0 w 300"/>
                <a:gd name="T3" fmla="*/ 200 h 200"/>
                <a:gd name="T4" fmla="*/ 200 w 300"/>
                <a:gd name="T5" fmla="*/ 0 h 200"/>
                <a:gd name="T6" fmla="*/ 300 w 300"/>
                <a:gd name="T7" fmla="*/ 27 h 200"/>
                <a:gd name="T8" fmla="*/ 292 w 300"/>
                <a:gd name="T9" fmla="*/ 41 h 200"/>
                <a:gd name="T10" fmla="*/ 200 w 300"/>
                <a:gd name="T11" fmla="*/ 16 h 200"/>
                <a:gd name="T12" fmla="*/ 16 w 300"/>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16" y="200"/>
                  </a:moveTo>
                  <a:cubicBezTo>
                    <a:pt x="0" y="200"/>
                    <a:pt x="0" y="200"/>
                    <a:pt x="0" y="200"/>
                  </a:cubicBezTo>
                  <a:cubicBezTo>
                    <a:pt x="0" y="90"/>
                    <a:pt x="90" y="0"/>
                    <a:pt x="200" y="0"/>
                  </a:cubicBezTo>
                  <a:cubicBezTo>
                    <a:pt x="235" y="0"/>
                    <a:pt x="270" y="10"/>
                    <a:pt x="300" y="27"/>
                  </a:cubicBezTo>
                  <a:cubicBezTo>
                    <a:pt x="292" y="41"/>
                    <a:pt x="292" y="41"/>
                    <a:pt x="292" y="41"/>
                  </a:cubicBezTo>
                  <a:cubicBezTo>
                    <a:pt x="264" y="25"/>
                    <a:pt x="232" y="16"/>
                    <a:pt x="200" y="16"/>
                  </a:cubicBezTo>
                  <a:cubicBezTo>
                    <a:pt x="99" y="16"/>
                    <a:pt x="16" y="99"/>
                    <a:pt x="16" y="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426"/>
            <p:cNvSpPr>
              <a:spLocks/>
            </p:cNvSpPr>
            <p:nvPr/>
          </p:nvSpPr>
          <p:spPr bwMode="auto">
            <a:xfrm>
              <a:off x="9645651" y="4093191"/>
              <a:ext cx="1114425" cy="744538"/>
            </a:xfrm>
            <a:custGeom>
              <a:avLst/>
              <a:gdLst>
                <a:gd name="T0" fmla="*/ 265 w 265"/>
                <a:gd name="T1" fmla="*/ 177 h 177"/>
                <a:gd name="T2" fmla="*/ 249 w 265"/>
                <a:gd name="T3" fmla="*/ 177 h 177"/>
                <a:gd name="T4" fmla="*/ 89 w 265"/>
                <a:gd name="T5" fmla="*/ 16 h 177"/>
                <a:gd name="T6" fmla="*/ 9 w 265"/>
                <a:gd name="T7" fmla="*/ 38 h 177"/>
                <a:gd name="T8" fmla="*/ 0 w 265"/>
                <a:gd name="T9" fmla="*/ 24 h 177"/>
                <a:gd name="T10" fmla="*/ 89 w 265"/>
                <a:gd name="T11" fmla="*/ 0 h 177"/>
                <a:gd name="T12" fmla="*/ 265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265" y="177"/>
                  </a:moveTo>
                  <a:cubicBezTo>
                    <a:pt x="249" y="177"/>
                    <a:pt x="249" y="177"/>
                    <a:pt x="249" y="177"/>
                  </a:cubicBezTo>
                  <a:cubicBezTo>
                    <a:pt x="249" y="88"/>
                    <a:pt x="177" y="16"/>
                    <a:pt x="89" y="16"/>
                  </a:cubicBezTo>
                  <a:cubicBezTo>
                    <a:pt x="61" y="16"/>
                    <a:pt x="33" y="24"/>
                    <a:pt x="9" y="38"/>
                  </a:cubicBezTo>
                  <a:cubicBezTo>
                    <a:pt x="0" y="24"/>
                    <a:pt x="0" y="24"/>
                    <a:pt x="0" y="24"/>
                  </a:cubicBezTo>
                  <a:cubicBezTo>
                    <a:pt x="27" y="8"/>
                    <a:pt x="58" y="0"/>
                    <a:pt x="89" y="0"/>
                  </a:cubicBezTo>
                  <a:cubicBezTo>
                    <a:pt x="186" y="0"/>
                    <a:pt x="265" y="79"/>
                    <a:pt x="265"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427"/>
            <p:cNvSpPr>
              <a:spLocks/>
            </p:cNvSpPr>
            <p:nvPr/>
          </p:nvSpPr>
          <p:spPr bwMode="auto">
            <a:xfrm>
              <a:off x="9372601" y="4188441"/>
              <a:ext cx="971550" cy="649288"/>
            </a:xfrm>
            <a:custGeom>
              <a:avLst/>
              <a:gdLst>
                <a:gd name="T0" fmla="*/ 16 w 231"/>
                <a:gd name="T1" fmla="*/ 154 h 154"/>
                <a:gd name="T2" fmla="*/ 0 w 231"/>
                <a:gd name="T3" fmla="*/ 154 h 154"/>
                <a:gd name="T4" fmla="*/ 154 w 231"/>
                <a:gd name="T5" fmla="*/ 0 h 154"/>
                <a:gd name="T6" fmla="*/ 231 w 231"/>
                <a:gd name="T7" fmla="*/ 21 h 154"/>
                <a:gd name="T8" fmla="*/ 223 w 231"/>
                <a:gd name="T9" fmla="*/ 34 h 154"/>
                <a:gd name="T10" fmla="*/ 154 w 231"/>
                <a:gd name="T11" fmla="*/ 16 h 154"/>
                <a:gd name="T12" fmla="*/ 16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16" y="154"/>
                  </a:moveTo>
                  <a:cubicBezTo>
                    <a:pt x="0" y="154"/>
                    <a:pt x="0" y="154"/>
                    <a:pt x="0" y="154"/>
                  </a:cubicBezTo>
                  <a:cubicBezTo>
                    <a:pt x="0" y="69"/>
                    <a:pt x="69" y="0"/>
                    <a:pt x="154" y="0"/>
                  </a:cubicBezTo>
                  <a:cubicBezTo>
                    <a:pt x="181" y="0"/>
                    <a:pt x="207" y="7"/>
                    <a:pt x="231" y="21"/>
                  </a:cubicBezTo>
                  <a:cubicBezTo>
                    <a:pt x="223" y="34"/>
                    <a:pt x="223" y="34"/>
                    <a:pt x="223" y="34"/>
                  </a:cubicBezTo>
                  <a:cubicBezTo>
                    <a:pt x="202" y="22"/>
                    <a:pt x="178" y="16"/>
                    <a:pt x="154" y="16"/>
                  </a:cubicBezTo>
                  <a:cubicBezTo>
                    <a:pt x="78" y="16"/>
                    <a:pt x="16" y="78"/>
                    <a:pt x="16" y="154"/>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Freeform 428"/>
            <p:cNvSpPr>
              <a:spLocks/>
            </p:cNvSpPr>
            <p:nvPr/>
          </p:nvSpPr>
          <p:spPr bwMode="auto">
            <a:xfrm>
              <a:off x="10020301" y="4285278"/>
              <a:ext cx="550863" cy="552450"/>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7"/>
                    <a:pt x="63" y="16"/>
                    <a:pt x="0" y="16"/>
                  </a:cubicBezTo>
                  <a:cubicBezTo>
                    <a:pt x="0" y="0"/>
                    <a:pt x="0" y="0"/>
                    <a:pt x="0" y="0"/>
                  </a:cubicBezTo>
                  <a:cubicBezTo>
                    <a:pt x="72"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429"/>
            <p:cNvSpPr>
              <a:spLocks/>
            </p:cNvSpPr>
            <p:nvPr/>
          </p:nvSpPr>
          <p:spPr bwMode="auto">
            <a:xfrm>
              <a:off x="9566276" y="4382116"/>
              <a:ext cx="908050" cy="455613"/>
            </a:xfrm>
            <a:custGeom>
              <a:avLst/>
              <a:gdLst>
                <a:gd name="T0" fmla="*/ 216 w 216"/>
                <a:gd name="T1" fmla="*/ 108 h 108"/>
                <a:gd name="T2" fmla="*/ 200 w 216"/>
                <a:gd name="T3" fmla="*/ 108 h 108"/>
                <a:gd name="T4" fmla="*/ 108 w 216"/>
                <a:gd name="T5" fmla="*/ 16 h 108"/>
                <a:gd name="T6" fmla="*/ 61 w 216"/>
                <a:gd name="T7" fmla="*/ 28 h 108"/>
                <a:gd name="T8" fmla="*/ 16 w 216"/>
                <a:gd name="T9" fmla="*/ 108 h 108"/>
                <a:gd name="T10" fmla="*/ 0 w 216"/>
                <a:gd name="T11" fmla="*/ 108 h 108"/>
                <a:gd name="T12" fmla="*/ 53 w 216"/>
                <a:gd name="T13" fmla="*/ 15 h 108"/>
                <a:gd name="T14" fmla="*/ 108 w 216"/>
                <a:gd name="T15" fmla="*/ 0 h 108"/>
                <a:gd name="T16" fmla="*/ 216 w 2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08">
                  <a:moveTo>
                    <a:pt x="216" y="108"/>
                  </a:moveTo>
                  <a:cubicBezTo>
                    <a:pt x="200" y="108"/>
                    <a:pt x="200" y="108"/>
                    <a:pt x="200" y="108"/>
                  </a:cubicBezTo>
                  <a:cubicBezTo>
                    <a:pt x="200" y="57"/>
                    <a:pt x="159" y="16"/>
                    <a:pt x="108" y="16"/>
                  </a:cubicBezTo>
                  <a:cubicBezTo>
                    <a:pt x="91" y="16"/>
                    <a:pt x="75" y="20"/>
                    <a:pt x="61" y="28"/>
                  </a:cubicBezTo>
                  <a:cubicBezTo>
                    <a:pt x="33" y="45"/>
                    <a:pt x="16" y="75"/>
                    <a:pt x="16" y="108"/>
                  </a:cubicBezTo>
                  <a:cubicBezTo>
                    <a:pt x="0" y="108"/>
                    <a:pt x="0" y="108"/>
                    <a:pt x="0" y="108"/>
                  </a:cubicBezTo>
                  <a:cubicBezTo>
                    <a:pt x="0" y="70"/>
                    <a:pt x="20" y="34"/>
                    <a:pt x="53" y="15"/>
                  </a:cubicBezTo>
                  <a:cubicBezTo>
                    <a:pt x="70" y="5"/>
                    <a:pt x="89" y="0"/>
                    <a:pt x="108" y="0"/>
                  </a:cubicBezTo>
                  <a:cubicBezTo>
                    <a:pt x="167" y="0"/>
                    <a:pt x="216" y="48"/>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430"/>
            <p:cNvSpPr>
              <a:spLocks/>
            </p:cNvSpPr>
            <p:nvPr/>
          </p:nvSpPr>
          <p:spPr bwMode="auto">
            <a:xfrm>
              <a:off x="9696451" y="4513878"/>
              <a:ext cx="647700" cy="323850"/>
            </a:xfrm>
            <a:custGeom>
              <a:avLst/>
              <a:gdLst>
                <a:gd name="T0" fmla="*/ 0 w 154"/>
                <a:gd name="T1" fmla="*/ 77 h 77"/>
                <a:gd name="T2" fmla="*/ 77 w 154"/>
                <a:gd name="T3" fmla="*/ 0 h 77"/>
                <a:gd name="T4" fmla="*/ 154 w 154"/>
                <a:gd name="T5" fmla="*/ 77 h 77"/>
              </a:gdLst>
              <a:ahLst/>
              <a:cxnLst>
                <a:cxn ang="0">
                  <a:pos x="T0" y="T1"/>
                </a:cxn>
                <a:cxn ang="0">
                  <a:pos x="T2" y="T3"/>
                </a:cxn>
                <a:cxn ang="0">
                  <a:pos x="T4" y="T5"/>
                </a:cxn>
              </a:cxnLst>
              <a:rect l="0" t="0" r="r" b="b"/>
              <a:pathLst>
                <a:path w="154" h="77">
                  <a:moveTo>
                    <a:pt x="0" y="77"/>
                  </a:moveTo>
                  <a:cubicBezTo>
                    <a:pt x="0" y="34"/>
                    <a:pt x="34" y="0"/>
                    <a:pt x="77" y="0"/>
                  </a:cubicBezTo>
                  <a:cubicBezTo>
                    <a:pt x="119" y="0"/>
                    <a:pt x="154" y="34"/>
                    <a:pt x="154"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51"/>
            <p:cNvSpPr>
              <a:spLocks/>
            </p:cNvSpPr>
            <p:nvPr/>
          </p:nvSpPr>
          <p:spPr bwMode="auto">
            <a:xfrm>
              <a:off x="9464676" y="4937741"/>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8 h 61"/>
                <a:gd name="T10" fmla="*/ 45 w 45"/>
                <a:gd name="T11" fmla="*/ 48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452"/>
            <p:cNvSpPr>
              <a:spLocks noEditPoints="1"/>
            </p:cNvSpPr>
            <p:nvPr/>
          </p:nvSpPr>
          <p:spPr bwMode="auto">
            <a:xfrm>
              <a:off x="9544051" y="4934566"/>
              <a:ext cx="101600" cy="100013"/>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453"/>
            <p:cNvSpPr>
              <a:spLocks noEditPoints="1"/>
            </p:cNvSpPr>
            <p:nvPr/>
          </p:nvSpPr>
          <p:spPr bwMode="auto">
            <a:xfrm>
              <a:off x="9661526" y="4937741"/>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454"/>
            <p:cNvSpPr>
              <a:spLocks/>
            </p:cNvSpPr>
            <p:nvPr/>
          </p:nvSpPr>
          <p:spPr bwMode="auto">
            <a:xfrm>
              <a:off x="9767889" y="4937741"/>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1 h 61"/>
                <a:gd name="T10" fmla="*/ 16 w 45"/>
                <a:gd name="T11" fmla="*/ 11 h 61"/>
                <a:gd name="T12" fmla="*/ 16 w 45"/>
                <a:gd name="T13" fmla="*/ 21 h 61"/>
                <a:gd name="T14" fmla="*/ 42 w 45"/>
                <a:gd name="T15" fmla="*/ 21 h 61"/>
                <a:gd name="T16" fmla="*/ 42 w 45"/>
                <a:gd name="T17" fmla="*/ 35 h 61"/>
                <a:gd name="T18" fmla="*/ 16 w 45"/>
                <a:gd name="T19" fmla="*/ 35 h 61"/>
                <a:gd name="T20" fmla="*/ 16 w 45"/>
                <a:gd name="T21" fmla="*/ 48 h 61"/>
                <a:gd name="T22" fmla="*/ 45 w 45"/>
                <a:gd name="T23" fmla="*/ 48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1"/>
                  </a:lnTo>
                  <a:lnTo>
                    <a:pt x="16" y="11"/>
                  </a:lnTo>
                  <a:lnTo>
                    <a:pt x="16" y="21"/>
                  </a:lnTo>
                  <a:lnTo>
                    <a:pt x="42" y="21"/>
                  </a:lnTo>
                  <a:lnTo>
                    <a:pt x="42" y="35"/>
                  </a:lnTo>
                  <a:lnTo>
                    <a:pt x="16" y="35"/>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455"/>
            <p:cNvSpPr>
              <a:spLocks/>
            </p:cNvSpPr>
            <p:nvPr/>
          </p:nvSpPr>
          <p:spPr bwMode="auto">
            <a:xfrm>
              <a:off x="9859964" y="4937741"/>
              <a:ext cx="104775" cy="96838"/>
            </a:xfrm>
            <a:custGeom>
              <a:avLst/>
              <a:gdLst>
                <a:gd name="T0" fmla="*/ 66 w 66"/>
                <a:gd name="T1" fmla="*/ 61 h 61"/>
                <a:gd name="T2" fmla="*/ 50 w 66"/>
                <a:gd name="T3" fmla="*/ 61 h 61"/>
                <a:gd name="T4" fmla="*/ 50 w 66"/>
                <a:gd name="T5" fmla="*/ 19 h 61"/>
                <a:gd name="T6" fmla="*/ 40 w 66"/>
                <a:gd name="T7" fmla="*/ 45 h 61"/>
                <a:gd name="T8" fmla="*/ 27 w 66"/>
                <a:gd name="T9" fmla="*/ 45 h 61"/>
                <a:gd name="T10" fmla="*/ 16 w 66"/>
                <a:gd name="T11" fmla="*/ 19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9"/>
                  </a:lnTo>
                  <a:lnTo>
                    <a:pt x="40" y="45"/>
                  </a:lnTo>
                  <a:lnTo>
                    <a:pt x="27" y="45"/>
                  </a:lnTo>
                  <a:lnTo>
                    <a:pt x="16" y="19"/>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456"/>
            <p:cNvSpPr>
              <a:spLocks/>
            </p:cNvSpPr>
            <p:nvPr/>
          </p:nvSpPr>
          <p:spPr bwMode="auto">
            <a:xfrm>
              <a:off x="10033001" y="4937741"/>
              <a:ext cx="58738" cy="96838"/>
            </a:xfrm>
            <a:custGeom>
              <a:avLst/>
              <a:gdLst>
                <a:gd name="T0" fmla="*/ 37 w 37"/>
                <a:gd name="T1" fmla="*/ 61 h 61"/>
                <a:gd name="T2" fmla="*/ 0 w 37"/>
                <a:gd name="T3" fmla="*/ 61 h 61"/>
                <a:gd name="T4" fmla="*/ 0 w 37"/>
                <a:gd name="T5" fmla="*/ 51 h 61"/>
                <a:gd name="T6" fmla="*/ 10 w 37"/>
                <a:gd name="T7" fmla="*/ 51 h 61"/>
                <a:gd name="T8" fmla="*/ 10 w 37"/>
                <a:gd name="T9" fmla="*/ 11 h 61"/>
                <a:gd name="T10" fmla="*/ 0 w 37"/>
                <a:gd name="T11" fmla="*/ 11 h 61"/>
                <a:gd name="T12" fmla="*/ 0 w 37"/>
                <a:gd name="T13" fmla="*/ 0 h 61"/>
                <a:gd name="T14" fmla="*/ 37 w 37"/>
                <a:gd name="T15" fmla="*/ 0 h 61"/>
                <a:gd name="T16" fmla="*/ 37 w 37"/>
                <a:gd name="T17" fmla="*/ 11 h 61"/>
                <a:gd name="T18" fmla="*/ 26 w 37"/>
                <a:gd name="T19" fmla="*/ 11 h 61"/>
                <a:gd name="T20" fmla="*/ 26 w 37"/>
                <a:gd name="T21" fmla="*/ 51 h 61"/>
                <a:gd name="T22" fmla="*/ 37 w 37"/>
                <a:gd name="T23" fmla="*/ 51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1"/>
                  </a:lnTo>
                  <a:lnTo>
                    <a:pt x="10" y="51"/>
                  </a:lnTo>
                  <a:lnTo>
                    <a:pt x="10" y="11"/>
                  </a:lnTo>
                  <a:lnTo>
                    <a:pt x="0" y="11"/>
                  </a:lnTo>
                  <a:lnTo>
                    <a:pt x="0" y="0"/>
                  </a:lnTo>
                  <a:lnTo>
                    <a:pt x="37" y="0"/>
                  </a:lnTo>
                  <a:lnTo>
                    <a:pt x="37" y="11"/>
                  </a:lnTo>
                  <a:lnTo>
                    <a:pt x="26" y="11"/>
                  </a:lnTo>
                  <a:lnTo>
                    <a:pt x="26" y="51"/>
                  </a:lnTo>
                  <a:lnTo>
                    <a:pt x="37" y="51"/>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457"/>
            <p:cNvSpPr>
              <a:spLocks noEditPoints="1"/>
            </p:cNvSpPr>
            <p:nvPr/>
          </p:nvSpPr>
          <p:spPr bwMode="auto">
            <a:xfrm>
              <a:off x="10107614" y="4937741"/>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458"/>
            <p:cNvSpPr>
              <a:spLocks/>
            </p:cNvSpPr>
            <p:nvPr/>
          </p:nvSpPr>
          <p:spPr bwMode="auto">
            <a:xfrm>
              <a:off x="10204451" y="4934566"/>
              <a:ext cx="84138" cy="100013"/>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459"/>
            <p:cNvSpPr>
              <a:spLocks/>
            </p:cNvSpPr>
            <p:nvPr/>
          </p:nvSpPr>
          <p:spPr bwMode="auto">
            <a:xfrm>
              <a:off x="10306051" y="4937741"/>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460"/>
            <p:cNvSpPr>
              <a:spLocks/>
            </p:cNvSpPr>
            <p:nvPr/>
          </p:nvSpPr>
          <p:spPr bwMode="auto">
            <a:xfrm>
              <a:off x="10415589" y="4937741"/>
              <a:ext cx="100013" cy="96838"/>
            </a:xfrm>
            <a:custGeom>
              <a:avLst/>
              <a:gdLst>
                <a:gd name="T0" fmla="*/ 63 w 63"/>
                <a:gd name="T1" fmla="*/ 61 h 61"/>
                <a:gd name="T2" fmla="*/ 48 w 63"/>
                <a:gd name="T3" fmla="*/ 61 h 61"/>
                <a:gd name="T4" fmla="*/ 48 w 63"/>
                <a:gd name="T5" fmla="*/ 19 h 61"/>
                <a:gd name="T6" fmla="*/ 37 w 63"/>
                <a:gd name="T7" fmla="*/ 45 h 61"/>
                <a:gd name="T8" fmla="*/ 26 w 63"/>
                <a:gd name="T9" fmla="*/ 45 h 61"/>
                <a:gd name="T10" fmla="*/ 16 w 63"/>
                <a:gd name="T11" fmla="*/ 19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9"/>
                  </a:lnTo>
                  <a:lnTo>
                    <a:pt x="37" y="45"/>
                  </a:lnTo>
                  <a:lnTo>
                    <a:pt x="26" y="45"/>
                  </a:lnTo>
                  <a:lnTo>
                    <a:pt x="16" y="19"/>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461"/>
            <p:cNvSpPr>
              <a:spLocks/>
            </p:cNvSpPr>
            <p:nvPr/>
          </p:nvSpPr>
          <p:spPr bwMode="auto">
            <a:xfrm>
              <a:off x="9834564" y="4685328"/>
              <a:ext cx="76200" cy="101600"/>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462"/>
            <p:cNvSpPr>
              <a:spLocks noEditPoints="1"/>
            </p:cNvSpPr>
            <p:nvPr/>
          </p:nvSpPr>
          <p:spPr bwMode="auto">
            <a:xfrm>
              <a:off x="9926639" y="4685328"/>
              <a:ext cx="80963" cy="101600"/>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463"/>
            <p:cNvSpPr>
              <a:spLocks/>
            </p:cNvSpPr>
            <p:nvPr/>
          </p:nvSpPr>
          <p:spPr bwMode="auto">
            <a:xfrm>
              <a:off x="10033001" y="4685328"/>
              <a:ext cx="61913" cy="101600"/>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64"/>
            <p:cNvSpPr>
              <a:spLocks noEditPoints="1"/>
            </p:cNvSpPr>
            <p:nvPr/>
          </p:nvSpPr>
          <p:spPr bwMode="auto">
            <a:xfrm>
              <a:off x="10117139" y="4685328"/>
              <a:ext cx="84138" cy="101600"/>
            </a:xfrm>
            <a:custGeom>
              <a:avLst/>
              <a:gdLst>
                <a:gd name="T0" fmla="*/ 53 w 53"/>
                <a:gd name="T1" fmla="*/ 48 h 64"/>
                <a:gd name="T2" fmla="*/ 45 w 53"/>
                <a:gd name="T3" fmla="*/ 48 h 64"/>
                <a:gd name="T4" fmla="*/ 45 w 53"/>
                <a:gd name="T5" fmla="*/ 64 h 64"/>
                <a:gd name="T6" fmla="*/ 29 w 53"/>
                <a:gd name="T7" fmla="*/ 64 h 64"/>
                <a:gd name="T8" fmla="*/ 29 w 53"/>
                <a:gd name="T9" fmla="*/ 48 h 64"/>
                <a:gd name="T10" fmla="*/ 0 w 53"/>
                <a:gd name="T11" fmla="*/ 48 h 64"/>
                <a:gd name="T12" fmla="*/ 0 w 53"/>
                <a:gd name="T13" fmla="*/ 37 h 64"/>
                <a:gd name="T14" fmla="*/ 29 w 53"/>
                <a:gd name="T15" fmla="*/ 0 h 64"/>
                <a:gd name="T16" fmla="*/ 45 w 53"/>
                <a:gd name="T17" fmla="*/ 0 h 64"/>
                <a:gd name="T18" fmla="*/ 45 w 53"/>
                <a:gd name="T19" fmla="*/ 37 h 64"/>
                <a:gd name="T20" fmla="*/ 53 w 53"/>
                <a:gd name="T21" fmla="*/ 37 h 64"/>
                <a:gd name="T22" fmla="*/ 53 w 53"/>
                <a:gd name="T23" fmla="*/ 48 h 64"/>
                <a:gd name="T24" fmla="*/ 29 w 53"/>
                <a:gd name="T25" fmla="*/ 37 h 64"/>
                <a:gd name="T26" fmla="*/ 29 w 53"/>
                <a:gd name="T27" fmla="*/ 13 h 64"/>
                <a:gd name="T28" fmla="*/ 10 w 53"/>
                <a:gd name="T29" fmla="*/ 37 h 64"/>
                <a:gd name="T30" fmla="*/ 29 w 53"/>
                <a:gd name="T31"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4">
                  <a:moveTo>
                    <a:pt x="53" y="48"/>
                  </a:moveTo>
                  <a:lnTo>
                    <a:pt x="45" y="48"/>
                  </a:lnTo>
                  <a:lnTo>
                    <a:pt x="45" y="64"/>
                  </a:lnTo>
                  <a:lnTo>
                    <a:pt x="29" y="64"/>
                  </a:lnTo>
                  <a:lnTo>
                    <a:pt x="29" y="48"/>
                  </a:lnTo>
                  <a:lnTo>
                    <a:pt x="0" y="48"/>
                  </a:lnTo>
                  <a:lnTo>
                    <a:pt x="0" y="37"/>
                  </a:lnTo>
                  <a:lnTo>
                    <a:pt x="29" y="0"/>
                  </a:lnTo>
                  <a:lnTo>
                    <a:pt x="45" y="0"/>
                  </a:lnTo>
                  <a:lnTo>
                    <a:pt x="45" y="37"/>
                  </a:lnTo>
                  <a:lnTo>
                    <a:pt x="53" y="37"/>
                  </a:lnTo>
                  <a:lnTo>
                    <a:pt x="53" y="48"/>
                  </a:lnTo>
                  <a:close/>
                  <a:moveTo>
                    <a:pt x="29" y="37"/>
                  </a:moveTo>
                  <a:lnTo>
                    <a:pt x="29" y="13"/>
                  </a:lnTo>
                  <a:lnTo>
                    <a:pt x="10" y="37"/>
                  </a:lnTo>
                  <a:lnTo>
                    <a:pt x="29"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481"/>
            <p:cNvSpPr>
              <a:spLocks/>
            </p:cNvSpPr>
            <p:nvPr/>
          </p:nvSpPr>
          <p:spPr bwMode="auto">
            <a:xfrm>
              <a:off x="8401559" y="3865099"/>
              <a:ext cx="1165225" cy="231775"/>
            </a:xfrm>
            <a:custGeom>
              <a:avLst/>
              <a:gdLst>
                <a:gd name="T0" fmla="*/ 734 w 734"/>
                <a:gd name="T1" fmla="*/ 146 h 146"/>
                <a:gd name="T2" fmla="*/ 724 w 734"/>
                <a:gd name="T3" fmla="*/ 146 h 146"/>
                <a:gd name="T4" fmla="*/ 724 w 734"/>
                <a:gd name="T5" fmla="*/ 11 h 146"/>
                <a:gd name="T6" fmla="*/ 0 w 734"/>
                <a:gd name="T7" fmla="*/ 11 h 146"/>
                <a:gd name="T8" fmla="*/ 0 w 734"/>
                <a:gd name="T9" fmla="*/ 0 h 146"/>
                <a:gd name="T10" fmla="*/ 734 w 734"/>
                <a:gd name="T11" fmla="*/ 0 h 146"/>
                <a:gd name="T12" fmla="*/ 734 w 734"/>
                <a:gd name="T13" fmla="*/ 146 h 146"/>
                <a:gd name="T14" fmla="*/ 734 w 734"/>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4" h="146">
                  <a:moveTo>
                    <a:pt x="734" y="146"/>
                  </a:moveTo>
                  <a:lnTo>
                    <a:pt x="724" y="146"/>
                  </a:lnTo>
                  <a:lnTo>
                    <a:pt x="724" y="11"/>
                  </a:lnTo>
                  <a:lnTo>
                    <a:pt x="0" y="11"/>
                  </a:lnTo>
                  <a:lnTo>
                    <a:pt x="0" y="0"/>
                  </a:lnTo>
                  <a:lnTo>
                    <a:pt x="734" y="0"/>
                  </a:lnTo>
                  <a:lnTo>
                    <a:pt x="734" y="146"/>
                  </a:lnTo>
                  <a:lnTo>
                    <a:pt x="734" y="1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3" name="Text Placeholder 2"/>
            <p:cNvSpPr txBox="1">
              <a:spLocks/>
            </p:cNvSpPr>
            <p:nvPr/>
          </p:nvSpPr>
          <p:spPr>
            <a:xfrm>
              <a:off x="8413289" y="393146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700" dirty="0"/>
                <a:t>Lorem ipsum dolor sit amet, consectetur adipiscing elit. </a:t>
              </a:r>
            </a:p>
          </p:txBody>
        </p:sp>
      </p:grpSp>
      <p:pic>
        <p:nvPicPr>
          <p:cNvPr id="428" name="Picture 42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4761247"/>
            <a:ext cx="394334" cy="222234"/>
          </a:xfrm>
          <a:prstGeom prst="rect">
            <a:avLst/>
          </a:prstGeom>
        </p:spPr>
      </p:pic>
      <p:sp>
        <p:nvSpPr>
          <p:cNvPr id="430" name="Text Placeholder 2"/>
          <p:cNvSpPr txBox="1">
            <a:spLocks/>
          </p:cNvSpPr>
          <p:nvPr/>
        </p:nvSpPr>
        <p:spPr>
          <a:xfrm>
            <a:off x="1863562" y="4668720"/>
            <a:ext cx="5152553" cy="307777"/>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a:t>
            </a:r>
          </a:p>
        </p:txBody>
      </p:sp>
      <p:pic>
        <p:nvPicPr>
          <p:cNvPr id="431" name="Picture 4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5302267"/>
            <a:ext cx="394334" cy="222234"/>
          </a:xfrm>
          <a:prstGeom prst="rect">
            <a:avLst/>
          </a:prstGeom>
        </p:spPr>
      </p:pic>
      <p:sp>
        <p:nvSpPr>
          <p:cNvPr id="432" name="Text Placeholder 2"/>
          <p:cNvSpPr txBox="1">
            <a:spLocks/>
          </p:cNvSpPr>
          <p:nvPr/>
        </p:nvSpPr>
        <p:spPr>
          <a:xfrm>
            <a:off x="1863562" y="5209740"/>
            <a:ext cx="5152553" cy="769441"/>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Nulla feugiat risus lorem, vel condimentum lectus vehicula at. </a:t>
            </a:r>
          </a:p>
        </p:txBody>
      </p:sp>
    </p:spTree>
    <p:extLst>
      <p:ext uri="{BB962C8B-B14F-4D97-AF65-F5344CB8AC3E}">
        <p14:creationId xmlns:p14="http://schemas.microsoft.com/office/powerpoint/2010/main" val="2488282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ick to insert title</a:t>
            </a:r>
          </a:p>
        </p:txBody>
      </p:sp>
      <p:sp>
        <p:nvSpPr>
          <p:cNvPr id="7" name="Text Placeholder 6"/>
          <p:cNvSpPr>
            <a:spLocks noGrp="1"/>
          </p:cNvSpPr>
          <p:nvPr>
            <p:ph type="body" sz="quarter" idx="10"/>
          </p:nvPr>
        </p:nvSpPr>
        <p:spPr>
          <a:xfrm>
            <a:off x="407987" y="1413990"/>
            <a:ext cx="6602413" cy="2091210"/>
          </a:xfrm>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400" dirty="0" err="1"/>
              <a:t>Curabitur</a:t>
            </a:r>
            <a:r>
              <a:rPr lang="en-US" sz="1400" dirty="0"/>
              <a:t> sit </a:t>
            </a:r>
            <a:r>
              <a:rPr lang="en-US" sz="1400" dirty="0" err="1"/>
              <a:t>amet</a:t>
            </a:r>
            <a:r>
              <a:rPr lang="en-US" sz="1400" dirty="0"/>
              <a:t> </a:t>
            </a:r>
            <a:r>
              <a:rPr lang="en-US" sz="1400" dirty="0" err="1"/>
              <a:t>est</a:t>
            </a:r>
            <a:r>
              <a:rPr lang="en-US" sz="1400" dirty="0"/>
              <a:t> </a:t>
            </a:r>
            <a:r>
              <a:rPr lang="en-US" sz="1400" dirty="0" err="1"/>
              <a:t>consequat</a:t>
            </a:r>
            <a:r>
              <a:rPr lang="en-US" sz="1400" dirty="0"/>
              <a:t> </a:t>
            </a:r>
            <a:r>
              <a:rPr lang="en-US" sz="1400" dirty="0" err="1"/>
              <a:t>molestie</a:t>
            </a:r>
            <a:r>
              <a:rPr lang="en-US" sz="1400" dirty="0"/>
              <a:t> </a:t>
            </a:r>
            <a:r>
              <a:rPr lang="en-US" sz="1400" dirty="0" err="1"/>
              <a:t>quis</a:t>
            </a:r>
            <a:r>
              <a:rPr lang="en-US" sz="1400" dirty="0"/>
              <a:t> a </a:t>
            </a:r>
          </a:p>
          <a:p>
            <a:pPr marL="225425" indent="-225425">
              <a:buClr>
                <a:schemeClr val="tx2"/>
              </a:buClr>
              <a:buFont typeface="Wingdings" panose="05000000000000000000" pitchFamily="2" charset="2"/>
              <a:buChar char="§"/>
            </a:pPr>
            <a:r>
              <a:rPr lang="en-US" sz="1400" dirty="0" err="1"/>
              <a:t>Sed</a:t>
            </a:r>
            <a:r>
              <a:rPr lang="en-US" sz="1400" dirty="0"/>
              <a:t> </a:t>
            </a:r>
            <a:r>
              <a:rPr lang="en-US" sz="1400" dirty="0" err="1"/>
              <a:t>commodo</a:t>
            </a:r>
            <a:r>
              <a:rPr lang="en-US" sz="1400" dirty="0"/>
              <a:t> </a:t>
            </a:r>
            <a:r>
              <a:rPr lang="en-US" sz="1400" dirty="0" err="1"/>
              <a:t>lectus</a:t>
            </a:r>
            <a:r>
              <a:rPr lang="en-US" sz="1400" dirty="0"/>
              <a:t> </a:t>
            </a:r>
            <a:r>
              <a:rPr lang="en-US" sz="1400" dirty="0" err="1"/>
              <a:t>sed</a:t>
            </a:r>
            <a:r>
              <a:rPr lang="en-US" sz="1400" dirty="0"/>
              <a:t> </a:t>
            </a:r>
            <a:r>
              <a:rPr lang="en-US" sz="1400" dirty="0" err="1"/>
              <a:t>neque</a:t>
            </a:r>
            <a:r>
              <a:rPr lang="en-US" sz="1400" dirty="0"/>
              <a:t> </a:t>
            </a:r>
            <a:r>
              <a:rPr lang="en-US" sz="1400" dirty="0" err="1"/>
              <a:t>auctor</a:t>
            </a:r>
            <a:r>
              <a:rPr lang="en-US" sz="1400" dirty="0"/>
              <a:t> </a:t>
            </a:r>
          </a:p>
        </p:txBody>
      </p:sp>
      <p:graphicFrame>
        <p:nvGraphicFramePr>
          <p:cNvPr id="286"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407988" y="3505200"/>
          <a:ext cx="4926010" cy="2859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9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a:xfrm>
            <a:off x="6746628" y="1783959"/>
            <a:ext cx="4645250" cy="2889114"/>
          </a:xfrm>
        </p:spPr>
        <p:txBody>
          <a:bodyPr vert="horz" lIns="91440" tIns="45720" rIns="91440" bIns="45720" rtlCol="0" anchor="b">
            <a:normAutofit fontScale="90000"/>
          </a:bodyPr>
          <a:lstStyle/>
          <a:p>
            <a:pPr algn="ctr"/>
            <a:r>
              <a:rPr lang="en-US" altLang="sv-SE" sz="6000" dirty="0"/>
              <a:t>Skyscraper of the future</a:t>
            </a:r>
            <a:br>
              <a:rPr lang="en-US" altLang="sv-SE" sz="6000" dirty="0"/>
            </a:br>
            <a:br>
              <a:rPr lang="en-US" altLang="sv-SE" sz="6000" dirty="0"/>
            </a:br>
            <a:r>
              <a:rPr lang="en-US" altLang="sv-SE" sz="3600" dirty="0"/>
              <a:t>The secondary effects</a:t>
            </a:r>
          </a:p>
        </p:txBody>
      </p:sp>
      <p:sp>
        <p:nvSpPr>
          <p:cNvPr id="135" name="Freeform: Shape 134">
            <a:extLst>
              <a:ext uri="{FF2B5EF4-FFF2-40B4-BE49-F238E27FC236}">
                <a16:creationId xmlns:a16="http://schemas.microsoft.com/office/drawing/2014/main" id="{1DB7C82F-AB7E-4F0C-B829-FA1B9C4151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22" name="Picture 2" descr="https://upload.wikimedia.org/wikipedia/commons/thumb/f/fe/Detroit_Photographic_Company_%280645%29.jpg/800px-Detroit_Photographic_Company_%280645%29.jpg">
            <a:extLst>
              <a:ext uri="{FF2B5EF4-FFF2-40B4-BE49-F238E27FC236}">
                <a16:creationId xmlns:a16="http://schemas.microsoft.com/office/drawing/2014/main" id="{476872ED-F32D-44CC-8755-A87EB3DE959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2342" r="1" b="1"/>
          <a:stretch/>
        </p:blipFill>
        <p:spPr bwMode="auto">
          <a:xfrm>
            <a:off x="20" y="10"/>
            <a:ext cx="6024134" cy="6857990"/>
          </a:xfrm>
          <a:custGeom>
            <a:avLst/>
            <a:gdLst>
              <a:gd name="connsiteX0" fmla="*/ 0 w 6024154"/>
              <a:gd name="connsiteY0" fmla="*/ 0 h 6858000"/>
              <a:gd name="connsiteX1" fmla="*/ 5953780 w 6024154"/>
              <a:gd name="connsiteY1" fmla="*/ 0 h 6858000"/>
              <a:gd name="connsiteX2" fmla="*/ 5989880 w 6024154"/>
              <a:gd name="connsiteY2" fmla="*/ 284091 h 6858000"/>
              <a:gd name="connsiteX3" fmla="*/ 6024154 w 6024154"/>
              <a:gd name="connsiteY3" fmla="*/ 962844 h 6858000"/>
              <a:gd name="connsiteX4" fmla="*/ 2549934 w 6024154"/>
              <a:gd name="connsiteY4" fmla="*/ 6800152 h 6858000"/>
              <a:gd name="connsiteX5" fmla="*/ 2436987 w 6024154"/>
              <a:gd name="connsiteY5" fmla="*/ 6858000 h 6858000"/>
              <a:gd name="connsiteX6" fmla="*/ 0 w 602415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94979"/>
      </p:ext>
    </p:extLst>
  </p:cSld>
  <p:clrMapOvr>
    <a:overrideClrMapping bg1="dk1" tx1="lt1" bg2="dk2" tx2="lt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4" name="Text Placeholder 3"/>
          <p:cNvSpPr>
            <a:spLocks noGrp="1"/>
          </p:cNvSpPr>
          <p:nvPr>
            <p:ph type="body" sz="quarter" idx="34"/>
          </p:nvPr>
        </p:nvSpPr>
        <p:spPr/>
        <p:txBody>
          <a:bodyPr/>
          <a:lstStyle/>
          <a:p>
            <a:r>
              <a:rPr lang="en-US" dirty="0"/>
              <a:t>Designation</a:t>
            </a:r>
          </a:p>
        </p:txBody>
      </p:sp>
      <p:sp>
        <p:nvSpPr>
          <p:cNvPr id="5" name="Text Placeholder 4"/>
          <p:cNvSpPr>
            <a:spLocks noGrp="1"/>
          </p:cNvSpPr>
          <p:nvPr>
            <p:ph type="body" sz="quarter" idx="35"/>
          </p:nvPr>
        </p:nvSpPr>
        <p:spPr/>
        <p:txBody>
          <a:bodyPr/>
          <a:lstStyle/>
          <a:p>
            <a:r>
              <a:rPr lang="pt-PT" dirty="0"/>
              <a:t>First name Last name </a:t>
            </a:r>
            <a:endParaRPr lang="en-US" dirty="0"/>
          </a:p>
        </p:txBody>
      </p:sp>
      <p:pic>
        <p:nvPicPr>
          <p:cNvPr id="17" name="Picture 16">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29" name="Rectangle 28">
            <a:extLst>
              <a:ext uri="{FF2B5EF4-FFF2-40B4-BE49-F238E27FC236}">
                <a16:creationId xmlns:a16="http://schemas.microsoft.com/office/drawing/2014/main" id="{4DC6DE90-FB0F-4774-B533-4415E1BDD803}"/>
              </a:ext>
            </a:extLst>
          </p:cNvPr>
          <p:cNvSpPr/>
          <p:nvPr/>
        </p:nvSpPr>
        <p:spPr>
          <a:xfrm>
            <a:off x="5105400" y="1406432"/>
            <a:ext cx="3764963" cy="173646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0" name="Rectangle 29">
            <a:extLst>
              <a:ext uri="{FF2B5EF4-FFF2-40B4-BE49-F238E27FC236}">
                <a16:creationId xmlns:a16="http://schemas.microsoft.com/office/drawing/2014/main" id="{99EC5A94-649F-4527-BADE-33DE38D49E54}"/>
              </a:ext>
            </a:extLst>
          </p:cNvPr>
          <p:cNvSpPr/>
          <p:nvPr/>
        </p:nvSpPr>
        <p:spPr>
          <a:xfrm>
            <a:off x="5108784" y="3252229"/>
            <a:ext cx="3764963" cy="17364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31" name="Rectangle 30">
            <a:extLst>
              <a:ext uri="{FF2B5EF4-FFF2-40B4-BE49-F238E27FC236}">
                <a16:creationId xmlns:a16="http://schemas.microsoft.com/office/drawing/2014/main" id="{44E47C45-247A-4963-AB1A-CF4EE831D1D4}"/>
              </a:ext>
            </a:extLst>
          </p:cNvPr>
          <p:cNvSpPr/>
          <p:nvPr/>
        </p:nvSpPr>
        <p:spPr>
          <a:xfrm>
            <a:off x="8990214" y="1406431"/>
            <a:ext cx="2797920" cy="35781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4" name="Text Placeholder 3">
            <a:extLst>
              <a:ext uri="{FF2B5EF4-FFF2-40B4-BE49-F238E27FC236}">
                <a16:creationId xmlns:a16="http://schemas.microsoft.com/office/drawing/2014/main" id="{1ECD94BA-AD3F-4309-8C6F-E7497083CD6E}"/>
              </a:ext>
            </a:extLst>
          </p:cNvPr>
          <p:cNvSpPr txBox="1">
            <a:spLocks/>
          </p:cNvSpPr>
          <p:nvPr/>
        </p:nvSpPr>
        <p:spPr>
          <a:xfrm>
            <a:off x="525990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39" name="Text Placeholder 1"/>
          <p:cNvSpPr txBox="1">
            <a:spLocks/>
          </p:cNvSpPr>
          <p:nvPr/>
        </p:nvSpPr>
        <p:spPr>
          <a:xfrm>
            <a:off x="529884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15" name="Straight Connector 14"/>
          <p:cNvCxnSpPr/>
          <p:nvPr/>
        </p:nvCxnSpPr>
        <p:spPr>
          <a:xfrm>
            <a:off x="5275987" y="18178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1ECD94BA-AD3F-4309-8C6F-E7497083CD6E}"/>
              </a:ext>
            </a:extLst>
          </p:cNvPr>
          <p:cNvSpPr txBox="1">
            <a:spLocks/>
          </p:cNvSpPr>
          <p:nvPr/>
        </p:nvSpPr>
        <p:spPr>
          <a:xfrm>
            <a:off x="5259904" y="33828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5" name="Text Placeholder 1"/>
          <p:cNvSpPr txBox="1">
            <a:spLocks/>
          </p:cNvSpPr>
          <p:nvPr/>
        </p:nvSpPr>
        <p:spPr>
          <a:xfrm>
            <a:off x="5298847" y="37612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46" name="Straight Connector 45"/>
          <p:cNvCxnSpPr/>
          <p:nvPr/>
        </p:nvCxnSpPr>
        <p:spPr>
          <a:xfrm>
            <a:off x="5275987" y="36847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7" name="Text Placeholder 3">
            <a:extLst>
              <a:ext uri="{FF2B5EF4-FFF2-40B4-BE49-F238E27FC236}">
                <a16:creationId xmlns:a16="http://schemas.microsoft.com/office/drawing/2014/main" id="{1ECD94BA-AD3F-4309-8C6F-E7497083CD6E}"/>
              </a:ext>
            </a:extLst>
          </p:cNvPr>
          <p:cNvSpPr txBox="1">
            <a:spLocks/>
          </p:cNvSpPr>
          <p:nvPr/>
        </p:nvSpPr>
        <p:spPr>
          <a:xfrm>
            <a:off x="908514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8" name="Text Placeholder 1"/>
          <p:cNvSpPr txBox="1">
            <a:spLocks/>
          </p:cNvSpPr>
          <p:nvPr/>
        </p:nvSpPr>
        <p:spPr>
          <a:xfrm>
            <a:off x="912408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0"/>
              </a:spcAft>
            </a:pPr>
            <a:r>
              <a:rPr lang="en-US" sz="1200" dirty="0"/>
              <a:t>Proin iaculis egestas massa, in cursus nisi condimentum non. Orci varius natoque penatibus magnis dis parturient montes, nascetur ridiculus mus. Nulla feugiat risus lorem, vel condimentum lectus vehicula at. Maecenas vel turpis aliquet, tincidunt lacus eget, fringilla enim Ut et leo vitae elit rhoncus gravida. Morbi id sagittis dolor. Etiam accumsan euismod tempor dapibus. Donec quam tellus, varius sed egestas at, commodo ac odio. </a:t>
            </a:r>
          </a:p>
        </p:txBody>
      </p:sp>
      <p:cxnSp>
        <p:nvCxnSpPr>
          <p:cNvPr id="49" name="Straight Connector 48"/>
          <p:cNvCxnSpPr/>
          <p:nvPr/>
        </p:nvCxnSpPr>
        <p:spPr>
          <a:xfrm>
            <a:off x="9101227" y="1817860"/>
            <a:ext cx="2471648"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2830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02895" y="1634220"/>
            <a:ext cx="1452563" cy="1671637"/>
          </a:xfrm>
        </p:spPr>
      </p:sp>
      <p:sp>
        <p:nvSpPr>
          <p:cNvPr id="12" name="Picture Placeholder 11"/>
          <p:cNvSpPr>
            <a:spLocks noGrp="1"/>
          </p:cNvSpPr>
          <p:nvPr>
            <p:ph type="pic" sz="quarter" idx="11"/>
          </p:nvPr>
        </p:nvSpPr>
        <p:spPr>
          <a:xfrm>
            <a:off x="6433975" y="1634220"/>
            <a:ext cx="1452563" cy="1671637"/>
          </a:xfrm>
        </p:spPr>
      </p:sp>
      <p:sp>
        <p:nvSpPr>
          <p:cNvPr id="14" name="Picture Placeholder 13"/>
          <p:cNvSpPr>
            <a:spLocks noGrp="1"/>
          </p:cNvSpPr>
          <p:nvPr>
            <p:ph type="pic" sz="quarter" idx="12"/>
          </p:nvPr>
        </p:nvSpPr>
        <p:spPr>
          <a:xfrm>
            <a:off x="602895" y="4110260"/>
            <a:ext cx="1452563" cy="1671637"/>
          </a:xfrm>
        </p:spPr>
      </p:sp>
      <p:sp>
        <p:nvSpPr>
          <p:cNvPr id="15" name="Picture Placeholder 14"/>
          <p:cNvSpPr>
            <a:spLocks noGrp="1"/>
          </p:cNvSpPr>
          <p:nvPr>
            <p:ph type="pic" sz="quarter" idx="13"/>
          </p:nvPr>
        </p:nvSpPr>
        <p:spPr>
          <a:xfrm>
            <a:off x="6433975" y="4110260"/>
            <a:ext cx="1452563" cy="1671637"/>
          </a:xfrm>
        </p:spPr>
      </p:sp>
      <p:sp>
        <p:nvSpPr>
          <p:cNvPr id="13" name="Title 12">
            <a:extLst>
              <a:ext uri="{FF2B5EF4-FFF2-40B4-BE49-F238E27FC236}">
                <a16:creationId xmlns:a16="http://schemas.microsoft.com/office/drawing/2014/main" id="{7D67F00E-64D4-4F25-808C-DFA838438E12}"/>
              </a:ext>
            </a:extLst>
          </p:cNvPr>
          <p:cNvSpPr>
            <a:spLocks noGrp="1"/>
          </p:cNvSpPr>
          <p:nvPr>
            <p:ph type="title"/>
          </p:nvPr>
        </p:nvSpPr>
        <p:spPr/>
        <p:txBody>
          <a:bodyPr/>
          <a:lstStyle/>
          <a:p>
            <a:r>
              <a:rPr lang="en-US" dirty="0"/>
              <a:t>Click to insert title</a:t>
            </a:r>
            <a:endParaRPr lang="pt-PT" dirty="0"/>
          </a:p>
        </p:txBody>
      </p:sp>
      <p:sp>
        <p:nvSpPr>
          <p:cNvPr id="18" name="Text Placeholder 17">
            <a:extLst>
              <a:ext uri="{FF2B5EF4-FFF2-40B4-BE49-F238E27FC236}">
                <a16:creationId xmlns:a16="http://schemas.microsoft.com/office/drawing/2014/main" id="{9174A902-9E50-453A-9B77-E7A4A3EEB9F8}"/>
              </a:ext>
            </a:extLst>
          </p:cNvPr>
          <p:cNvSpPr>
            <a:spLocks noGrp="1"/>
          </p:cNvSpPr>
          <p:nvPr>
            <p:ph type="body" sz="quarter" idx="32"/>
          </p:nvPr>
        </p:nvSpPr>
        <p:spPr>
          <a:xfrm>
            <a:off x="2186348"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19" name="Text Placeholder 18">
            <a:extLst>
              <a:ext uri="{FF2B5EF4-FFF2-40B4-BE49-F238E27FC236}">
                <a16:creationId xmlns:a16="http://schemas.microsoft.com/office/drawing/2014/main" id="{EA1EAE22-96D4-49DE-8534-1506BC81013D}"/>
              </a:ext>
            </a:extLst>
          </p:cNvPr>
          <p:cNvSpPr>
            <a:spLocks noGrp="1"/>
          </p:cNvSpPr>
          <p:nvPr>
            <p:ph type="body" sz="quarter" idx="33"/>
          </p:nvPr>
        </p:nvSpPr>
        <p:spPr>
          <a:xfrm>
            <a:off x="8018823"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0" name="Text Placeholder 19">
            <a:extLst>
              <a:ext uri="{FF2B5EF4-FFF2-40B4-BE49-F238E27FC236}">
                <a16:creationId xmlns:a16="http://schemas.microsoft.com/office/drawing/2014/main" id="{0B31EF80-EA35-4F64-8528-BE1603C43CB9}"/>
              </a:ext>
            </a:extLst>
          </p:cNvPr>
          <p:cNvSpPr>
            <a:spLocks noGrp="1"/>
          </p:cNvSpPr>
          <p:nvPr>
            <p:ph type="body" sz="quarter" idx="34"/>
          </p:nvPr>
        </p:nvSpPr>
        <p:spPr>
          <a:xfrm>
            <a:off x="2186348"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1" name="Text Placeholder 20">
            <a:extLst>
              <a:ext uri="{FF2B5EF4-FFF2-40B4-BE49-F238E27FC236}">
                <a16:creationId xmlns:a16="http://schemas.microsoft.com/office/drawing/2014/main" id="{E4D687FA-B9EC-43B9-9A40-1F773D209C43}"/>
              </a:ext>
            </a:extLst>
          </p:cNvPr>
          <p:cNvSpPr>
            <a:spLocks noGrp="1"/>
          </p:cNvSpPr>
          <p:nvPr>
            <p:ph type="body" sz="quarter" idx="35"/>
          </p:nvPr>
        </p:nvSpPr>
        <p:spPr>
          <a:xfrm>
            <a:off x="8018823"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4" name="Retângulo 1">
            <a:extLst>
              <a:ext uri="{FF2B5EF4-FFF2-40B4-BE49-F238E27FC236}">
                <a16:creationId xmlns:a16="http://schemas.microsoft.com/office/drawing/2014/main" id="{241F2392-C435-4DDD-ABF5-A3A397441338}"/>
              </a:ext>
            </a:extLst>
          </p:cNvPr>
          <p:cNvSpPr/>
          <p:nvPr/>
        </p:nvSpPr>
        <p:spPr>
          <a:xfrm>
            <a:off x="458204" y="1440847"/>
            <a:ext cx="549333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tângulo 1">
            <a:extLst>
              <a:ext uri="{FF2B5EF4-FFF2-40B4-BE49-F238E27FC236}">
                <a16:creationId xmlns:a16="http://schemas.microsoft.com/office/drawing/2014/main" id="{6AFA7B94-A8C4-443E-8BB2-95A5ACCB9FB8}"/>
              </a:ext>
            </a:extLst>
          </p:cNvPr>
          <p:cNvSpPr/>
          <p:nvPr/>
        </p:nvSpPr>
        <p:spPr>
          <a:xfrm>
            <a:off x="6148117" y="1440847"/>
            <a:ext cx="5614675"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tângulo 1">
            <a:extLst>
              <a:ext uri="{FF2B5EF4-FFF2-40B4-BE49-F238E27FC236}">
                <a16:creationId xmlns:a16="http://schemas.microsoft.com/office/drawing/2014/main" id="{EE911138-91EC-403D-98A1-63E4D5AA2910}"/>
              </a:ext>
            </a:extLst>
          </p:cNvPr>
          <p:cNvSpPr/>
          <p:nvPr/>
        </p:nvSpPr>
        <p:spPr>
          <a:xfrm>
            <a:off x="458204" y="3949592"/>
            <a:ext cx="547211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tângulo 1">
            <a:extLst>
              <a:ext uri="{FF2B5EF4-FFF2-40B4-BE49-F238E27FC236}">
                <a16:creationId xmlns:a16="http://schemas.microsoft.com/office/drawing/2014/main" id="{7CD8975D-EC41-4A07-8774-E97D84272A37}"/>
              </a:ext>
            </a:extLst>
          </p:cNvPr>
          <p:cNvSpPr/>
          <p:nvPr/>
        </p:nvSpPr>
        <p:spPr>
          <a:xfrm>
            <a:off x="6148118" y="3949592"/>
            <a:ext cx="5614674"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318037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828" name="Object 82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17" name="Groupe 209">
            <a:extLst>
              <a:ext uri="{FF2B5EF4-FFF2-40B4-BE49-F238E27FC236}">
                <a16:creationId xmlns:a16="http://schemas.microsoft.com/office/drawing/2014/main" id="{786BE81C-9891-4574-B272-932BCD30EDA2}"/>
              </a:ext>
            </a:extLst>
          </p:cNvPr>
          <p:cNvGrpSpPr/>
          <p:nvPr/>
        </p:nvGrpSpPr>
        <p:grpSpPr>
          <a:xfrm>
            <a:off x="4160838" y="3527743"/>
            <a:ext cx="1930400" cy="2001521"/>
            <a:chOff x="4008438" y="3248343"/>
            <a:chExt cx="1930400" cy="2001521"/>
          </a:xfrm>
          <a:solidFill>
            <a:schemeClr val="accent5"/>
          </a:solidFill>
        </p:grpSpPr>
        <p:grpSp>
          <p:nvGrpSpPr>
            <p:cNvPr id="1045" name="Groupe 208">
              <a:extLst>
                <a:ext uri="{FF2B5EF4-FFF2-40B4-BE49-F238E27FC236}">
                  <a16:creationId xmlns:a16="http://schemas.microsoft.com/office/drawing/2014/main" id="{75B47611-E967-4B6C-BCAD-4B4CBFA46C64}"/>
                </a:ext>
              </a:extLst>
            </p:cNvPr>
            <p:cNvGrpSpPr/>
            <p:nvPr/>
          </p:nvGrpSpPr>
          <p:grpSpPr>
            <a:xfrm>
              <a:off x="4008438" y="3248343"/>
              <a:ext cx="423863" cy="429896"/>
              <a:chOff x="4008438" y="3248343"/>
              <a:chExt cx="423863" cy="429896"/>
            </a:xfrm>
            <a:grpFill/>
          </p:grpSpPr>
          <p:sp>
            <p:nvSpPr>
              <p:cNvPr id="1048" name="Freeform 31">
                <a:extLst>
                  <a:ext uri="{FF2B5EF4-FFF2-40B4-BE49-F238E27FC236}">
                    <a16:creationId xmlns:a16="http://schemas.microsoft.com/office/drawing/2014/main" id="{225290C9-C93F-42E4-8264-1C7C629AB720}"/>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9" name="Freeform 35">
                <a:extLst>
                  <a:ext uri="{FF2B5EF4-FFF2-40B4-BE49-F238E27FC236}">
                    <a16:creationId xmlns:a16="http://schemas.microsoft.com/office/drawing/2014/main" id="{3458C387-B654-47D2-AE25-B159200E40B6}"/>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46" name="Freeform 37">
              <a:extLst>
                <a:ext uri="{FF2B5EF4-FFF2-40B4-BE49-F238E27FC236}">
                  <a16:creationId xmlns:a16="http://schemas.microsoft.com/office/drawing/2014/main" id="{81931CF6-2D8F-49CE-B904-A3EEF40394A7}"/>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7" name="Freeform 38">
              <a:extLst>
                <a:ext uri="{FF2B5EF4-FFF2-40B4-BE49-F238E27FC236}">
                  <a16:creationId xmlns:a16="http://schemas.microsoft.com/office/drawing/2014/main" id="{0212AE07-CBE7-4D0A-AEA7-5EDFA14AC979}"/>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8" name="Groupe 210">
            <a:extLst>
              <a:ext uri="{FF2B5EF4-FFF2-40B4-BE49-F238E27FC236}">
                <a16:creationId xmlns:a16="http://schemas.microsoft.com/office/drawing/2014/main" id="{4B3E6BFF-F364-4438-AA1B-1052735E145D}"/>
              </a:ext>
            </a:extLst>
          </p:cNvPr>
          <p:cNvGrpSpPr/>
          <p:nvPr/>
        </p:nvGrpSpPr>
        <p:grpSpPr>
          <a:xfrm>
            <a:off x="149225" y="1090613"/>
            <a:ext cx="3492501" cy="2743200"/>
            <a:chOff x="-3175" y="811213"/>
            <a:chExt cx="3492501" cy="2743200"/>
          </a:xfrm>
          <a:solidFill>
            <a:schemeClr val="accent2"/>
          </a:solidFill>
        </p:grpSpPr>
        <p:sp>
          <p:nvSpPr>
            <p:cNvPr id="1042" name="Freeform 39">
              <a:extLst>
                <a:ext uri="{FF2B5EF4-FFF2-40B4-BE49-F238E27FC236}">
                  <a16:creationId xmlns:a16="http://schemas.microsoft.com/office/drawing/2014/main" id="{C2DE8D50-ABC9-4B93-A92B-8A4C31C8C45D}"/>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grp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3" name="Freeform 40">
              <a:extLst>
                <a:ext uri="{FF2B5EF4-FFF2-40B4-BE49-F238E27FC236}">
                  <a16:creationId xmlns:a16="http://schemas.microsoft.com/office/drawing/2014/main" id="{05C002CE-38DA-4113-848E-DDF0D58AA3AA}"/>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4" name="Freeform 41">
              <a:extLst>
                <a:ext uri="{FF2B5EF4-FFF2-40B4-BE49-F238E27FC236}">
                  <a16:creationId xmlns:a16="http://schemas.microsoft.com/office/drawing/2014/main" id="{18763781-9207-4E8C-B1E4-013F184D9FBC}"/>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9" name="Groupe 211">
            <a:extLst>
              <a:ext uri="{FF2B5EF4-FFF2-40B4-BE49-F238E27FC236}">
                <a16:creationId xmlns:a16="http://schemas.microsoft.com/office/drawing/2014/main" id="{EFE3FE53-5B0C-4E4D-AF49-1063FDADCA41}"/>
              </a:ext>
            </a:extLst>
          </p:cNvPr>
          <p:cNvGrpSpPr/>
          <p:nvPr/>
        </p:nvGrpSpPr>
        <p:grpSpPr>
          <a:xfrm>
            <a:off x="1535113" y="3568701"/>
            <a:ext cx="2152650" cy="2760662"/>
            <a:chOff x="1382713" y="3289301"/>
            <a:chExt cx="2152650" cy="2760662"/>
          </a:xfrm>
          <a:solidFill>
            <a:schemeClr val="accent4"/>
          </a:solidFill>
        </p:grpSpPr>
        <p:sp>
          <p:nvSpPr>
            <p:cNvPr id="1036" name="Freeform 42">
              <a:extLst>
                <a:ext uri="{FF2B5EF4-FFF2-40B4-BE49-F238E27FC236}">
                  <a16:creationId xmlns:a16="http://schemas.microsoft.com/office/drawing/2014/main" id="{4B68A786-0EB3-462F-BE29-FC000F16CEBC}"/>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43">
              <a:extLst>
                <a:ext uri="{FF2B5EF4-FFF2-40B4-BE49-F238E27FC236}">
                  <a16:creationId xmlns:a16="http://schemas.microsoft.com/office/drawing/2014/main" id="{2559F6E6-E6AE-4B90-9F4D-E77C24325347}"/>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44">
              <a:extLst>
                <a:ext uri="{FF2B5EF4-FFF2-40B4-BE49-F238E27FC236}">
                  <a16:creationId xmlns:a16="http://schemas.microsoft.com/office/drawing/2014/main" id="{6A1F0014-2F00-4E36-9CF4-2CFADFBC9CA7}"/>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9" name="Freeform 45">
              <a:extLst>
                <a:ext uri="{FF2B5EF4-FFF2-40B4-BE49-F238E27FC236}">
                  <a16:creationId xmlns:a16="http://schemas.microsoft.com/office/drawing/2014/main" id="{C045DC49-3FF7-45A0-9BFF-3CC8AE6E2917}"/>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0" name="Freeform 46">
              <a:extLst>
                <a:ext uri="{FF2B5EF4-FFF2-40B4-BE49-F238E27FC236}">
                  <a16:creationId xmlns:a16="http://schemas.microsoft.com/office/drawing/2014/main" id="{9ACEFA3D-C52A-476F-B920-3516CA7F0B99}"/>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1" name="Freeform 47">
              <a:extLst>
                <a:ext uri="{FF2B5EF4-FFF2-40B4-BE49-F238E27FC236}">
                  <a16:creationId xmlns:a16="http://schemas.microsoft.com/office/drawing/2014/main" id="{87C022CF-C5CD-4796-8FAB-D75B69825379}"/>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0" name="Freeform 5">
            <a:extLst>
              <a:ext uri="{FF2B5EF4-FFF2-40B4-BE49-F238E27FC236}">
                <a16:creationId xmlns:a16="http://schemas.microsoft.com/office/drawing/2014/main" id="{1D6FA62A-25C4-47BF-BC26-8D7B292F463D}"/>
              </a:ext>
            </a:extLst>
          </p:cNvPr>
          <p:cNvSpPr>
            <a:spLocks noEditPoints="1"/>
          </p:cNvSpPr>
          <p:nvPr/>
        </p:nvSpPr>
        <p:spPr bwMode="auto">
          <a:xfrm>
            <a:off x="6253163" y="27162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21" name="Groupe 220">
            <a:extLst>
              <a:ext uri="{FF2B5EF4-FFF2-40B4-BE49-F238E27FC236}">
                <a16:creationId xmlns:a16="http://schemas.microsoft.com/office/drawing/2014/main" id="{B4ECABCA-ACA6-41B6-AAEA-9397538CB762}"/>
              </a:ext>
            </a:extLst>
          </p:cNvPr>
          <p:cNvGrpSpPr/>
          <p:nvPr/>
        </p:nvGrpSpPr>
        <p:grpSpPr>
          <a:xfrm>
            <a:off x="4352925" y="1181101"/>
            <a:ext cx="4411663" cy="2332037"/>
            <a:chOff x="4200525" y="901701"/>
            <a:chExt cx="4411663" cy="2332037"/>
          </a:xfrm>
          <a:solidFill>
            <a:schemeClr val="accent3"/>
          </a:solidFill>
        </p:grpSpPr>
        <p:sp>
          <p:nvSpPr>
            <p:cNvPr id="1012" name="Freeform 6">
              <a:extLst>
                <a:ext uri="{FF2B5EF4-FFF2-40B4-BE49-F238E27FC236}">
                  <a16:creationId xmlns:a16="http://schemas.microsoft.com/office/drawing/2014/main" id="{DF55093F-C8B8-479D-9786-B98754B6DEB8}"/>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3" name="Groupe 219">
              <a:extLst>
                <a:ext uri="{FF2B5EF4-FFF2-40B4-BE49-F238E27FC236}">
                  <a16:creationId xmlns:a16="http://schemas.microsoft.com/office/drawing/2014/main" id="{790AF242-10E5-47AB-B5D9-4DAE89B2095E}"/>
                </a:ext>
              </a:extLst>
            </p:cNvPr>
            <p:cNvGrpSpPr/>
            <p:nvPr/>
          </p:nvGrpSpPr>
          <p:grpSpPr>
            <a:xfrm>
              <a:off x="4556125" y="1839913"/>
              <a:ext cx="601663" cy="736600"/>
              <a:chOff x="4556125" y="1839913"/>
              <a:chExt cx="601663" cy="736600"/>
            </a:xfrm>
            <a:grpFill/>
          </p:grpSpPr>
          <p:sp>
            <p:nvSpPr>
              <p:cNvPr id="1033" name="Freeform 8">
                <a:extLst>
                  <a:ext uri="{FF2B5EF4-FFF2-40B4-BE49-F238E27FC236}">
                    <a16:creationId xmlns:a16="http://schemas.microsoft.com/office/drawing/2014/main" id="{3860D93B-8129-4F53-AA8C-5B8431DA62A3}"/>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9">
                <a:extLst>
                  <a:ext uri="{FF2B5EF4-FFF2-40B4-BE49-F238E27FC236}">
                    <a16:creationId xmlns:a16="http://schemas.microsoft.com/office/drawing/2014/main" id="{4D6B3CA2-1B53-4E11-932D-34B49B18CC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5" name="Freeform 10">
                <a:extLst>
                  <a:ext uri="{FF2B5EF4-FFF2-40B4-BE49-F238E27FC236}">
                    <a16:creationId xmlns:a16="http://schemas.microsoft.com/office/drawing/2014/main" id="{3B079C95-3AD3-45A4-841A-C983367F71E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14" name="Groupe 218">
              <a:extLst>
                <a:ext uri="{FF2B5EF4-FFF2-40B4-BE49-F238E27FC236}">
                  <a16:creationId xmlns:a16="http://schemas.microsoft.com/office/drawing/2014/main" id="{448F5279-4DF9-401A-9CB3-649D0B13F8F1}"/>
                </a:ext>
              </a:extLst>
            </p:cNvPr>
            <p:cNvGrpSpPr/>
            <p:nvPr/>
          </p:nvGrpSpPr>
          <p:grpSpPr>
            <a:xfrm>
              <a:off x="4200525" y="2351088"/>
              <a:ext cx="996950" cy="882650"/>
              <a:chOff x="4200525" y="2351088"/>
              <a:chExt cx="996950" cy="882650"/>
            </a:xfrm>
            <a:grpFill/>
          </p:grpSpPr>
          <p:sp>
            <p:nvSpPr>
              <p:cNvPr id="1015" name="Freeform 12">
                <a:extLst>
                  <a:ext uri="{FF2B5EF4-FFF2-40B4-BE49-F238E27FC236}">
                    <a16:creationId xmlns:a16="http://schemas.microsoft.com/office/drawing/2014/main" id="{93479342-28FA-4DD0-A347-86F556BE940D}"/>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6" name="Freeform 7">
                <a:extLst>
                  <a:ext uri="{FF2B5EF4-FFF2-40B4-BE49-F238E27FC236}">
                    <a16:creationId xmlns:a16="http://schemas.microsoft.com/office/drawing/2014/main" id="{75B96913-0906-49E7-BB83-E925E19AE0EF}"/>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7" name="Freeform 11">
                <a:extLst>
                  <a:ext uri="{FF2B5EF4-FFF2-40B4-BE49-F238E27FC236}">
                    <a16:creationId xmlns:a16="http://schemas.microsoft.com/office/drawing/2014/main" id="{52644C25-6AD8-4159-92A9-6357D70A5ADE}"/>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8" name="Freeform 14">
                <a:extLst>
                  <a:ext uri="{FF2B5EF4-FFF2-40B4-BE49-F238E27FC236}">
                    <a16:creationId xmlns:a16="http://schemas.microsoft.com/office/drawing/2014/main" id="{445A989D-6F50-4376-AE72-906FA40DBCCF}"/>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9" name="Freeform 15">
                <a:extLst>
                  <a:ext uri="{FF2B5EF4-FFF2-40B4-BE49-F238E27FC236}">
                    <a16:creationId xmlns:a16="http://schemas.microsoft.com/office/drawing/2014/main" id="{21811362-91D3-4C01-A345-627083F3A203}"/>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0" name="Freeform 16">
                <a:extLst>
                  <a:ext uri="{FF2B5EF4-FFF2-40B4-BE49-F238E27FC236}">
                    <a16:creationId xmlns:a16="http://schemas.microsoft.com/office/drawing/2014/main" id="{1A63CD6B-1DBA-496B-B1FB-E18FF0B372F3}"/>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1" name="Freeform 17">
                <a:extLst>
                  <a:ext uri="{FF2B5EF4-FFF2-40B4-BE49-F238E27FC236}">
                    <a16:creationId xmlns:a16="http://schemas.microsoft.com/office/drawing/2014/main" id="{3652D3F3-CCCD-4212-A113-1796BFDC35BD}"/>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2" name="Freeform 18">
                <a:extLst>
                  <a:ext uri="{FF2B5EF4-FFF2-40B4-BE49-F238E27FC236}">
                    <a16:creationId xmlns:a16="http://schemas.microsoft.com/office/drawing/2014/main" id="{D30AB09A-5C93-43D8-88C9-651B8A30ACE3}"/>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3" name="Freeform 19">
                <a:extLst>
                  <a:ext uri="{FF2B5EF4-FFF2-40B4-BE49-F238E27FC236}">
                    <a16:creationId xmlns:a16="http://schemas.microsoft.com/office/drawing/2014/main" id="{59A4ACF0-1894-49FA-BA4A-85883FFDC671}"/>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4" name="Freeform 20">
                <a:extLst>
                  <a:ext uri="{FF2B5EF4-FFF2-40B4-BE49-F238E27FC236}">
                    <a16:creationId xmlns:a16="http://schemas.microsoft.com/office/drawing/2014/main" id="{E9E021EC-A712-4A09-97D8-D1A707DB788D}"/>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5" name="Freeform 21">
                <a:extLst>
                  <a:ext uri="{FF2B5EF4-FFF2-40B4-BE49-F238E27FC236}">
                    <a16:creationId xmlns:a16="http://schemas.microsoft.com/office/drawing/2014/main" id="{8B4F9FD6-F9C6-4217-8DF1-C03BA2D1E07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 name="Freeform 22">
                <a:extLst>
                  <a:ext uri="{FF2B5EF4-FFF2-40B4-BE49-F238E27FC236}">
                    <a16:creationId xmlns:a16="http://schemas.microsoft.com/office/drawing/2014/main" id="{66D64E7E-969B-4CFC-A7AF-2F82796FF577}"/>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7" name="Freeform 23">
                <a:extLst>
                  <a:ext uri="{FF2B5EF4-FFF2-40B4-BE49-F238E27FC236}">
                    <a16:creationId xmlns:a16="http://schemas.microsoft.com/office/drawing/2014/main" id="{9DF224B5-08A6-4A98-95A3-632B6086683C}"/>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8" name="Freeform 24">
                <a:extLst>
                  <a:ext uri="{FF2B5EF4-FFF2-40B4-BE49-F238E27FC236}">
                    <a16:creationId xmlns:a16="http://schemas.microsoft.com/office/drawing/2014/main" id="{3354840D-10AC-433E-A181-B99D7489C6A4}"/>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25">
                <a:extLst>
                  <a:ext uri="{FF2B5EF4-FFF2-40B4-BE49-F238E27FC236}">
                    <a16:creationId xmlns:a16="http://schemas.microsoft.com/office/drawing/2014/main" id="{5092B713-6C5F-49DA-A0D7-1B0CB97BAFBC}"/>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26">
                <a:extLst>
                  <a:ext uri="{FF2B5EF4-FFF2-40B4-BE49-F238E27FC236}">
                    <a16:creationId xmlns:a16="http://schemas.microsoft.com/office/drawing/2014/main" id="{13CB0A1B-9534-4CE8-96C6-88CE9F99A30C}"/>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27">
                <a:extLst>
                  <a:ext uri="{FF2B5EF4-FFF2-40B4-BE49-F238E27FC236}">
                    <a16:creationId xmlns:a16="http://schemas.microsoft.com/office/drawing/2014/main" id="{C17E9F09-DF19-4BD4-A516-CEFA5C60D178}"/>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28">
                <a:extLst>
                  <a:ext uri="{FF2B5EF4-FFF2-40B4-BE49-F238E27FC236}">
                    <a16:creationId xmlns:a16="http://schemas.microsoft.com/office/drawing/2014/main" id="{1463D86A-1717-400D-87EB-6CEDC28ACF11}"/>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22" name="Groupe 221">
            <a:extLst>
              <a:ext uri="{FF2B5EF4-FFF2-40B4-BE49-F238E27FC236}">
                <a16:creationId xmlns:a16="http://schemas.microsoft.com/office/drawing/2014/main" id="{32070142-1428-42F0-9E68-4169FC98993E}"/>
              </a:ext>
            </a:extLst>
          </p:cNvPr>
          <p:cNvGrpSpPr/>
          <p:nvPr/>
        </p:nvGrpSpPr>
        <p:grpSpPr>
          <a:xfrm>
            <a:off x="2212975" y="1166813"/>
            <a:ext cx="6970713" cy="4395788"/>
            <a:chOff x="2060575" y="887413"/>
            <a:chExt cx="6970713" cy="4395788"/>
          </a:xfrm>
        </p:grpSpPr>
        <p:sp>
          <p:nvSpPr>
            <p:cNvPr id="856" name="Freeform 29">
              <a:extLst>
                <a:ext uri="{FF2B5EF4-FFF2-40B4-BE49-F238E27FC236}">
                  <a16:creationId xmlns:a16="http://schemas.microsoft.com/office/drawing/2014/main" id="{821BFB43-1102-42AF-811B-FA3EBD1EA1C8}"/>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30">
              <a:extLst>
                <a:ext uri="{FF2B5EF4-FFF2-40B4-BE49-F238E27FC236}">
                  <a16:creationId xmlns:a16="http://schemas.microsoft.com/office/drawing/2014/main" id="{EA26CCE6-F337-41D6-8B87-B5AE2B32D2DD}"/>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5"/>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32">
              <a:extLst>
                <a:ext uri="{FF2B5EF4-FFF2-40B4-BE49-F238E27FC236}">
                  <a16:creationId xmlns:a16="http://schemas.microsoft.com/office/drawing/2014/main" id="{02CC5078-53B9-447F-89AA-0AEF8205ABBC}"/>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Line 33">
              <a:extLst>
                <a:ext uri="{FF2B5EF4-FFF2-40B4-BE49-F238E27FC236}">
                  <a16:creationId xmlns:a16="http://schemas.microsoft.com/office/drawing/2014/main" id="{FF414FF5-A71A-42F4-A9DE-EA85CBEACF91}"/>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Line 34">
              <a:extLst>
                <a:ext uri="{FF2B5EF4-FFF2-40B4-BE49-F238E27FC236}">
                  <a16:creationId xmlns:a16="http://schemas.microsoft.com/office/drawing/2014/main" id="{05F0F9E2-DEF2-49E7-9A48-E068250EF9E4}"/>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36">
              <a:extLst>
                <a:ext uri="{FF2B5EF4-FFF2-40B4-BE49-F238E27FC236}">
                  <a16:creationId xmlns:a16="http://schemas.microsoft.com/office/drawing/2014/main" id="{30467001-5228-4558-B365-91C2F8D9A06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48">
              <a:extLst>
                <a:ext uri="{FF2B5EF4-FFF2-40B4-BE49-F238E27FC236}">
                  <a16:creationId xmlns:a16="http://schemas.microsoft.com/office/drawing/2014/main" id="{583F0657-DFA4-407A-8AD3-8B2C271F5949}"/>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49">
              <a:extLst>
                <a:ext uri="{FF2B5EF4-FFF2-40B4-BE49-F238E27FC236}">
                  <a16:creationId xmlns:a16="http://schemas.microsoft.com/office/drawing/2014/main" id="{C8D89F7D-3269-4383-AE45-BA3CD554BC16}"/>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50">
              <a:extLst>
                <a:ext uri="{FF2B5EF4-FFF2-40B4-BE49-F238E27FC236}">
                  <a16:creationId xmlns:a16="http://schemas.microsoft.com/office/drawing/2014/main" id="{6F164128-39E7-4C45-A7F7-CB8C3A859795}"/>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51">
              <a:extLst>
                <a:ext uri="{FF2B5EF4-FFF2-40B4-BE49-F238E27FC236}">
                  <a16:creationId xmlns:a16="http://schemas.microsoft.com/office/drawing/2014/main" id="{A1788AEB-92CB-4DB3-9B29-A9AE05683C23}"/>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52">
              <a:extLst>
                <a:ext uri="{FF2B5EF4-FFF2-40B4-BE49-F238E27FC236}">
                  <a16:creationId xmlns:a16="http://schemas.microsoft.com/office/drawing/2014/main" id="{BF28E10F-5FCA-4C12-8B91-B8EE4B84F9AE}"/>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53">
              <a:extLst>
                <a:ext uri="{FF2B5EF4-FFF2-40B4-BE49-F238E27FC236}">
                  <a16:creationId xmlns:a16="http://schemas.microsoft.com/office/drawing/2014/main" id="{2F4D6189-2368-4E1F-8B0A-FF964062854D}"/>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54">
              <a:extLst>
                <a:ext uri="{FF2B5EF4-FFF2-40B4-BE49-F238E27FC236}">
                  <a16:creationId xmlns:a16="http://schemas.microsoft.com/office/drawing/2014/main" id="{18AEF365-9953-4172-9A87-2D9391C6AF15}"/>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55">
              <a:extLst>
                <a:ext uri="{FF2B5EF4-FFF2-40B4-BE49-F238E27FC236}">
                  <a16:creationId xmlns:a16="http://schemas.microsoft.com/office/drawing/2014/main" id="{3A219847-A4B2-48BF-9F26-C5A133DD4941}"/>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56">
              <a:extLst>
                <a:ext uri="{FF2B5EF4-FFF2-40B4-BE49-F238E27FC236}">
                  <a16:creationId xmlns:a16="http://schemas.microsoft.com/office/drawing/2014/main" id="{C5C8CA9E-4E81-46CE-9E93-98C5FAD9DB21}"/>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57">
              <a:extLst>
                <a:ext uri="{FF2B5EF4-FFF2-40B4-BE49-F238E27FC236}">
                  <a16:creationId xmlns:a16="http://schemas.microsoft.com/office/drawing/2014/main" id="{6621ED0F-8CC9-4184-AAE0-B621AA4A8177}"/>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58">
              <a:extLst>
                <a:ext uri="{FF2B5EF4-FFF2-40B4-BE49-F238E27FC236}">
                  <a16:creationId xmlns:a16="http://schemas.microsoft.com/office/drawing/2014/main" id="{79EFB605-CE04-40F3-B185-6ACEF866B88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59">
              <a:extLst>
                <a:ext uri="{FF2B5EF4-FFF2-40B4-BE49-F238E27FC236}">
                  <a16:creationId xmlns:a16="http://schemas.microsoft.com/office/drawing/2014/main" id="{C8424F12-A4F8-4C09-9186-3E8C63A6954A}"/>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60">
              <a:extLst>
                <a:ext uri="{FF2B5EF4-FFF2-40B4-BE49-F238E27FC236}">
                  <a16:creationId xmlns:a16="http://schemas.microsoft.com/office/drawing/2014/main" id="{54D4524A-C40C-4906-B7DC-6BEFAC3F34EF}"/>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61">
              <a:extLst>
                <a:ext uri="{FF2B5EF4-FFF2-40B4-BE49-F238E27FC236}">
                  <a16:creationId xmlns:a16="http://schemas.microsoft.com/office/drawing/2014/main" id="{17E744B3-7BD5-4922-833A-E0D758F31C0F}"/>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62">
              <a:extLst>
                <a:ext uri="{FF2B5EF4-FFF2-40B4-BE49-F238E27FC236}">
                  <a16:creationId xmlns:a16="http://schemas.microsoft.com/office/drawing/2014/main" id="{5710C788-D340-4524-8529-136E0B5759F0}"/>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63">
              <a:extLst>
                <a:ext uri="{FF2B5EF4-FFF2-40B4-BE49-F238E27FC236}">
                  <a16:creationId xmlns:a16="http://schemas.microsoft.com/office/drawing/2014/main" id="{D8064B99-50E9-4CAB-8724-9F3E7290E00B}"/>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64">
              <a:extLst>
                <a:ext uri="{FF2B5EF4-FFF2-40B4-BE49-F238E27FC236}">
                  <a16:creationId xmlns:a16="http://schemas.microsoft.com/office/drawing/2014/main" id="{26657BE4-BC01-4005-BF5D-93703A7B3C68}"/>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65">
              <a:extLst>
                <a:ext uri="{FF2B5EF4-FFF2-40B4-BE49-F238E27FC236}">
                  <a16:creationId xmlns:a16="http://schemas.microsoft.com/office/drawing/2014/main" id="{0D995119-A8CF-453D-B1E0-90F1AA800D0A}"/>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66">
              <a:extLst>
                <a:ext uri="{FF2B5EF4-FFF2-40B4-BE49-F238E27FC236}">
                  <a16:creationId xmlns:a16="http://schemas.microsoft.com/office/drawing/2014/main" id="{9298316D-FE26-4430-A794-030D4F671155}"/>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67">
              <a:extLst>
                <a:ext uri="{FF2B5EF4-FFF2-40B4-BE49-F238E27FC236}">
                  <a16:creationId xmlns:a16="http://schemas.microsoft.com/office/drawing/2014/main" id="{6B75D2E2-E508-4391-97B5-E00398A59C8A}"/>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68">
              <a:extLst>
                <a:ext uri="{FF2B5EF4-FFF2-40B4-BE49-F238E27FC236}">
                  <a16:creationId xmlns:a16="http://schemas.microsoft.com/office/drawing/2014/main" id="{E9F85FD9-7849-421A-9F8C-2194164BBFAC}"/>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69">
              <a:extLst>
                <a:ext uri="{FF2B5EF4-FFF2-40B4-BE49-F238E27FC236}">
                  <a16:creationId xmlns:a16="http://schemas.microsoft.com/office/drawing/2014/main" id="{1B3696FF-BFA4-4553-AC97-3299775A84EE}"/>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70">
              <a:extLst>
                <a:ext uri="{FF2B5EF4-FFF2-40B4-BE49-F238E27FC236}">
                  <a16:creationId xmlns:a16="http://schemas.microsoft.com/office/drawing/2014/main" id="{68C9957C-E6C0-4987-BFAA-22F9CCE9E5D4}"/>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71">
              <a:extLst>
                <a:ext uri="{FF2B5EF4-FFF2-40B4-BE49-F238E27FC236}">
                  <a16:creationId xmlns:a16="http://schemas.microsoft.com/office/drawing/2014/main" id="{4152AC82-8836-4856-9913-3BD389B847C9}"/>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72">
              <a:extLst>
                <a:ext uri="{FF2B5EF4-FFF2-40B4-BE49-F238E27FC236}">
                  <a16:creationId xmlns:a16="http://schemas.microsoft.com/office/drawing/2014/main" id="{CB7765F4-40F6-4616-B892-AD39964B4C9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73">
              <a:extLst>
                <a:ext uri="{FF2B5EF4-FFF2-40B4-BE49-F238E27FC236}">
                  <a16:creationId xmlns:a16="http://schemas.microsoft.com/office/drawing/2014/main" id="{9268862A-1971-4885-9F36-05FFF8EE305B}"/>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74">
              <a:extLst>
                <a:ext uri="{FF2B5EF4-FFF2-40B4-BE49-F238E27FC236}">
                  <a16:creationId xmlns:a16="http://schemas.microsoft.com/office/drawing/2014/main" id="{F8CC6CAA-F9E2-48C5-AA88-201F9ECF15C2}"/>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75">
              <a:extLst>
                <a:ext uri="{FF2B5EF4-FFF2-40B4-BE49-F238E27FC236}">
                  <a16:creationId xmlns:a16="http://schemas.microsoft.com/office/drawing/2014/main" id="{E2F668BD-33B8-44BB-94B1-3F9CE1248377}"/>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76">
              <a:extLst>
                <a:ext uri="{FF2B5EF4-FFF2-40B4-BE49-F238E27FC236}">
                  <a16:creationId xmlns:a16="http://schemas.microsoft.com/office/drawing/2014/main" id="{20AFD2BB-B6BA-4CE7-9DDC-A13815B1EF8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77">
              <a:extLst>
                <a:ext uri="{FF2B5EF4-FFF2-40B4-BE49-F238E27FC236}">
                  <a16:creationId xmlns:a16="http://schemas.microsoft.com/office/drawing/2014/main" id="{74E08DA2-435E-4C1A-B5E1-783AE102F630}"/>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78">
              <a:extLst>
                <a:ext uri="{FF2B5EF4-FFF2-40B4-BE49-F238E27FC236}">
                  <a16:creationId xmlns:a16="http://schemas.microsoft.com/office/drawing/2014/main" id="{8E8A65FD-4F1A-47B7-879D-0A748683F8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79">
              <a:extLst>
                <a:ext uri="{FF2B5EF4-FFF2-40B4-BE49-F238E27FC236}">
                  <a16:creationId xmlns:a16="http://schemas.microsoft.com/office/drawing/2014/main" id="{201336FB-20A2-4CED-85E0-B3CD1AC275FC}"/>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80">
              <a:extLst>
                <a:ext uri="{FF2B5EF4-FFF2-40B4-BE49-F238E27FC236}">
                  <a16:creationId xmlns:a16="http://schemas.microsoft.com/office/drawing/2014/main" id="{DA405C56-6EE7-4550-9117-3C2EE78ACEF1}"/>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81">
              <a:extLst>
                <a:ext uri="{FF2B5EF4-FFF2-40B4-BE49-F238E27FC236}">
                  <a16:creationId xmlns:a16="http://schemas.microsoft.com/office/drawing/2014/main" id="{0A257D7F-B8B8-4804-8300-5CD7FC87E2F1}"/>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82">
              <a:extLst>
                <a:ext uri="{FF2B5EF4-FFF2-40B4-BE49-F238E27FC236}">
                  <a16:creationId xmlns:a16="http://schemas.microsoft.com/office/drawing/2014/main" id="{81B02323-FC31-4701-9F56-61FAC84338F4}"/>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83">
              <a:extLst>
                <a:ext uri="{FF2B5EF4-FFF2-40B4-BE49-F238E27FC236}">
                  <a16:creationId xmlns:a16="http://schemas.microsoft.com/office/drawing/2014/main" id="{DDE57394-74B2-472B-B775-3E4CBA4AD99F}"/>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84">
              <a:extLst>
                <a:ext uri="{FF2B5EF4-FFF2-40B4-BE49-F238E27FC236}">
                  <a16:creationId xmlns:a16="http://schemas.microsoft.com/office/drawing/2014/main" id="{EFB75A86-0C8C-44B1-8ECE-3D64A8971070}"/>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85">
              <a:extLst>
                <a:ext uri="{FF2B5EF4-FFF2-40B4-BE49-F238E27FC236}">
                  <a16:creationId xmlns:a16="http://schemas.microsoft.com/office/drawing/2014/main" id="{255EC7F1-F9EA-4C8F-877D-545B29BE039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86">
              <a:extLst>
                <a:ext uri="{FF2B5EF4-FFF2-40B4-BE49-F238E27FC236}">
                  <a16:creationId xmlns:a16="http://schemas.microsoft.com/office/drawing/2014/main" id="{462E8FD0-C355-45FA-8127-32B10B053793}"/>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87">
              <a:extLst>
                <a:ext uri="{FF2B5EF4-FFF2-40B4-BE49-F238E27FC236}">
                  <a16:creationId xmlns:a16="http://schemas.microsoft.com/office/drawing/2014/main" id="{6A04D636-8ED0-4F32-95F7-3DE3B222046D}"/>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88">
              <a:extLst>
                <a:ext uri="{FF2B5EF4-FFF2-40B4-BE49-F238E27FC236}">
                  <a16:creationId xmlns:a16="http://schemas.microsoft.com/office/drawing/2014/main" id="{489303E6-5A2A-484C-AEEB-FFF88A93495B}"/>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89">
              <a:extLst>
                <a:ext uri="{FF2B5EF4-FFF2-40B4-BE49-F238E27FC236}">
                  <a16:creationId xmlns:a16="http://schemas.microsoft.com/office/drawing/2014/main" id="{BD164C5D-FB8C-4BBC-8261-13445590B6F1}"/>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90">
              <a:extLst>
                <a:ext uri="{FF2B5EF4-FFF2-40B4-BE49-F238E27FC236}">
                  <a16:creationId xmlns:a16="http://schemas.microsoft.com/office/drawing/2014/main" id="{2CA5CCDE-A90F-4032-8B94-B3281E2BFC60}"/>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91">
              <a:extLst>
                <a:ext uri="{FF2B5EF4-FFF2-40B4-BE49-F238E27FC236}">
                  <a16:creationId xmlns:a16="http://schemas.microsoft.com/office/drawing/2014/main" id="{67EF8ADB-FA3B-4C3D-930A-35804F0FDCA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92">
              <a:extLst>
                <a:ext uri="{FF2B5EF4-FFF2-40B4-BE49-F238E27FC236}">
                  <a16:creationId xmlns:a16="http://schemas.microsoft.com/office/drawing/2014/main" id="{06AE3670-33B5-428B-92AC-ABBFE8050554}"/>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93">
              <a:extLst>
                <a:ext uri="{FF2B5EF4-FFF2-40B4-BE49-F238E27FC236}">
                  <a16:creationId xmlns:a16="http://schemas.microsoft.com/office/drawing/2014/main" id="{6581FC19-BD8F-4093-B901-7E49A4A2748B}"/>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94">
              <a:extLst>
                <a:ext uri="{FF2B5EF4-FFF2-40B4-BE49-F238E27FC236}">
                  <a16:creationId xmlns:a16="http://schemas.microsoft.com/office/drawing/2014/main" id="{5058D1F0-243A-432F-B361-420298BA188C}"/>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95">
              <a:extLst>
                <a:ext uri="{FF2B5EF4-FFF2-40B4-BE49-F238E27FC236}">
                  <a16:creationId xmlns:a16="http://schemas.microsoft.com/office/drawing/2014/main" id="{50E8A1BE-29A5-45F6-BB10-B2D5073252B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Freeform 96">
              <a:extLst>
                <a:ext uri="{FF2B5EF4-FFF2-40B4-BE49-F238E27FC236}">
                  <a16:creationId xmlns:a16="http://schemas.microsoft.com/office/drawing/2014/main" id="{3C02845F-2FD1-43D2-8AE4-1550813DD42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Freeform 97">
              <a:extLst>
                <a:ext uri="{FF2B5EF4-FFF2-40B4-BE49-F238E27FC236}">
                  <a16:creationId xmlns:a16="http://schemas.microsoft.com/office/drawing/2014/main" id="{82F4C6F6-3C35-4B9E-A317-0EB0213291AB}"/>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98">
              <a:extLst>
                <a:ext uri="{FF2B5EF4-FFF2-40B4-BE49-F238E27FC236}">
                  <a16:creationId xmlns:a16="http://schemas.microsoft.com/office/drawing/2014/main" id="{ABE0F346-6CCF-45B3-B2C5-57F5169185A5}"/>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99">
              <a:extLst>
                <a:ext uri="{FF2B5EF4-FFF2-40B4-BE49-F238E27FC236}">
                  <a16:creationId xmlns:a16="http://schemas.microsoft.com/office/drawing/2014/main" id="{6461CB99-D59A-47BF-A0EA-5836A2F13B9D}"/>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Freeform 100">
              <a:extLst>
                <a:ext uri="{FF2B5EF4-FFF2-40B4-BE49-F238E27FC236}">
                  <a16:creationId xmlns:a16="http://schemas.microsoft.com/office/drawing/2014/main" id="{8DB99EC4-DC3E-4022-AA2A-3D8DAC93A4B2}"/>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Freeform 101">
              <a:extLst>
                <a:ext uri="{FF2B5EF4-FFF2-40B4-BE49-F238E27FC236}">
                  <a16:creationId xmlns:a16="http://schemas.microsoft.com/office/drawing/2014/main" id="{2667C7C2-84D9-4579-B660-835D2A9D934C}"/>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Freeform 102">
              <a:extLst>
                <a:ext uri="{FF2B5EF4-FFF2-40B4-BE49-F238E27FC236}">
                  <a16:creationId xmlns:a16="http://schemas.microsoft.com/office/drawing/2014/main" id="{D99953BD-9DA0-493A-B8A9-4190380BEA42}"/>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Freeform 103">
              <a:extLst>
                <a:ext uri="{FF2B5EF4-FFF2-40B4-BE49-F238E27FC236}">
                  <a16:creationId xmlns:a16="http://schemas.microsoft.com/office/drawing/2014/main" id="{DEA87769-A98A-4288-981C-863FC0D6D6C2}"/>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Freeform 104">
              <a:extLst>
                <a:ext uri="{FF2B5EF4-FFF2-40B4-BE49-F238E27FC236}">
                  <a16:creationId xmlns:a16="http://schemas.microsoft.com/office/drawing/2014/main" id="{4F35D7CA-81EF-4DE7-8CF4-173B9CA286C9}"/>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Freeform 105">
              <a:extLst>
                <a:ext uri="{FF2B5EF4-FFF2-40B4-BE49-F238E27FC236}">
                  <a16:creationId xmlns:a16="http://schemas.microsoft.com/office/drawing/2014/main" id="{33F47765-0401-4F8C-B7BC-E2EF80792B16}"/>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Freeform 106">
              <a:extLst>
                <a:ext uri="{FF2B5EF4-FFF2-40B4-BE49-F238E27FC236}">
                  <a16:creationId xmlns:a16="http://schemas.microsoft.com/office/drawing/2014/main" id="{11114F34-3720-4EF3-B0F4-81C1E10033CA}"/>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Freeform 107">
              <a:extLst>
                <a:ext uri="{FF2B5EF4-FFF2-40B4-BE49-F238E27FC236}">
                  <a16:creationId xmlns:a16="http://schemas.microsoft.com/office/drawing/2014/main" id="{BAC9FD85-8A34-4095-ABFC-1EE223EE3F86}"/>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Freeform 108">
              <a:extLst>
                <a:ext uri="{FF2B5EF4-FFF2-40B4-BE49-F238E27FC236}">
                  <a16:creationId xmlns:a16="http://schemas.microsoft.com/office/drawing/2014/main" id="{CC9DC1A9-C4EF-484C-A028-DACF36E9E8A8}"/>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Freeform 109">
              <a:extLst>
                <a:ext uri="{FF2B5EF4-FFF2-40B4-BE49-F238E27FC236}">
                  <a16:creationId xmlns:a16="http://schemas.microsoft.com/office/drawing/2014/main" id="{55542975-C59D-4E42-AFB2-5B73B3BEA758}"/>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Freeform 110">
              <a:extLst>
                <a:ext uri="{FF2B5EF4-FFF2-40B4-BE49-F238E27FC236}">
                  <a16:creationId xmlns:a16="http://schemas.microsoft.com/office/drawing/2014/main" id="{A6873761-4254-4602-9FD6-E50EABAEBAF6}"/>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Freeform 111">
              <a:extLst>
                <a:ext uri="{FF2B5EF4-FFF2-40B4-BE49-F238E27FC236}">
                  <a16:creationId xmlns:a16="http://schemas.microsoft.com/office/drawing/2014/main" id="{FB6710FC-FCE9-4107-AE42-B8627B47299A}"/>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Freeform 112">
              <a:extLst>
                <a:ext uri="{FF2B5EF4-FFF2-40B4-BE49-F238E27FC236}">
                  <a16:creationId xmlns:a16="http://schemas.microsoft.com/office/drawing/2014/main" id="{1E8E6E1A-6338-47EC-83FB-2C0C4B88AB18}"/>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Freeform 113">
              <a:extLst>
                <a:ext uri="{FF2B5EF4-FFF2-40B4-BE49-F238E27FC236}">
                  <a16:creationId xmlns:a16="http://schemas.microsoft.com/office/drawing/2014/main" id="{9B409C0A-54D4-4F7C-98AA-CB9B5B4FA4AF}"/>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Freeform 114">
              <a:extLst>
                <a:ext uri="{FF2B5EF4-FFF2-40B4-BE49-F238E27FC236}">
                  <a16:creationId xmlns:a16="http://schemas.microsoft.com/office/drawing/2014/main" id="{B5D80DE7-473C-4B8B-8602-FB6F32A3D6C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Freeform 115">
              <a:extLst>
                <a:ext uri="{FF2B5EF4-FFF2-40B4-BE49-F238E27FC236}">
                  <a16:creationId xmlns:a16="http://schemas.microsoft.com/office/drawing/2014/main" id="{766E8792-0C0B-45EB-AF1A-D785DACA6653}"/>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reeform 116">
              <a:extLst>
                <a:ext uri="{FF2B5EF4-FFF2-40B4-BE49-F238E27FC236}">
                  <a16:creationId xmlns:a16="http://schemas.microsoft.com/office/drawing/2014/main" id="{538681BD-7ED6-414C-AC59-292B783C48AD}"/>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eeform 117">
              <a:extLst>
                <a:ext uri="{FF2B5EF4-FFF2-40B4-BE49-F238E27FC236}">
                  <a16:creationId xmlns:a16="http://schemas.microsoft.com/office/drawing/2014/main" id="{52DB857D-E418-4413-BB40-2CCEDF7020DD}"/>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Freeform 118">
              <a:extLst>
                <a:ext uri="{FF2B5EF4-FFF2-40B4-BE49-F238E27FC236}">
                  <a16:creationId xmlns:a16="http://schemas.microsoft.com/office/drawing/2014/main" id="{99F9BC8F-0B27-46E6-B8F4-6CBE359EF007}"/>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Freeform 119">
              <a:extLst>
                <a:ext uri="{FF2B5EF4-FFF2-40B4-BE49-F238E27FC236}">
                  <a16:creationId xmlns:a16="http://schemas.microsoft.com/office/drawing/2014/main" id="{ED0037ED-EF32-4547-ACD1-CD20E850611A}"/>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Freeform 120">
              <a:extLst>
                <a:ext uri="{FF2B5EF4-FFF2-40B4-BE49-F238E27FC236}">
                  <a16:creationId xmlns:a16="http://schemas.microsoft.com/office/drawing/2014/main" id="{C4F3F13C-B508-4288-929B-76C6FC74356C}"/>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Freeform 121">
              <a:extLst>
                <a:ext uri="{FF2B5EF4-FFF2-40B4-BE49-F238E27FC236}">
                  <a16:creationId xmlns:a16="http://schemas.microsoft.com/office/drawing/2014/main" id="{45E37632-699C-4988-80FD-5FBC6B6DB50F}"/>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Freeform 122">
              <a:extLst>
                <a:ext uri="{FF2B5EF4-FFF2-40B4-BE49-F238E27FC236}">
                  <a16:creationId xmlns:a16="http://schemas.microsoft.com/office/drawing/2014/main" id="{2EBA87F3-1EEB-43A0-8C13-F0534CC92521}"/>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Freeform 123">
              <a:extLst>
                <a:ext uri="{FF2B5EF4-FFF2-40B4-BE49-F238E27FC236}">
                  <a16:creationId xmlns:a16="http://schemas.microsoft.com/office/drawing/2014/main" id="{71D50006-AAD5-456D-81A6-DB4611ED51A7}"/>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Freeform 124">
              <a:extLst>
                <a:ext uri="{FF2B5EF4-FFF2-40B4-BE49-F238E27FC236}">
                  <a16:creationId xmlns:a16="http://schemas.microsoft.com/office/drawing/2014/main" id="{DF54DB89-6CD1-4BCB-9C24-732181C626AC}"/>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Freeform 125">
              <a:extLst>
                <a:ext uri="{FF2B5EF4-FFF2-40B4-BE49-F238E27FC236}">
                  <a16:creationId xmlns:a16="http://schemas.microsoft.com/office/drawing/2014/main" id="{A00E75B4-B21E-4E5B-8664-E6453F1115A0}"/>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Freeform 126">
              <a:extLst>
                <a:ext uri="{FF2B5EF4-FFF2-40B4-BE49-F238E27FC236}">
                  <a16:creationId xmlns:a16="http://schemas.microsoft.com/office/drawing/2014/main" id="{B17D0C33-4030-43ED-A779-21669414D987}"/>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Freeform 127">
              <a:extLst>
                <a:ext uri="{FF2B5EF4-FFF2-40B4-BE49-F238E27FC236}">
                  <a16:creationId xmlns:a16="http://schemas.microsoft.com/office/drawing/2014/main" id="{D6172FF4-2623-492C-80D9-F2D6FD9F993E}"/>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Freeform 128">
              <a:extLst>
                <a:ext uri="{FF2B5EF4-FFF2-40B4-BE49-F238E27FC236}">
                  <a16:creationId xmlns:a16="http://schemas.microsoft.com/office/drawing/2014/main" id="{90A0611A-0902-4992-AF28-E1EEEC406F61}"/>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Freeform 129">
              <a:extLst>
                <a:ext uri="{FF2B5EF4-FFF2-40B4-BE49-F238E27FC236}">
                  <a16:creationId xmlns:a16="http://schemas.microsoft.com/office/drawing/2014/main" id="{340A080E-A59B-4A84-9436-AD29D3304AD5}"/>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Freeform 130">
              <a:extLst>
                <a:ext uri="{FF2B5EF4-FFF2-40B4-BE49-F238E27FC236}">
                  <a16:creationId xmlns:a16="http://schemas.microsoft.com/office/drawing/2014/main" id="{4C132CCD-CB9B-42AF-BA98-7BA44E6D2990}"/>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Freeform 131">
              <a:extLst>
                <a:ext uri="{FF2B5EF4-FFF2-40B4-BE49-F238E27FC236}">
                  <a16:creationId xmlns:a16="http://schemas.microsoft.com/office/drawing/2014/main" id="{94DF4C93-E746-4EE1-9D1F-DCB8C2252019}"/>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Freeform 132">
              <a:extLst>
                <a:ext uri="{FF2B5EF4-FFF2-40B4-BE49-F238E27FC236}">
                  <a16:creationId xmlns:a16="http://schemas.microsoft.com/office/drawing/2014/main" id="{A9E770F2-88EF-4FAD-9890-E63E14B09FC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Freeform 133">
              <a:extLst>
                <a:ext uri="{FF2B5EF4-FFF2-40B4-BE49-F238E27FC236}">
                  <a16:creationId xmlns:a16="http://schemas.microsoft.com/office/drawing/2014/main" id="{3658B5FE-A377-48F6-A5DE-DFD01A615D2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Freeform 134">
              <a:extLst>
                <a:ext uri="{FF2B5EF4-FFF2-40B4-BE49-F238E27FC236}">
                  <a16:creationId xmlns:a16="http://schemas.microsoft.com/office/drawing/2014/main" id="{6B3A2145-E0E9-4797-B8B7-6B9B62236CD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Freeform 135">
              <a:extLst>
                <a:ext uri="{FF2B5EF4-FFF2-40B4-BE49-F238E27FC236}">
                  <a16:creationId xmlns:a16="http://schemas.microsoft.com/office/drawing/2014/main" id="{5399D908-4717-434C-96B0-C52E424ACA72}"/>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Freeform 136">
              <a:extLst>
                <a:ext uri="{FF2B5EF4-FFF2-40B4-BE49-F238E27FC236}">
                  <a16:creationId xmlns:a16="http://schemas.microsoft.com/office/drawing/2014/main" id="{98970B76-B607-4D1F-B017-C27A2A5DA6D7}"/>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Freeform 137">
              <a:extLst>
                <a:ext uri="{FF2B5EF4-FFF2-40B4-BE49-F238E27FC236}">
                  <a16:creationId xmlns:a16="http://schemas.microsoft.com/office/drawing/2014/main" id="{0704B9BD-CF98-42D3-8A1A-1C6426168FF7}"/>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Freeform 138">
              <a:extLst>
                <a:ext uri="{FF2B5EF4-FFF2-40B4-BE49-F238E27FC236}">
                  <a16:creationId xmlns:a16="http://schemas.microsoft.com/office/drawing/2014/main" id="{23FC6397-F135-4C2A-86A6-BCBDF3334DB6}"/>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Freeform 139">
              <a:extLst>
                <a:ext uri="{FF2B5EF4-FFF2-40B4-BE49-F238E27FC236}">
                  <a16:creationId xmlns:a16="http://schemas.microsoft.com/office/drawing/2014/main" id="{A52316FF-E9D3-4688-AD93-DCF024A39B75}"/>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Freeform 140">
              <a:extLst>
                <a:ext uri="{FF2B5EF4-FFF2-40B4-BE49-F238E27FC236}">
                  <a16:creationId xmlns:a16="http://schemas.microsoft.com/office/drawing/2014/main" id="{78D98B64-62CC-414B-B2A2-C17AAF8F2C5E}"/>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Freeform 141">
              <a:extLst>
                <a:ext uri="{FF2B5EF4-FFF2-40B4-BE49-F238E27FC236}">
                  <a16:creationId xmlns:a16="http://schemas.microsoft.com/office/drawing/2014/main" id="{D142D07A-BB59-4C51-A0E4-EC99B0A41364}"/>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Freeform 142">
              <a:extLst>
                <a:ext uri="{FF2B5EF4-FFF2-40B4-BE49-F238E27FC236}">
                  <a16:creationId xmlns:a16="http://schemas.microsoft.com/office/drawing/2014/main" id="{05980683-4777-4605-981E-4404EE0B1585}"/>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Freeform 143">
              <a:extLst>
                <a:ext uri="{FF2B5EF4-FFF2-40B4-BE49-F238E27FC236}">
                  <a16:creationId xmlns:a16="http://schemas.microsoft.com/office/drawing/2014/main" id="{4F0F107A-5694-46E3-9705-628C9434B06C}"/>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Freeform 144">
              <a:extLst>
                <a:ext uri="{FF2B5EF4-FFF2-40B4-BE49-F238E27FC236}">
                  <a16:creationId xmlns:a16="http://schemas.microsoft.com/office/drawing/2014/main" id="{123C2BF0-91FC-47DD-B8E5-294DAE0F6091}"/>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Freeform 145">
              <a:extLst>
                <a:ext uri="{FF2B5EF4-FFF2-40B4-BE49-F238E27FC236}">
                  <a16:creationId xmlns:a16="http://schemas.microsoft.com/office/drawing/2014/main" id="{64882FC8-3B21-409F-81C2-B0F0BB606787}"/>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Freeform 146">
              <a:extLst>
                <a:ext uri="{FF2B5EF4-FFF2-40B4-BE49-F238E27FC236}">
                  <a16:creationId xmlns:a16="http://schemas.microsoft.com/office/drawing/2014/main" id="{1153ED3F-6BC3-4C78-BAA2-C41260725138}"/>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Freeform 147">
              <a:extLst>
                <a:ext uri="{FF2B5EF4-FFF2-40B4-BE49-F238E27FC236}">
                  <a16:creationId xmlns:a16="http://schemas.microsoft.com/office/drawing/2014/main" id="{02916861-6BCA-4ED3-9E78-BC05E5718267}"/>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Freeform 148">
              <a:extLst>
                <a:ext uri="{FF2B5EF4-FFF2-40B4-BE49-F238E27FC236}">
                  <a16:creationId xmlns:a16="http://schemas.microsoft.com/office/drawing/2014/main" id="{090C20C4-C659-4835-B7CA-15BEA3626839}"/>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Freeform 149">
              <a:extLst>
                <a:ext uri="{FF2B5EF4-FFF2-40B4-BE49-F238E27FC236}">
                  <a16:creationId xmlns:a16="http://schemas.microsoft.com/office/drawing/2014/main" id="{3C8767F2-9FA6-4D84-B52F-D1B5384B2E3F}"/>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Freeform 150">
              <a:extLst>
                <a:ext uri="{FF2B5EF4-FFF2-40B4-BE49-F238E27FC236}">
                  <a16:creationId xmlns:a16="http://schemas.microsoft.com/office/drawing/2014/main" id="{C5FEC8DD-F020-49F2-B6E9-3068901A42AA}"/>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Freeform 151">
              <a:extLst>
                <a:ext uri="{FF2B5EF4-FFF2-40B4-BE49-F238E27FC236}">
                  <a16:creationId xmlns:a16="http://schemas.microsoft.com/office/drawing/2014/main" id="{EC2C35E4-AF00-4C7C-ADC2-291C3DA911BB}"/>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Freeform 152">
              <a:extLst>
                <a:ext uri="{FF2B5EF4-FFF2-40B4-BE49-F238E27FC236}">
                  <a16:creationId xmlns:a16="http://schemas.microsoft.com/office/drawing/2014/main" id="{C73D0D8F-E539-483C-83E1-293AA729CE5F}"/>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Freeform 153">
              <a:extLst>
                <a:ext uri="{FF2B5EF4-FFF2-40B4-BE49-F238E27FC236}">
                  <a16:creationId xmlns:a16="http://schemas.microsoft.com/office/drawing/2014/main" id="{7546B7CC-F2D9-4105-8F95-308310F897A6}"/>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Freeform 154">
              <a:extLst>
                <a:ext uri="{FF2B5EF4-FFF2-40B4-BE49-F238E27FC236}">
                  <a16:creationId xmlns:a16="http://schemas.microsoft.com/office/drawing/2014/main" id="{93B9F5FE-8858-4309-A4E3-4FB1E7CCAE66}"/>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Freeform 155">
              <a:extLst>
                <a:ext uri="{FF2B5EF4-FFF2-40B4-BE49-F238E27FC236}">
                  <a16:creationId xmlns:a16="http://schemas.microsoft.com/office/drawing/2014/main" id="{3D5F35C0-B6BE-4D19-BC88-F08861A4702B}"/>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Freeform 156">
              <a:extLst>
                <a:ext uri="{FF2B5EF4-FFF2-40B4-BE49-F238E27FC236}">
                  <a16:creationId xmlns:a16="http://schemas.microsoft.com/office/drawing/2014/main" id="{13E49EC4-97F5-44DA-B497-D5801C5E4782}"/>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Freeform 157">
              <a:extLst>
                <a:ext uri="{FF2B5EF4-FFF2-40B4-BE49-F238E27FC236}">
                  <a16:creationId xmlns:a16="http://schemas.microsoft.com/office/drawing/2014/main" id="{403D7CF9-BAF3-451F-AA01-E81F1C418599}"/>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Freeform 158">
              <a:extLst>
                <a:ext uri="{FF2B5EF4-FFF2-40B4-BE49-F238E27FC236}">
                  <a16:creationId xmlns:a16="http://schemas.microsoft.com/office/drawing/2014/main" id="{90206683-AAE4-46E8-A430-974A2FCDD156}"/>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Freeform 159">
              <a:extLst>
                <a:ext uri="{FF2B5EF4-FFF2-40B4-BE49-F238E27FC236}">
                  <a16:creationId xmlns:a16="http://schemas.microsoft.com/office/drawing/2014/main" id="{9E4EF7ED-D2F9-4138-A3D4-F183B83F7D45}"/>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4" name="Freeform 160">
              <a:extLst>
                <a:ext uri="{FF2B5EF4-FFF2-40B4-BE49-F238E27FC236}">
                  <a16:creationId xmlns:a16="http://schemas.microsoft.com/office/drawing/2014/main" id="{B9AEA91F-B7E3-4D15-A583-058BABB081B1}"/>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5" name="Freeform 161">
              <a:extLst>
                <a:ext uri="{FF2B5EF4-FFF2-40B4-BE49-F238E27FC236}">
                  <a16:creationId xmlns:a16="http://schemas.microsoft.com/office/drawing/2014/main" id="{43E8A066-B65A-44FC-8D43-7075D7F21B4E}"/>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6" name="Freeform 162">
              <a:extLst>
                <a:ext uri="{FF2B5EF4-FFF2-40B4-BE49-F238E27FC236}">
                  <a16:creationId xmlns:a16="http://schemas.microsoft.com/office/drawing/2014/main" id="{793A6DDE-5562-4767-8846-7FA5B39C6CB9}"/>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7" name="Freeform 163">
              <a:extLst>
                <a:ext uri="{FF2B5EF4-FFF2-40B4-BE49-F238E27FC236}">
                  <a16:creationId xmlns:a16="http://schemas.microsoft.com/office/drawing/2014/main" id="{84774764-8D33-4753-B312-3E21845DBF59}"/>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164">
              <a:extLst>
                <a:ext uri="{FF2B5EF4-FFF2-40B4-BE49-F238E27FC236}">
                  <a16:creationId xmlns:a16="http://schemas.microsoft.com/office/drawing/2014/main" id="{F7A49720-3E21-4402-9141-EBA8FE112601}"/>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9" name="Freeform 165">
              <a:extLst>
                <a:ext uri="{FF2B5EF4-FFF2-40B4-BE49-F238E27FC236}">
                  <a16:creationId xmlns:a16="http://schemas.microsoft.com/office/drawing/2014/main" id="{39483C9E-9B99-42FF-9386-FCCB963F0C97}"/>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166">
              <a:extLst>
                <a:ext uri="{FF2B5EF4-FFF2-40B4-BE49-F238E27FC236}">
                  <a16:creationId xmlns:a16="http://schemas.microsoft.com/office/drawing/2014/main" id="{A3CC49F3-8AC0-434B-BE89-5F15B2447E5D}"/>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1" name="Freeform 167">
              <a:extLst>
                <a:ext uri="{FF2B5EF4-FFF2-40B4-BE49-F238E27FC236}">
                  <a16:creationId xmlns:a16="http://schemas.microsoft.com/office/drawing/2014/main" id="{437238CE-F04A-4FB3-BDC9-37C6F9C3FF8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2" name="Freeform 168">
              <a:extLst>
                <a:ext uri="{FF2B5EF4-FFF2-40B4-BE49-F238E27FC236}">
                  <a16:creationId xmlns:a16="http://schemas.microsoft.com/office/drawing/2014/main" id="{61E05923-47D1-4B7E-A375-FD633590073B}"/>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3" name="Freeform 169">
              <a:extLst>
                <a:ext uri="{FF2B5EF4-FFF2-40B4-BE49-F238E27FC236}">
                  <a16:creationId xmlns:a16="http://schemas.microsoft.com/office/drawing/2014/main" id="{A72F45E2-9551-4994-B62F-95079B8B9109}"/>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4" name="Freeform 170">
              <a:extLst>
                <a:ext uri="{FF2B5EF4-FFF2-40B4-BE49-F238E27FC236}">
                  <a16:creationId xmlns:a16="http://schemas.microsoft.com/office/drawing/2014/main" id="{79094E75-4D0D-4142-BCA5-975601ED8FCB}"/>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5" name="Freeform 171">
              <a:extLst>
                <a:ext uri="{FF2B5EF4-FFF2-40B4-BE49-F238E27FC236}">
                  <a16:creationId xmlns:a16="http://schemas.microsoft.com/office/drawing/2014/main" id="{B8AD8D28-CC9D-411A-A27A-B9B2F9D3173E}"/>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6" name="Freeform 172">
              <a:extLst>
                <a:ext uri="{FF2B5EF4-FFF2-40B4-BE49-F238E27FC236}">
                  <a16:creationId xmlns:a16="http://schemas.microsoft.com/office/drawing/2014/main" id="{7977AA74-C3BB-41E8-A3A2-C96F35F8665A}"/>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7" name="Freeform 173">
              <a:extLst>
                <a:ext uri="{FF2B5EF4-FFF2-40B4-BE49-F238E27FC236}">
                  <a16:creationId xmlns:a16="http://schemas.microsoft.com/office/drawing/2014/main" id="{CC9D1396-EB1E-42BD-B42C-EE7876568CB1}"/>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8" name="Freeform 174">
              <a:extLst>
                <a:ext uri="{FF2B5EF4-FFF2-40B4-BE49-F238E27FC236}">
                  <a16:creationId xmlns:a16="http://schemas.microsoft.com/office/drawing/2014/main" id="{BF91CDA1-8C7A-472F-983D-C88879E0094D}"/>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9" name="Freeform 175">
              <a:extLst>
                <a:ext uri="{FF2B5EF4-FFF2-40B4-BE49-F238E27FC236}">
                  <a16:creationId xmlns:a16="http://schemas.microsoft.com/office/drawing/2014/main" id="{CD094E72-947D-4B74-9B4A-3668600DD2B3}"/>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0" name="Freeform 176">
              <a:extLst>
                <a:ext uri="{FF2B5EF4-FFF2-40B4-BE49-F238E27FC236}">
                  <a16:creationId xmlns:a16="http://schemas.microsoft.com/office/drawing/2014/main" id="{5A483021-41C4-463E-AA14-8AAD7A38D75A}"/>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1" name="Freeform 177">
              <a:extLst>
                <a:ext uri="{FF2B5EF4-FFF2-40B4-BE49-F238E27FC236}">
                  <a16:creationId xmlns:a16="http://schemas.microsoft.com/office/drawing/2014/main" id="{193936D1-773E-4E21-92CA-5B7552C9A0E4}"/>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2" name="Freeform 178">
              <a:extLst>
                <a:ext uri="{FF2B5EF4-FFF2-40B4-BE49-F238E27FC236}">
                  <a16:creationId xmlns:a16="http://schemas.microsoft.com/office/drawing/2014/main" id="{73BD4D27-C7EC-4CC7-A270-735DDF33F51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3" name="Freeform 179">
              <a:extLst>
                <a:ext uri="{FF2B5EF4-FFF2-40B4-BE49-F238E27FC236}">
                  <a16:creationId xmlns:a16="http://schemas.microsoft.com/office/drawing/2014/main" id="{3041EF76-9E0E-47BA-8B0E-F8B904AE6EF5}"/>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4" name="Freeform 180">
              <a:extLst>
                <a:ext uri="{FF2B5EF4-FFF2-40B4-BE49-F238E27FC236}">
                  <a16:creationId xmlns:a16="http://schemas.microsoft.com/office/drawing/2014/main" id="{BFB21F25-18A0-4CAA-98B2-4CDABAA96A46}"/>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5" name="Freeform 181">
              <a:extLst>
                <a:ext uri="{FF2B5EF4-FFF2-40B4-BE49-F238E27FC236}">
                  <a16:creationId xmlns:a16="http://schemas.microsoft.com/office/drawing/2014/main" id="{95A4E8F9-3582-434D-8494-0B115E48DDEB}"/>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6" name="Freeform 182">
              <a:extLst>
                <a:ext uri="{FF2B5EF4-FFF2-40B4-BE49-F238E27FC236}">
                  <a16:creationId xmlns:a16="http://schemas.microsoft.com/office/drawing/2014/main" id="{82197ABB-4823-458C-BA47-C35C7C1A52B1}"/>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7" name="Freeform 183">
              <a:extLst>
                <a:ext uri="{FF2B5EF4-FFF2-40B4-BE49-F238E27FC236}">
                  <a16:creationId xmlns:a16="http://schemas.microsoft.com/office/drawing/2014/main" id="{09E02F6C-34B0-48FC-A837-1C76935D4441}"/>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8" name="Freeform 184">
              <a:extLst>
                <a:ext uri="{FF2B5EF4-FFF2-40B4-BE49-F238E27FC236}">
                  <a16:creationId xmlns:a16="http://schemas.microsoft.com/office/drawing/2014/main" id="{77558B50-9E78-47AB-9BA3-6C7831152355}"/>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9" name="Freeform 185">
              <a:extLst>
                <a:ext uri="{FF2B5EF4-FFF2-40B4-BE49-F238E27FC236}">
                  <a16:creationId xmlns:a16="http://schemas.microsoft.com/office/drawing/2014/main" id="{BD840327-95DB-4F02-BD8F-59AFE89D237A}"/>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841E82E8-137E-4731-AF73-D764522B231B}"/>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90EF08E-09EA-4617-A1EF-56DCB814B9AB}"/>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BA3C7C7D-09BD-4952-8E95-EDA3928F0875}"/>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028BFEDA-296F-465F-9C22-F880C4872AC9}"/>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FEDC8937-6642-4987-8836-7ECCA11D03DC}"/>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5" name="Freeform 191">
              <a:extLst>
                <a:ext uri="{FF2B5EF4-FFF2-40B4-BE49-F238E27FC236}">
                  <a16:creationId xmlns:a16="http://schemas.microsoft.com/office/drawing/2014/main" id="{54AB414F-B68C-47A9-958C-46ECBC3CDA15}"/>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6" name="Freeform 192">
              <a:extLst>
                <a:ext uri="{FF2B5EF4-FFF2-40B4-BE49-F238E27FC236}">
                  <a16:creationId xmlns:a16="http://schemas.microsoft.com/office/drawing/2014/main" id="{F86723CD-BB22-4E88-BFE5-98B46A01AAF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7" name="Freeform 193">
              <a:extLst>
                <a:ext uri="{FF2B5EF4-FFF2-40B4-BE49-F238E27FC236}">
                  <a16:creationId xmlns:a16="http://schemas.microsoft.com/office/drawing/2014/main" id="{DD9E6B9C-542F-48A9-8781-DC1CBD23488E}"/>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8" name="Freeform 194">
              <a:extLst>
                <a:ext uri="{FF2B5EF4-FFF2-40B4-BE49-F238E27FC236}">
                  <a16:creationId xmlns:a16="http://schemas.microsoft.com/office/drawing/2014/main" id="{B6D0F420-993C-4E8F-878E-9A1ED6122ADF}"/>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9" name="Freeform 195">
              <a:extLst>
                <a:ext uri="{FF2B5EF4-FFF2-40B4-BE49-F238E27FC236}">
                  <a16:creationId xmlns:a16="http://schemas.microsoft.com/office/drawing/2014/main" id="{05A753BE-2FA6-436D-BDF9-B0CDADEB52F5}"/>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0" name="Freeform 196">
              <a:extLst>
                <a:ext uri="{FF2B5EF4-FFF2-40B4-BE49-F238E27FC236}">
                  <a16:creationId xmlns:a16="http://schemas.microsoft.com/office/drawing/2014/main" id="{A7569811-0CD4-45C5-8913-6FAD00E35D83}"/>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1" name="Freeform 197">
              <a:extLst>
                <a:ext uri="{FF2B5EF4-FFF2-40B4-BE49-F238E27FC236}">
                  <a16:creationId xmlns:a16="http://schemas.microsoft.com/office/drawing/2014/main" id="{D9A30C23-EC94-4E96-8963-A48FD2F4BB34}"/>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3" name="Groupe 216">
            <a:extLst>
              <a:ext uri="{FF2B5EF4-FFF2-40B4-BE49-F238E27FC236}">
                <a16:creationId xmlns:a16="http://schemas.microsoft.com/office/drawing/2014/main" id="{CCBF9550-4BCC-4A85-9689-CF13F60B8BBE}"/>
              </a:ext>
            </a:extLst>
          </p:cNvPr>
          <p:cNvGrpSpPr/>
          <p:nvPr/>
        </p:nvGrpSpPr>
        <p:grpSpPr>
          <a:xfrm>
            <a:off x="6353175" y="3011488"/>
            <a:ext cx="2936875" cy="3240088"/>
            <a:chOff x="6200775" y="2732088"/>
            <a:chExt cx="2936875" cy="3240088"/>
          </a:xfrm>
          <a:solidFill>
            <a:schemeClr val="accent1"/>
          </a:solidFill>
        </p:grpSpPr>
        <p:sp>
          <p:nvSpPr>
            <p:cNvPr id="824" name="Freeform 198">
              <a:extLst>
                <a:ext uri="{FF2B5EF4-FFF2-40B4-BE49-F238E27FC236}">
                  <a16:creationId xmlns:a16="http://schemas.microsoft.com/office/drawing/2014/main" id="{B7BE577A-B541-4C21-B4F3-07B8F5214558}"/>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Freeform 199">
              <a:extLst>
                <a:ext uri="{FF2B5EF4-FFF2-40B4-BE49-F238E27FC236}">
                  <a16:creationId xmlns:a16="http://schemas.microsoft.com/office/drawing/2014/main" id="{CB1334FE-87DB-45F6-9601-FBE45857042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200">
              <a:extLst>
                <a:ext uri="{FF2B5EF4-FFF2-40B4-BE49-F238E27FC236}">
                  <a16:creationId xmlns:a16="http://schemas.microsoft.com/office/drawing/2014/main" id="{84219061-8FBA-4043-B7E1-E596DB1940CC}"/>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201">
              <a:extLst>
                <a:ext uri="{FF2B5EF4-FFF2-40B4-BE49-F238E27FC236}">
                  <a16:creationId xmlns:a16="http://schemas.microsoft.com/office/drawing/2014/main" id="{2014EF4D-30F7-44A4-9C53-3BF9DCF301E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202">
              <a:extLst>
                <a:ext uri="{FF2B5EF4-FFF2-40B4-BE49-F238E27FC236}">
                  <a16:creationId xmlns:a16="http://schemas.microsoft.com/office/drawing/2014/main" id="{08C88059-4F18-4A52-962A-818E6A2DE16F}"/>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203">
              <a:extLst>
                <a:ext uri="{FF2B5EF4-FFF2-40B4-BE49-F238E27FC236}">
                  <a16:creationId xmlns:a16="http://schemas.microsoft.com/office/drawing/2014/main" id="{BAD50334-9214-4928-BE74-9DCBE84F59CF}"/>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204">
              <a:extLst>
                <a:ext uri="{FF2B5EF4-FFF2-40B4-BE49-F238E27FC236}">
                  <a16:creationId xmlns:a16="http://schemas.microsoft.com/office/drawing/2014/main" id="{C36DE98E-7670-4032-8EB9-41E6B1475A66}"/>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065433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s</a:t>
            </a:r>
          </a:p>
        </p:txBody>
      </p:sp>
      <p:grpSp>
        <p:nvGrpSpPr>
          <p:cNvPr id="12" name="Group 11"/>
          <p:cNvGrpSpPr/>
          <p:nvPr/>
        </p:nvGrpSpPr>
        <p:grpSpPr>
          <a:xfrm>
            <a:off x="9498726" y="6149984"/>
            <a:ext cx="2424279" cy="286956"/>
            <a:chOff x="9498726" y="6149984"/>
            <a:chExt cx="2424279" cy="286956"/>
          </a:xfrm>
        </p:grpSpPr>
        <p:grpSp>
          <p:nvGrpSpPr>
            <p:cNvPr id="198" name="Group 197"/>
            <p:cNvGrpSpPr/>
            <p:nvPr/>
          </p:nvGrpSpPr>
          <p:grpSpPr>
            <a:xfrm>
              <a:off x="9971405" y="6149984"/>
              <a:ext cx="273971" cy="286956"/>
              <a:chOff x="10017125" y="6142038"/>
              <a:chExt cx="334962" cy="350838"/>
            </a:xfrm>
          </p:grpSpPr>
          <p:sp>
            <p:nvSpPr>
              <p:cNvPr id="146"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198"/>
            <p:cNvGrpSpPr/>
            <p:nvPr/>
          </p:nvGrpSpPr>
          <p:grpSpPr>
            <a:xfrm rot="16200000">
              <a:off x="9505218" y="6149984"/>
              <a:ext cx="273971" cy="286956"/>
              <a:chOff x="10017125" y="6142038"/>
              <a:chExt cx="334962" cy="350838"/>
            </a:xfrm>
          </p:grpSpPr>
          <p:sp>
            <p:nvSpPr>
              <p:cNvPr id="200"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03" name="Rectangle 202"/>
            <p:cNvSpPr/>
            <p:nvPr/>
          </p:nvSpPr>
          <p:spPr>
            <a:xfrm>
              <a:off x="10421080"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Shapes can also be flipped horizontally or vertically</a:t>
              </a:r>
            </a:p>
          </p:txBody>
        </p:sp>
      </p:grpSp>
      <p:grpSp>
        <p:nvGrpSpPr>
          <p:cNvPr id="11" name="Group 10"/>
          <p:cNvGrpSpPr/>
          <p:nvPr/>
        </p:nvGrpSpPr>
        <p:grpSpPr>
          <a:xfrm>
            <a:off x="6860381" y="6153762"/>
            <a:ext cx="2256885" cy="279400"/>
            <a:chOff x="6860381" y="6153762"/>
            <a:chExt cx="2256885" cy="279400"/>
          </a:xfrm>
        </p:grpSpPr>
        <p:sp>
          <p:nvSpPr>
            <p:cNvPr id="197" name="Rectangle 196"/>
            <p:cNvSpPr/>
            <p:nvPr/>
          </p:nvSpPr>
          <p:spPr>
            <a:xfrm>
              <a:off x="76153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Please note, shapes can be rotated to suit your layouts</a:t>
              </a:r>
            </a:p>
          </p:txBody>
        </p:sp>
        <p:grpSp>
          <p:nvGrpSpPr>
            <p:cNvPr id="211" name="Group 210"/>
            <p:cNvGrpSpPr/>
            <p:nvPr/>
          </p:nvGrpSpPr>
          <p:grpSpPr>
            <a:xfrm>
              <a:off x="6860381" y="6153762"/>
              <a:ext cx="620792" cy="279400"/>
              <a:chOff x="6703369" y="6135037"/>
              <a:chExt cx="620792" cy="279400"/>
            </a:xfrm>
          </p:grpSpPr>
          <p:grpSp>
            <p:nvGrpSpPr>
              <p:cNvPr id="207" name="Group 206"/>
              <p:cNvGrpSpPr/>
              <p:nvPr/>
            </p:nvGrpSpPr>
            <p:grpSpPr>
              <a:xfrm>
                <a:off x="6703369" y="6135037"/>
                <a:ext cx="295783" cy="279400"/>
                <a:chOff x="6703369" y="6135037"/>
                <a:chExt cx="295783" cy="279400"/>
              </a:xfrm>
            </p:grpSpPr>
            <p:sp>
              <p:nvSpPr>
                <p:cNvPr id="205"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06" name="Isosceles Triangle 205"/>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nvGrpSpPr>
              <p:cNvPr id="208" name="Group 207"/>
              <p:cNvGrpSpPr/>
              <p:nvPr/>
            </p:nvGrpSpPr>
            <p:grpSpPr>
              <a:xfrm flipH="1" flipV="1">
                <a:off x="7028378" y="6135037"/>
                <a:ext cx="295783" cy="279400"/>
                <a:chOff x="6703369" y="6135037"/>
                <a:chExt cx="295783" cy="279400"/>
              </a:xfrm>
            </p:grpSpPr>
            <p:sp>
              <p:nvSpPr>
                <p:cNvPr id="209"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0" name="Isosceles Triangle 209"/>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grpSp>
      <p:grpSp>
        <p:nvGrpSpPr>
          <p:cNvPr id="3" name="Group 4"/>
          <p:cNvGrpSpPr>
            <a:grpSpLocks noChangeAspect="1"/>
          </p:cNvGrpSpPr>
          <p:nvPr/>
        </p:nvGrpSpPr>
        <p:grpSpPr bwMode="auto">
          <a:xfrm>
            <a:off x="1299320" y="1412875"/>
            <a:ext cx="9593359" cy="4223996"/>
            <a:chOff x="1209" y="1001"/>
            <a:chExt cx="5260" cy="2316"/>
          </a:xfrm>
        </p:grpSpPr>
        <p:sp>
          <p:nvSpPr>
            <p:cNvPr id="5" name="Rectangle 5"/>
            <p:cNvSpPr>
              <a:spLocks noChangeArrowheads="1"/>
            </p:cNvSpPr>
            <p:nvPr/>
          </p:nvSpPr>
          <p:spPr bwMode="auto">
            <a:xfrm>
              <a:off x="4837" y="1001"/>
              <a:ext cx="1632"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3025"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213"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5196" y="1404"/>
              <a:ext cx="1273" cy="191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3269" y="1001"/>
              <a:ext cx="1391" cy="1417"/>
            </a:xfrm>
            <a:custGeom>
              <a:avLst/>
              <a:gdLst>
                <a:gd name="T0" fmla="*/ 0 w 588"/>
                <a:gd name="T1" fmla="*/ 0 h 598"/>
                <a:gd name="T2" fmla="*/ 0 w 588"/>
                <a:gd name="T3" fmla="*/ 473 h 598"/>
                <a:gd name="T4" fmla="*/ 276 w 588"/>
                <a:gd name="T5" fmla="*/ 539 h 598"/>
                <a:gd name="T6" fmla="*/ 588 w 588"/>
                <a:gd name="T7" fmla="*/ 598 h 598"/>
                <a:gd name="T8" fmla="*/ 588 w 588"/>
                <a:gd name="T9" fmla="*/ 0 h 598"/>
                <a:gd name="T10" fmla="*/ 0 w 588"/>
                <a:gd name="T11" fmla="*/ 0 h 598"/>
              </a:gdLst>
              <a:ahLst/>
              <a:cxnLst>
                <a:cxn ang="0">
                  <a:pos x="T0" y="T1"/>
                </a:cxn>
                <a:cxn ang="0">
                  <a:pos x="T2" y="T3"/>
                </a:cxn>
                <a:cxn ang="0">
                  <a:pos x="T4" y="T5"/>
                </a:cxn>
                <a:cxn ang="0">
                  <a:pos x="T6" y="T7"/>
                </a:cxn>
                <a:cxn ang="0">
                  <a:pos x="T8" y="T9"/>
                </a:cxn>
                <a:cxn ang="0">
                  <a:pos x="T10" y="T11"/>
                </a:cxn>
              </a:cxnLst>
              <a:rect l="0" t="0" r="r" b="b"/>
              <a:pathLst>
                <a:path w="588" h="598">
                  <a:moveTo>
                    <a:pt x="0" y="0"/>
                  </a:moveTo>
                  <a:cubicBezTo>
                    <a:pt x="0" y="473"/>
                    <a:pt x="0" y="473"/>
                    <a:pt x="0" y="473"/>
                  </a:cubicBezTo>
                  <a:cubicBezTo>
                    <a:pt x="83" y="496"/>
                    <a:pt x="175" y="518"/>
                    <a:pt x="276" y="539"/>
                  </a:cubicBezTo>
                  <a:cubicBezTo>
                    <a:pt x="365" y="558"/>
                    <a:pt x="580" y="597"/>
                    <a:pt x="588" y="598"/>
                  </a:cubicBezTo>
                  <a:cubicBezTo>
                    <a:pt x="588" y="0"/>
                    <a:pt x="588" y="0"/>
                    <a:pt x="588" y="0"/>
                  </a:cubicBez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209" y="1001"/>
              <a:ext cx="1258" cy="204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2360866" y="6079394"/>
            <a:ext cx="4118055" cy="373793"/>
            <a:chOff x="2446511" y="6079394"/>
            <a:chExt cx="4118055" cy="373793"/>
          </a:xfrm>
        </p:grpSpPr>
        <p:sp>
          <p:nvSpPr>
            <p:cNvPr id="34" name="Rectangle 33"/>
            <p:cNvSpPr/>
            <p:nvPr/>
          </p:nvSpPr>
          <p:spPr>
            <a:xfrm>
              <a:off x="50626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Above three shapes can be of five primary colors</a:t>
              </a:r>
            </a:p>
          </p:txBody>
        </p:sp>
        <p:sp>
          <p:nvSpPr>
            <p:cNvPr id="28" name="Rectangle 27">
              <a:extLst>
                <a:ext uri="{FF2B5EF4-FFF2-40B4-BE49-F238E27FC236}">
                  <a16:creationId xmlns:a16="http://schemas.microsoft.com/office/drawing/2014/main" id="{A4B5D922-528C-4940-B44E-F105BB4D578C}"/>
                </a:ext>
              </a:extLst>
            </p:cNvPr>
            <p:cNvSpPr/>
            <p:nvPr/>
          </p:nvSpPr>
          <p:spPr>
            <a:xfrm flipV="1">
              <a:off x="2446511" y="6079394"/>
              <a:ext cx="373792" cy="373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29" name="Rectangle 28">
              <a:extLst>
                <a:ext uri="{FF2B5EF4-FFF2-40B4-BE49-F238E27FC236}">
                  <a16:creationId xmlns:a16="http://schemas.microsoft.com/office/drawing/2014/main" id="{5259BF94-2EE7-4E90-98B2-97D7D0B6593E}"/>
                </a:ext>
              </a:extLst>
            </p:cNvPr>
            <p:cNvSpPr/>
            <p:nvPr/>
          </p:nvSpPr>
          <p:spPr>
            <a:xfrm flipV="1">
              <a:off x="2980720" y="6079394"/>
              <a:ext cx="373792" cy="37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0" name="Rectangle 29">
              <a:extLst>
                <a:ext uri="{FF2B5EF4-FFF2-40B4-BE49-F238E27FC236}">
                  <a16:creationId xmlns:a16="http://schemas.microsoft.com/office/drawing/2014/main" id="{899214F8-6A3E-43F9-8511-04E9E361D2A0}"/>
                </a:ext>
              </a:extLst>
            </p:cNvPr>
            <p:cNvSpPr/>
            <p:nvPr/>
          </p:nvSpPr>
          <p:spPr>
            <a:xfrm flipV="1">
              <a:off x="3510791" y="6079394"/>
              <a:ext cx="373792" cy="373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31" name="Rectangle 30">
              <a:extLst>
                <a:ext uri="{FF2B5EF4-FFF2-40B4-BE49-F238E27FC236}">
                  <a16:creationId xmlns:a16="http://schemas.microsoft.com/office/drawing/2014/main" id="{81D74956-404C-4AD7-976B-D8023C5DF38E}"/>
                </a:ext>
              </a:extLst>
            </p:cNvPr>
            <p:cNvSpPr/>
            <p:nvPr/>
          </p:nvSpPr>
          <p:spPr>
            <a:xfrm flipV="1">
              <a:off x="4045000" y="6079394"/>
              <a:ext cx="373792" cy="373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2" name="Rectangle 31">
              <a:extLst>
                <a:ext uri="{FF2B5EF4-FFF2-40B4-BE49-F238E27FC236}">
                  <a16:creationId xmlns:a16="http://schemas.microsoft.com/office/drawing/2014/main" id="{0E37E8CD-CE90-43D0-B2B8-1616DE888118}"/>
                </a:ext>
              </a:extLst>
            </p:cNvPr>
            <p:cNvSpPr/>
            <p:nvPr/>
          </p:nvSpPr>
          <p:spPr>
            <a:xfrm flipV="1">
              <a:off x="4579209" y="6079394"/>
              <a:ext cx="373792" cy="373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grpSp>
    </p:spTree>
    <p:extLst>
      <p:ext uri="{BB962C8B-B14F-4D97-AF65-F5344CB8AC3E}">
        <p14:creationId xmlns:p14="http://schemas.microsoft.com/office/powerpoint/2010/main" val="39865618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3" name="Text Placeholder 2"/>
          <p:cNvSpPr>
            <a:spLocks noGrp="1"/>
          </p:cNvSpPr>
          <p:nvPr>
            <p:ph type="body" sz="quarter" idx="10"/>
          </p:nvPr>
        </p:nvSpPr>
        <p:spPr>
          <a:xfrm>
            <a:off x="407987" y="1413990"/>
            <a:ext cx="4164013" cy="948210"/>
          </a:xfrm>
        </p:spPr>
        <p:txBody>
          <a:bodyPr/>
          <a:lstStyle/>
          <a:p>
            <a:pPr>
              <a:lnSpc>
                <a:spcPct val="100000"/>
              </a:lnSpc>
            </a:pPr>
            <a:r>
              <a:rPr lang="en-US" sz="1200" dirty="0" err="1"/>
              <a:t>Sogeti’s</a:t>
            </a:r>
            <a:r>
              <a:rPr lang="en-US" sz="1200" dirty="0"/>
              <a:t> brand illustration style employs a modular approach. This provides a simple system with the scope and flexibility to create any number of custom illustrations tailored to your topic areas.</a:t>
            </a:r>
          </a:p>
          <a:p>
            <a:pPr>
              <a:lnSpc>
                <a:spcPct val="100000"/>
              </a:lnSpc>
            </a:pPr>
            <a:r>
              <a:rPr lang="en-US" sz="1200" dirty="0"/>
              <a:t>Over time, the library of illustration components can be expanded, creating an exhaustive library for any topic area.</a:t>
            </a:r>
          </a:p>
          <a:p>
            <a:pPr>
              <a:lnSpc>
                <a:spcPct val="100000"/>
              </a:lnSpc>
            </a:pPr>
            <a:r>
              <a:rPr lang="en-US" sz="1200" dirty="0"/>
              <a:t>The brand team must always be consulted before introducing any new illustration components.</a:t>
            </a:r>
          </a:p>
        </p:txBody>
      </p:sp>
      <p:pic>
        <p:nvPicPr>
          <p:cNvPr id="242" name="Picture 2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366" y="1578863"/>
            <a:ext cx="923434" cy="781052"/>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244" y="1612377"/>
            <a:ext cx="628112" cy="837482"/>
          </a:xfrm>
          <a:prstGeom prst="rect">
            <a:avLst/>
          </a:prstGeom>
        </p:spPr>
      </p:pic>
      <p:pic>
        <p:nvPicPr>
          <p:cNvPr id="244" name="Picture 2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5580" y="1398204"/>
            <a:ext cx="575425" cy="1025729"/>
          </a:xfrm>
          <a:prstGeom prst="rect">
            <a:avLst/>
          </a:prstGeom>
        </p:spPr>
      </p:pic>
      <p:pic>
        <p:nvPicPr>
          <p:cNvPr id="245" name="Picture 2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952" y="1515943"/>
            <a:ext cx="772928" cy="923951"/>
          </a:xfrm>
          <a:prstGeom prst="rect">
            <a:avLst/>
          </a:prstGeom>
        </p:spPr>
      </p:pic>
      <p:pic>
        <p:nvPicPr>
          <p:cNvPr id="246" name="Picture 2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7791" y="1631931"/>
            <a:ext cx="885853" cy="812769"/>
          </a:xfrm>
          <a:prstGeom prst="rect">
            <a:avLst/>
          </a:prstGeom>
        </p:spPr>
      </p:pic>
      <p:pic>
        <p:nvPicPr>
          <p:cNvPr id="247" name="Picture 2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1900" y="1727129"/>
            <a:ext cx="732477" cy="607978"/>
          </a:xfrm>
          <a:prstGeom prst="rect">
            <a:avLst/>
          </a:prstGeom>
        </p:spPr>
      </p:pic>
      <p:pic>
        <p:nvPicPr>
          <p:cNvPr id="248" name="Picture 2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88018" y="2628901"/>
            <a:ext cx="700087" cy="933450"/>
          </a:xfrm>
          <a:prstGeom prst="rect">
            <a:avLst/>
          </a:prstGeom>
        </p:spPr>
      </p:pic>
      <p:pic>
        <p:nvPicPr>
          <p:cNvPr id="249" name="Picture 2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2148" y="2638424"/>
            <a:ext cx="465292" cy="914401"/>
          </a:xfrm>
          <a:prstGeom prst="rect">
            <a:avLst/>
          </a:prstGeom>
        </p:spPr>
      </p:pic>
      <p:pic>
        <p:nvPicPr>
          <p:cNvPr id="250" name="Picture 2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7370" y="2639186"/>
            <a:ext cx="755605" cy="936903"/>
          </a:xfrm>
          <a:prstGeom prst="rect">
            <a:avLst/>
          </a:prstGeom>
        </p:spPr>
      </p:pic>
      <p:pic>
        <p:nvPicPr>
          <p:cNvPr id="251" name="Picture 2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93081" y="2608939"/>
            <a:ext cx="589904" cy="977239"/>
          </a:xfrm>
          <a:prstGeom prst="rect">
            <a:avLst/>
          </a:prstGeom>
        </p:spPr>
      </p:pic>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9724" y="2642584"/>
            <a:ext cx="637427" cy="983968"/>
          </a:xfrm>
          <a:prstGeom prst="rect">
            <a:avLst/>
          </a:prstGeom>
        </p:spPr>
      </p:pic>
      <p:pic>
        <p:nvPicPr>
          <p:cNvPr id="253" name="Picture 2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6171" y="2642584"/>
            <a:ext cx="359010" cy="924605"/>
          </a:xfrm>
          <a:prstGeom prst="rect">
            <a:avLst/>
          </a:prstGeom>
        </p:spPr>
      </p:pic>
      <p:pic>
        <p:nvPicPr>
          <p:cNvPr id="254" name="Picture 2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17888" y="3950259"/>
            <a:ext cx="911635" cy="650316"/>
          </a:xfrm>
          <a:prstGeom prst="rect">
            <a:avLst/>
          </a:prstGeom>
        </p:spPr>
      </p:pic>
      <p:pic>
        <p:nvPicPr>
          <p:cNvPr id="255" name="Picture 2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4267" y="3799152"/>
            <a:ext cx="722758" cy="942449"/>
          </a:xfrm>
          <a:prstGeom prst="rect">
            <a:avLst/>
          </a:prstGeom>
        </p:spPr>
      </p:pic>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2130" y="3893109"/>
            <a:ext cx="787610" cy="786045"/>
          </a:xfrm>
          <a:prstGeom prst="rect">
            <a:avLst/>
          </a:prstGeom>
        </p:spPr>
      </p:pic>
      <p:pic>
        <p:nvPicPr>
          <p:cNvPr id="65" name="Picture 6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9732" y="3794020"/>
            <a:ext cx="363888" cy="960860"/>
          </a:xfrm>
          <a:prstGeom prst="rect">
            <a:avLst/>
          </a:prstGeom>
        </p:spPr>
      </p:pic>
      <p:pic>
        <p:nvPicPr>
          <p:cNvPr id="66" name="Picture 6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46675" y="3800649"/>
            <a:ext cx="478965" cy="927345"/>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09094" y="3819020"/>
            <a:ext cx="478488" cy="903550"/>
          </a:xfrm>
          <a:prstGeom prst="rect">
            <a:avLst/>
          </a:prstGeom>
        </p:spPr>
      </p:pic>
      <p:pic>
        <p:nvPicPr>
          <p:cNvPr id="68" name="Picture 6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50942" y="3836433"/>
            <a:ext cx="669345" cy="868724"/>
          </a:xfrm>
          <a:prstGeom prst="rect">
            <a:avLst/>
          </a:prstGeom>
        </p:spPr>
      </p:pic>
      <p:pic>
        <p:nvPicPr>
          <p:cNvPr id="69" name="Picture 6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79422" y="3849178"/>
            <a:ext cx="802671" cy="903549"/>
          </a:xfrm>
          <a:prstGeom prst="rect">
            <a:avLst/>
          </a:prstGeom>
        </p:spPr>
      </p:pic>
      <p:pic>
        <p:nvPicPr>
          <p:cNvPr id="70" name="Picture 6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52097" y="4007601"/>
            <a:ext cx="860006" cy="663821"/>
          </a:xfrm>
          <a:prstGeom prst="rect">
            <a:avLst/>
          </a:prstGeom>
        </p:spPr>
      </p:pic>
      <p:pic>
        <p:nvPicPr>
          <p:cNvPr id="71" name="Picture 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10662" y="3793255"/>
            <a:ext cx="339958" cy="924146"/>
          </a:xfrm>
          <a:prstGeom prst="rect">
            <a:avLst/>
          </a:prstGeom>
        </p:spPr>
      </p:pic>
      <p:pic>
        <p:nvPicPr>
          <p:cNvPr id="72" name="Picture 7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04244" y="4966896"/>
            <a:ext cx="624450" cy="892420"/>
          </a:xfrm>
          <a:prstGeom prst="rect">
            <a:avLst/>
          </a:prstGeom>
        </p:spPr>
      </p:pic>
      <p:pic>
        <p:nvPicPr>
          <p:cNvPr id="73" name="Picture 7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37002" y="4990346"/>
            <a:ext cx="620804" cy="903742"/>
          </a:xfrm>
          <a:prstGeom prst="rect">
            <a:avLst/>
          </a:prstGeom>
        </p:spPr>
      </p:pic>
      <p:pic>
        <p:nvPicPr>
          <p:cNvPr id="74" name="Picture 7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34477" y="4971932"/>
            <a:ext cx="733043" cy="891803"/>
          </a:xfrm>
          <a:prstGeom prst="rect">
            <a:avLst/>
          </a:prstGeom>
        </p:spPr>
      </p:pic>
      <p:pic>
        <p:nvPicPr>
          <p:cNvPr id="75" name="Picture 74"/>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611755" y="4922411"/>
            <a:ext cx="401865" cy="1012270"/>
          </a:xfrm>
          <a:prstGeom prst="rect">
            <a:avLst/>
          </a:prstGeom>
        </p:spPr>
      </p:pic>
      <p:pic>
        <p:nvPicPr>
          <p:cNvPr id="76" name="Picture 7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78214" y="4939464"/>
            <a:ext cx="353114" cy="956171"/>
          </a:xfrm>
          <a:prstGeom prst="rect">
            <a:avLst/>
          </a:prstGeom>
        </p:spPr>
      </p:pic>
      <p:pic>
        <p:nvPicPr>
          <p:cNvPr id="77" name="Picture 7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09611" y="5013156"/>
            <a:ext cx="372723" cy="814105"/>
          </a:xfrm>
          <a:prstGeom prst="rect">
            <a:avLst/>
          </a:prstGeom>
        </p:spPr>
      </p:pic>
      <p:pic>
        <p:nvPicPr>
          <p:cNvPr id="78" name="Picture 77"/>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13891" y="4960294"/>
            <a:ext cx="777730" cy="886193"/>
          </a:xfrm>
          <a:prstGeom prst="rect">
            <a:avLst/>
          </a:prstGeom>
        </p:spPr>
      </p:pic>
      <p:pic>
        <p:nvPicPr>
          <p:cNvPr id="79" name="Picture 7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823744" y="5056856"/>
            <a:ext cx="858349" cy="770723"/>
          </a:xfrm>
          <a:prstGeom prst="rect">
            <a:avLst/>
          </a:prstGeom>
        </p:spPr>
      </p:pic>
      <p:pic>
        <p:nvPicPr>
          <p:cNvPr id="81" name="Picture 8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99110" y="5013474"/>
            <a:ext cx="859813" cy="814105"/>
          </a:xfrm>
          <a:prstGeom prst="rect">
            <a:avLst/>
          </a:prstGeom>
        </p:spPr>
      </p:pic>
      <p:pic>
        <p:nvPicPr>
          <p:cNvPr id="82" name="Picture 8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01444" y="4918301"/>
            <a:ext cx="566016" cy="954180"/>
          </a:xfrm>
          <a:prstGeom prst="rect">
            <a:avLst/>
          </a:prstGeom>
        </p:spPr>
      </p:pic>
    </p:spTree>
    <p:extLst>
      <p:ext uri="{BB962C8B-B14F-4D97-AF65-F5344CB8AC3E}">
        <p14:creationId xmlns:p14="http://schemas.microsoft.com/office/powerpoint/2010/main" val="24325818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111" name="Text Placeholder 2"/>
          <p:cNvSpPr>
            <a:spLocks noGrp="1"/>
          </p:cNvSpPr>
          <p:nvPr>
            <p:ph type="body" sz="quarter" idx="10"/>
          </p:nvPr>
        </p:nvSpPr>
        <p:spPr>
          <a:xfrm>
            <a:off x="9753601" y="5840095"/>
            <a:ext cx="2030412" cy="537845"/>
          </a:xfrm>
        </p:spPr>
        <p:txBody>
          <a:bodyPr/>
          <a:lstStyle/>
          <a:p>
            <a:pPr>
              <a:lnSpc>
                <a:spcPct val="100000"/>
              </a:lnSpc>
              <a:spcAft>
                <a:spcPts val="300"/>
              </a:spcAft>
            </a:pPr>
            <a:r>
              <a:rPr lang="en-US" sz="900" dirty="0"/>
              <a:t>A number of ready-to-use scenes have been created using individual  components from the initial library detailed on the left</a:t>
            </a:r>
          </a:p>
        </p:txBody>
      </p:sp>
      <p:grpSp>
        <p:nvGrpSpPr>
          <p:cNvPr id="240" name="Group 239"/>
          <p:cNvGrpSpPr/>
          <p:nvPr/>
        </p:nvGrpSpPr>
        <p:grpSpPr>
          <a:xfrm>
            <a:off x="9743441" y="1413990"/>
            <a:ext cx="1983740" cy="4224810"/>
            <a:chOff x="8610600" y="1413990"/>
            <a:chExt cx="3173413" cy="4844570"/>
          </a:xfrm>
        </p:grpSpPr>
        <p:sp>
          <p:nvSpPr>
            <p:cNvPr id="239" name="Rectangle 238"/>
            <p:cNvSpPr/>
            <p:nvPr/>
          </p:nvSpPr>
          <p:spPr>
            <a:xfrm>
              <a:off x="8610600" y="1413990"/>
              <a:ext cx="3173413" cy="2396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Rectangle 111"/>
            <p:cNvSpPr/>
            <p:nvPr/>
          </p:nvSpPr>
          <p:spPr>
            <a:xfrm>
              <a:off x="8610600" y="3881873"/>
              <a:ext cx="3173413" cy="2376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246" name="Group 245"/>
          <p:cNvGrpSpPr/>
          <p:nvPr/>
        </p:nvGrpSpPr>
        <p:grpSpPr>
          <a:xfrm>
            <a:off x="9677400" y="5638800"/>
            <a:ext cx="2106613" cy="157480"/>
            <a:chOff x="9677400" y="5638800"/>
            <a:chExt cx="2106613" cy="157480"/>
          </a:xfrm>
        </p:grpSpPr>
        <p:cxnSp>
          <p:nvCxnSpPr>
            <p:cNvPr id="243" name="Straight Connector 242"/>
            <p:cNvCxnSpPr/>
            <p:nvPr/>
          </p:nvCxnSpPr>
          <p:spPr>
            <a:xfrm>
              <a:off x="9677400" y="5715000"/>
              <a:ext cx="21066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9677400"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1782425"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0732770" y="57150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723" y="1581150"/>
            <a:ext cx="752378" cy="8667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8759" y="1720026"/>
            <a:ext cx="488336" cy="5409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231" y="1603248"/>
            <a:ext cx="909408" cy="763408"/>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4568" y="1602928"/>
            <a:ext cx="636620" cy="770062"/>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9940" y="1501369"/>
            <a:ext cx="1008803" cy="989649"/>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2728" y="1531730"/>
            <a:ext cx="578192" cy="876199"/>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50417" y="1656144"/>
            <a:ext cx="979830" cy="736536"/>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006" y="1521656"/>
            <a:ext cx="661013" cy="932606"/>
          </a:xfrm>
          <a:prstGeom prst="rect">
            <a:avLst/>
          </a:prstGeom>
        </p:spPr>
      </p:pic>
      <p:pic>
        <p:nvPicPr>
          <p:cNvPr id="11"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8476" y="2643373"/>
            <a:ext cx="641347" cy="914418"/>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6692" y="2805422"/>
            <a:ext cx="808849" cy="61163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3244" y="2676734"/>
            <a:ext cx="947669" cy="947669"/>
          </a:xfrm>
          <a:prstGeom prst="rect">
            <a:avLst/>
          </a:prstGeom>
        </p:spPr>
      </p:pic>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1434" y="2670830"/>
            <a:ext cx="534439" cy="90104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2510" y="2942038"/>
            <a:ext cx="829639" cy="467912"/>
          </a:xfrm>
          <a:prstGeom prst="rect">
            <a:avLst/>
          </a:prstGeom>
        </p:spPr>
      </p:pic>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5790" y="2723612"/>
            <a:ext cx="620984" cy="753940"/>
          </a:xfrm>
          <a:prstGeom prst="rect">
            <a:avLst/>
          </a:prstGeom>
        </p:spPr>
      </p:pic>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758836" y="2665120"/>
            <a:ext cx="562573" cy="923900"/>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574" y="2741795"/>
            <a:ext cx="613296" cy="716707"/>
          </a:xfrm>
          <a:prstGeom prst="rect">
            <a:avLst/>
          </a:prstGeom>
        </p:spPr>
      </p:pic>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62400" y="5163537"/>
            <a:ext cx="859570" cy="603859"/>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84484" y="3854976"/>
            <a:ext cx="673995" cy="805709"/>
          </a:xfrm>
          <a:prstGeom prst="rect">
            <a:avLst/>
          </a:prstGeom>
        </p:spPr>
      </p:pic>
      <p:pic>
        <p:nvPicPr>
          <p:cNvPr id="21" name="Picture 2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94451" y="5197055"/>
            <a:ext cx="840734" cy="520993"/>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92756" y="3704121"/>
            <a:ext cx="706223" cy="1180299"/>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2872" y="5090161"/>
            <a:ext cx="898484" cy="667020"/>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25235" y="3826363"/>
            <a:ext cx="956811" cy="882282"/>
          </a:xfrm>
          <a:prstGeom prst="rect">
            <a:avLst/>
          </a:prstGeom>
        </p:spPr>
      </p:pic>
      <p:pic>
        <p:nvPicPr>
          <p:cNvPr id="26" name="Picture 2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84290" y="3895344"/>
            <a:ext cx="954219" cy="744210"/>
          </a:xfrm>
          <a:prstGeom prst="rect">
            <a:avLst/>
          </a:prstGeom>
        </p:spPr>
      </p:pic>
      <p:pic>
        <p:nvPicPr>
          <p:cNvPr id="27" name="Picture 2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54841" y="3809727"/>
            <a:ext cx="398448" cy="91467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14938" y="3813178"/>
            <a:ext cx="944359" cy="874645"/>
          </a:xfrm>
          <a:prstGeom prst="rect">
            <a:avLst/>
          </a:prstGeom>
        </p:spPr>
      </p:pic>
      <p:pic>
        <p:nvPicPr>
          <p:cNvPr id="29" name="Picture 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5991" y="3814248"/>
            <a:ext cx="765205" cy="873576"/>
          </a:xfrm>
          <a:prstGeom prst="rect">
            <a:avLst/>
          </a:prstGeom>
        </p:spPr>
      </p:pic>
      <p:pic>
        <p:nvPicPr>
          <p:cNvPr id="30" name="Picture 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43505" y="3833641"/>
            <a:ext cx="667135" cy="878287"/>
          </a:xfrm>
          <a:prstGeom prst="rect">
            <a:avLst/>
          </a:prstGeom>
        </p:spPr>
      </p:pic>
      <p:pic>
        <p:nvPicPr>
          <p:cNvPr id="102" name="Picture 10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2672" y="4948239"/>
            <a:ext cx="791768" cy="979607"/>
          </a:xfrm>
          <a:prstGeom prst="rect">
            <a:avLst/>
          </a:prstGeom>
        </p:spPr>
      </p:pic>
      <p:pic>
        <p:nvPicPr>
          <p:cNvPr id="31" name="Picture 3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910636" y="1215844"/>
            <a:ext cx="1519364" cy="2202788"/>
          </a:xfrm>
          <a:prstGeom prst="rect">
            <a:avLst/>
          </a:prstGeom>
        </p:spPr>
      </p:pic>
      <p:pic>
        <p:nvPicPr>
          <p:cNvPr id="224" name="Picture 22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70716" y="3688080"/>
            <a:ext cx="1742042" cy="1892644"/>
          </a:xfrm>
          <a:prstGeom prst="rect">
            <a:avLst/>
          </a:prstGeom>
        </p:spPr>
      </p:pic>
    </p:spTree>
    <p:extLst>
      <p:ext uri="{BB962C8B-B14F-4D97-AF65-F5344CB8AC3E}">
        <p14:creationId xmlns:p14="http://schemas.microsoft.com/office/powerpoint/2010/main" val="1598207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 Palette</a:t>
            </a:r>
          </a:p>
        </p:txBody>
      </p:sp>
      <p:grpSp>
        <p:nvGrpSpPr>
          <p:cNvPr id="87" name="Group 86"/>
          <p:cNvGrpSpPr/>
          <p:nvPr/>
        </p:nvGrpSpPr>
        <p:grpSpPr>
          <a:xfrm>
            <a:off x="421786" y="1700214"/>
            <a:ext cx="8151693" cy="1505974"/>
            <a:chOff x="421786" y="1700213"/>
            <a:chExt cx="8881574" cy="1640815"/>
          </a:xfrm>
        </p:grpSpPr>
        <p:sp>
          <p:nvSpPr>
            <p:cNvPr id="175" name="Rectangle 174">
              <a:extLst>
                <a:ext uri="{FF2B5EF4-FFF2-40B4-BE49-F238E27FC236}">
                  <a16:creationId xmlns:a16="http://schemas.microsoft.com/office/drawing/2014/main" id="{C09EC743-C6E9-431D-93FB-884B562A13B8}"/>
                </a:ext>
              </a:extLst>
            </p:cNvPr>
            <p:cNvSpPr/>
            <p:nvPr/>
          </p:nvSpPr>
          <p:spPr>
            <a:xfrm>
              <a:off x="42178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6" name="Rectangle 175">
              <a:extLst>
                <a:ext uri="{FF2B5EF4-FFF2-40B4-BE49-F238E27FC236}">
                  <a16:creationId xmlns:a16="http://schemas.microsoft.com/office/drawing/2014/main" id="{A4B5D922-528C-4940-B44E-F105BB4D578C}"/>
                </a:ext>
              </a:extLst>
            </p:cNvPr>
            <p:cNvSpPr/>
            <p:nvPr/>
          </p:nvSpPr>
          <p:spPr>
            <a:xfrm>
              <a:off x="556441" y="1836948"/>
              <a:ext cx="900622" cy="900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77" name="TextBox 176">
              <a:extLst>
                <a:ext uri="{FF2B5EF4-FFF2-40B4-BE49-F238E27FC236}">
                  <a16:creationId xmlns:a16="http://schemas.microsoft.com/office/drawing/2014/main" id="{89CA8304-8217-4D2F-A048-B4F475D27106}"/>
                </a:ext>
              </a:extLst>
            </p:cNvPr>
            <p:cNvSpPr txBox="1"/>
            <p:nvPr/>
          </p:nvSpPr>
          <p:spPr>
            <a:xfrm>
              <a:off x="501503"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1</a:t>
              </a:r>
            </a:p>
          </p:txBody>
        </p:sp>
        <p:sp>
          <p:nvSpPr>
            <p:cNvPr id="178" name="Rectangle 177">
              <a:extLst>
                <a:ext uri="{FF2B5EF4-FFF2-40B4-BE49-F238E27FC236}">
                  <a16:creationId xmlns:a16="http://schemas.microsoft.com/office/drawing/2014/main" id="{AB2E3730-14E1-44D4-9AFE-C5DB23707037}"/>
                </a:ext>
              </a:extLst>
            </p:cNvPr>
            <p:cNvSpPr/>
            <p:nvPr/>
          </p:nvSpPr>
          <p:spPr>
            <a:xfrm>
              <a:off x="170891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9" name="Rectangle 178">
              <a:extLst>
                <a:ext uri="{FF2B5EF4-FFF2-40B4-BE49-F238E27FC236}">
                  <a16:creationId xmlns:a16="http://schemas.microsoft.com/office/drawing/2014/main" id="{5259BF94-2EE7-4E90-98B2-97D7D0B6593E}"/>
                </a:ext>
              </a:extLst>
            </p:cNvPr>
            <p:cNvSpPr/>
            <p:nvPr/>
          </p:nvSpPr>
          <p:spPr>
            <a:xfrm>
              <a:off x="1843575" y="1836948"/>
              <a:ext cx="900622" cy="9006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0" name="TextBox 179">
              <a:extLst>
                <a:ext uri="{FF2B5EF4-FFF2-40B4-BE49-F238E27FC236}">
                  <a16:creationId xmlns:a16="http://schemas.microsoft.com/office/drawing/2014/main" id="{3B10E8B2-7568-4AB6-AD99-18CA64C28072}"/>
                </a:ext>
              </a:extLst>
            </p:cNvPr>
            <p:cNvSpPr txBox="1"/>
            <p:nvPr/>
          </p:nvSpPr>
          <p:spPr>
            <a:xfrm>
              <a:off x="178863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2</a:t>
              </a:r>
            </a:p>
          </p:txBody>
        </p:sp>
        <p:grpSp>
          <p:nvGrpSpPr>
            <p:cNvPr id="181" name="Group 180"/>
            <p:cNvGrpSpPr/>
            <p:nvPr/>
          </p:nvGrpSpPr>
          <p:grpSpPr>
            <a:xfrm>
              <a:off x="6863750" y="1700213"/>
              <a:ext cx="2439610" cy="1640815"/>
              <a:chOff x="3470612" y="1700213"/>
              <a:chExt cx="2439610" cy="1640815"/>
            </a:xfrm>
          </p:grpSpPr>
          <p:sp>
            <p:nvSpPr>
              <p:cNvPr id="192" name="Rectangle 191">
                <a:extLst>
                  <a:ext uri="{FF2B5EF4-FFF2-40B4-BE49-F238E27FC236}">
                    <a16:creationId xmlns:a16="http://schemas.microsoft.com/office/drawing/2014/main" id="{5D91BDED-E66C-4C19-8DD5-A11051165B71}"/>
                  </a:ext>
                </a:extLst>
              </p:cNvPr>
              <p:cNvSpPr/>
              <p:nvPr/>
            </p:nvSpPr>
            <p:spPr>
              <a:xfrm>
                <a:off x="3470612"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3" name="Rectangle 192">
                <a:extLst>
                  <a:ext uri="{FF2B5EF4-FFF2-40B4-BE49-F238E27FC236}">
                    <a16:creationId xmlns:a16="http://schemas.microsoft.com/office/drawing/2014/main" id="{B22F3D65-2CAF-43E0-8D3E-F7D3423AA602}"/>
                  </a:ext>
                </a:extLst>
              </p:cNvPr>
              <p:cNvSpPr/>
              <p:nvPr/>
            </p:nvSpPr>
            <p:spPr>
              <a:xfrm>
                <a:off x="3605267" y="1836948"/>
                <a:ext cx="900622" cy="900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94" name="TextBox 193">
                <a:extLst>
                  <a:ext uri="{FF2B5EF4-FFF2-40B4-BE49-F238E27FC236}">
                    <a16:creationId xmlns:a16="http://schemas.microsoft.com/office/drawing/2014/main" id="{54DFD801-05F7-43FE-8BF9-EEDA3CA7AF39}"/>
                  </a:ext>
                </a:extLst>
              </p:cNvPr>
              <p:cNvSpPr txBox="1"/>
              <p:nvPr/>
            </p:nvSpPr>
            <p:spPr>
              <a:xfrm>
                <a:off x="3550329"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6</a:t>
                </a:r>
              </a:p>
            </p:txBody>
          </p:sp>
          <p:sp>
            <p:nvSpPr>
              <p:cNvPr id="195" name="Rectangle 194">
                <a:extLst>
                  <a:ext uri="{FF2B5EF4-FFF2-40B4-BE49-F238E27FC236}">
                    <a16:creationId xmlns:a16="http://schemas.microsoft.com/office/drawing/2014/main" id="{3016D325-752F-46AC-9A3E-48EB311C2EFE}"/>
                  </a:ext>
                </a:extLst>
              </p:cNvPr>
              <p:cNvSpPr/>
              <p:nvPr/>
            </p:nvSpPr>
            <p:spPr>
              <a:xfrm>
                <a:off x="4757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6" name="Rectangle 195">
                <a:extLst>
                  <a:ext uri="{FF2B5EF4-FFF2-40B4-BE49-F238E27FC236}">
                    <a16:creationId xmlns:a16="http://schemas.microsoft.com/office/drawing/2014/main" id="{5C96F8A9-2E6B-4670-8355-552F059864FB}"/>
                  </a:ext>
                </a:extLst>
              </p:cNvPr>
              <p:cNvSpPr/>
              <p:nvPr/>
            </p:nvSpPr>
            <p:spPr>
              <a:xfrm>
                <a:off x="4892401" y="1836948"/>
                <a:ext cx="900622" cy="90062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7" name="TextBox 196">
                <a:extLst>
                  <a:ext uri="{FF2B5EF4-FFF2-40B4-BE49-F238E27FC236}">
                    <a16:creationId xmlns:a16="http://schemas.microsoft.com/office/drawing/2014/main" id="{41439C39-BBD1-46A6-A51C-2265E1A3FE4D}"/>
                  </a:ext>
                </a:extLst>
              </p:cNvPr>
              <p:cNvSpPr txBox="1"/>
              <p:nvPr/>
            </p:nvSpPr>
            <p:spPr>
              <a:xfrm>
                <a:off x="4837462"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7</a:t>
                </a:r>
              </a:p>
            </p:txBody>
          </p:sp>
        </p:grpSp>
        <p:grpSp>
          <p:nvGrpSpPr>
            <p:cNvPr id="182" name="Group 181"/>
            <p:cNvGrpSpPr/>
            <p:nvPr/>
          </p:nvGrpSpPr>
          <p:grpSpPr>
            <a:xfrm>
              <a:off x="2986083" y="1700213"/>
              <a:ext cx="3726742" cy="1640815"/>
              <a:chOff x="7510744" y="1700213"/>
              <a:chExt cx="3726742" cy="1640815"/>
            </a:xfrm>
          </p:grpSpPr>
          <p:sp>
            <p:nvSpPr>
              <p:cNvPr id="183" name="Rectangle 182">
                <a:extLst>
                  <a:ext uri="{FF2B5EF4-FFF2-40B4-BE49-F238E27FC236}">
                    <a16:creationId xmlns:a16="http://schemas.microsoft.com/office/drawing/2014/main" id="{3162C675-DB6D-440B-9DC9-72F6FADAC3EE}"/>
                  </a:ext>
                </a:extLst>
              </p:cNvPr>
              <p:cNvSpPr/>
              <p:nvPr/>
            </p:nvSpPr>
            <p:spPr>
              <a:xfrm>
                <a:off x="7510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4" name="Rectangle 183">
                <a:extLst>
                  <a:ext uri="{FF2B5EF4-FFF2-40B4-BE49-F238E27FC236}">
                    <a16:creationId xmlns:a16="http://schemas.microsoft.com/office/drawing/2014/main" id="{899214F8-6A3E-43F9-8511-04E9E361D2A0}"/>
                  </a:ext>
                </a:extLst>
              </p:cNvPr>
              <p:cNvSpPr/>
              <p:nvPr/>
            </p:nvSpPr>
            <p:spPr>
              <a:xfrm>
                <a:off x="7645399" y="1836948"/>
                <a:ext cx="900622" cy="900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85" name="TextBox 184">
                <a:extLst>
                  <a:ext uri="{FF2B5EF4-FFF2-40B4-BE49-F238E27FC236}">
                    <a16:creationId xmlns:a16="http://schemas.microsoft.com/office/drawing/2014/main" id="{2DA339E3-30AE-4FBE-83EE-3067E409D1A1}"/>
                  </a:ext>
                </a:extLst>
              </p:cNvPr>
              <p:cNvSpPr txBox="1"/>
              <p:nvPr/>
            </p:nvSpPr>
            <p:spPr>
              <a:xfrm>
                <a:off x="7590461"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3</a:t>
                </a:r>
              </a:p>
            </p:txBody>
          </p:sp>
          <p:sp>
            <p:nvSpPr>
              <p:cNvPr id="186" name="Rectangle 185">
                <a:extLst>
                  <a:ext uri="{FF2B5EF4-FFF2-40B4-BE49-F238E27FC236}">
                    <a16:creationId xmlns:a16="http://schemas.microsoft.com/office/drawing/2014/main" id="{19B162BB-EF61-464A-9246-19FA51CFC23A}"/>
                  </a:ext>
                </a:extLst>
              </p:cNvPr>
              <p:cNvSpPr/>
              <p:nvPr/>
            </p:nvSpPr>
            <p:spPr>
              <a:xfrm>
                <a:off x="879787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7" name="Rectangle 186">
                <a:extLst>
                  <a:ext uri="{FF2B5EF4-FFF2-40B4-BE49-F238E27FC236}">
                    <a16:creationId xmlns:a16="http://schemas.microsoft.com/office/drawing/2014/main" id="{81D74956-404C-4AD7-976B-D8023C5DF38E}"/>
                  </a:ext>
                </a:extLst>
              </p:cNvPr>
              <p:cNvSpPr/>
              <p:nvPr/>
            </p:nvSpPr>
            <p:spPr>
              <a:xfrm>
                <a:off x="8932533" y="1836948"/>
                <a:ext cx="900622" cy="900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8" name="TextBox 187">
                <a:extLst>
                  <a:ext uri="{FF2B5EF4-FFF2-40B4-BE49-F238E27FC236}">
                    <a16:creationId xmlns:a16="http://schemas.microsoft.com/office/drawing/2014/main" id="{D848DB81-B840-41FD-9D71-BE45533F4586}"/>
                  </a:ext>
                </a:extLst>
              </p:cNvPr>
              <p:cNvSpPr txBox="1"/>
              <p:nvPr/>
            </p:nvSpPr>
            <p:spPr>
              <a:xfrm>
                <a:off x="8877594"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4</a:t>
                </a:r>
              </a:p>
            </p:txBody>
          </p:sp>
          <p:sp>
            <p:nvSpPr>
              <p:cNvPr id="189" name="Rectangle 188">
                <a:extLst>
                  <a:ext uri="{FF2B5EF4-FFF2-40B4-BE49-F238E27FC236}">
                    <a16:creationId xmlns:a16="http://schemas.microsoft.com/office/drawing/2014/main" id="{4880EBC1-B73B-404B-B8DA-18292C6CFD2A}"/>
                  </a:ext>
                </a:extLst>
              </p:cNvPr>
              <p:cNvSpPr/>
              <p:nvPr/>
            </p:nvSpPr>
            <p:spPr>
              <a:xfrm>
                <a:off x="1008500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0" name="Rectangle 189">
                <a:extLst>
                  <a:ext uri="{FF2B5EF4-FFF2-40B4-BE49-F238E27FC236}">
                    <a16:creationId xmlns:a16="http://schemas.microsoft.com/office/drawing/2014/main" id="{0E37E8CD-CE90-43D0-B2B8-1616DE888118}"/>
                  </a:ext>
                </a:extLst>
              </p:cNvPr>
              <p:cNvSpPr/>
              <p:nvPr/>
            </p:nvSpPr>
            <p:spPr>
              <a:xfrm>
                <a:off x="10219665" y="1836948"/>
                <a:ext cx="900622" cy="900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1" name="TextBox 190">
                <a:extLst>
                  <a:ext uri="{FF2B5EF4-FFF2-40B4-BE49-F238E27FC236}">
                    <a16:creationId xmlns:a16="http://schemas.microsoft.com/office/drawing/2014/main" id="{FFCBA858-1304-4DF8-B7D7-4B46BC9E154F}"/>
                  </a:ext>
                </a:extLst>
              </p:cNvPr>
              <p:cNvSpPr txBox="1"/>
              <p:nvPr/>
            </p:nvSpPr>
            <p:spPr>
              <a:xfrm>
                <a:off x="1016472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5</a:t>
                </a:r>
              </a:p>
            </p:txBody>
          </p:sp>
        </p:grpSp>
      </p:grpSp>
      <p:sp>
        <p:nvSpPr>
          <p:cNvPr id="99" name="Rectangle 4">
            <a:extLst>
              <a:ext uri="{FF2B5EF4-FFF2-40B4-BE49-F238E27FC236}">
                <a16:creationId xmlns:a16="http://schemas.microsoft.com/office/drawing/2014/main" id="{85E130E7-EBBB-4010-8F45-F7CD815F196E}"/>
              </a:ext>
            </a:extLst>
          </p:cNvPr>
          <p:cNvSpPr>
            <a:spLocks noChangeArrowheads="1"/>
          </p:cNvSpPr>
          <p:nvPr/>
        </p:nvSpPr>
        <p:spPr bwMode="auto">
          <a:xfrm>
            <a:off x="418077" y="1381118"/>
            <a:ext cx="4024549"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pt-PT" sz="16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Primary colors</a:t>
            </a:r>
            <a:endParaRPr kumimoji="0" lang="en-US" altLang="pt-PT" sz="12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grpSp>
        <p:nvGrpSpPr>
          <p:cNvPr id="100" name="Group 99"/>
          <p:cNvGrpSpPr/>
          <p:nvPr/>
        </p:nvGrpSpPr>
        <p:grpSpPr>
          <a:xfrm>
            <a:off x="410745" y="3447375"/>
            <a:ext cx="10356702" cy="1373697"/>
            <a:chOff x="885307" y="4072408"/>
            <a:chExt cx="10356702" cy="1373697"/>
          </a:xfrm>
        </p:grpSpPr>
        <p:sp>
          <p:nvSpPr>
            <p:cNvPr id="135" name="Rectangle 134">
              <a:extLst>
                <a:ext uri="{FF2B5EF4-FFF2-40B4-BE49-F238E27FC236}">
                  <a16:creationId xmlns:a16="http://schemas.microsoft.com/office/drawing/2014/main" id="{FBF536D8-CE5B-4833-A64F-E8B7B56D1C8E}"/>
                </a:ext>
              </a:extLst>
            </p:cNvPr>
            <p:cNvSpPr/>
            <p:nvPr/>
          </p:nvSpPr>
          <p:spPr>
            <a:xfrm>
              <a:off x="88533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6" name="Rectangle 135">
              <a:extLst>
                <a:ext uri="{FF2B5EF4-FFF2-40B4-BE49-F238E27FC236}">
                  <a16:creationId xmlns:a16="http://schemas.microsoft.com/office/drawing/2014/main" id="{09FC5A7A-5E7A-49A5-A8D3-2229B891D343}"/>
                </a:ext>
              </a:extLst>
            </p:cNvPr>
            <p:cNvSpPr/>
            <p:nvPr/>
          </p:nvSpPr>
          <p:spPr>
            <a:xfrm>
              <a:off x="969307" y="4508095"/>
              <a:ext cx="561667" cy="561667"/>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37" name="TextBox 136">
              <a:extLst>
                <a:ext uri="{FF2B5EF4-FFF2-40B4-BE49-F238E27FC236}">
                  <a16:creationId xmlns:a16="http://schemas.microsoft.com/office/drawing/2014/main" id="{65F7BF58-132A-466C-B7A6-E0E353EC12CB}"/>
                </a:ext>
              </a:extLst>
            </p:cNvPr>
            <p:cNvSpPr txBox="1"/>
            <p:nvPr/>
          </p:nvSpPr>
          <p:spPr>
            <a:xfrm>
              <a:off x="91803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8</a:t>
              </a:r>
            </a:p>
          </p:txBody>
        </p:sp>
        <p:sp>
          <p:nvSpPr>
            <p:cNvPr id="138" name="Rectangle 137">
              <a:extLst>
                <a:ext uri="{FF2B5EF4-FFF2-40B4-BE49-F238E27FC236}">
                  <a16:creationId xmlns:a16="http://schemas.microsoft.com/office/drawing/2014/main" id="{A7EF03B7-9030-4931-83AD-3F982FFFDF3F}"/>
                </a:ext>
              </a:extLst>
            </p:cNvPr>
            <p:cNvSpPr/>
            <p:nvPr/>
          </p:nvSpPr>
          <p:spPr>
            <a:xfrm>
              <a:off x="168804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9" name="Rectangle 138">
              <a:extLst>
                <a:ext uri="{FF2B5EF4-FFF2-40B4-BE49-F238E27FC236}">
                  <a16:creationId xmlns:a16="http://schemas.microsoft.com/office/drawing/2014/main" id="{A95D372D-C392-4EB6-8879-D25388476A9D}"/>
                </a:ext>
              </a:extLst>
            </p:cNvPr>
            <p:cNvSpPr/>
            <p:nvPr/>
          </p:nvSpPr>
          <p:spPr>
            <a:xfrm>
              <a:off x="1772020" y="4508095"/>
              <a:ext cx="561667" cy="561667"/>
            </a:xfrm>
            <a:prstGeom prst="rect">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0" name="TextBox 139">
              <a:extLst>
                <a:ext uri="{FF2B5EF4-FFF2-40B4-BE49-F238E27FC236}">
                  <a16:creationId xmlns:a16="http://schemas.microsoft.com/office/drawing/2014/main" id="{6AF08065-4E49-4646-9FE3-D454265B94DF}"/>
                </a:ext>
              </a:extLst>
            </p:cNvPr>
            <p:cNvSpPr txBox="1"/>
            <p:nvPr/>
          </p:nvSpPr>
          <p:spPr>
            <a:xfrm>
              <a:off x="172075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9</a:t>
              </a:r>
            </a:p>
          </p:txBody>
        </p:sp>
        <p:sp>
          <p:nvSpPr>
            <p:cNvPr id="141" name="Rectangle 140">
              <a:extLst>
                <a:ext uri="{FF2B5EF4-FFF2-40B4-BE49-F238E27FC236}">
                  <a16:creationId xmlns:a16="http://schemas.microsoft.com/office/drawing/2014/main" id="{9503BE2E-B688-45A8-9E93-19DCF8231B35}"/>
                </a:ext>
              </a:extLst>
            </p:cNvPr>
            <p:cNvSpPr/>
            <p:nvPr/>
          </p:nvSpPr>
          <p:spPr>
            <a:xfrm>
              <a:off x="249075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2" name="Rectangle 141">
              <a:extLst>
                <a:ext uri="{FF2B5EF4-FFF2-40B4-BE49-F238E27FC236}">
                  <a16:creationId xmlns:a16="http://schemas.microsoft.com/office/drawing/2014/main" id="{AD2F49D7-2090-4A95-87FE-AE82B3548D91}"/>
                </a:ext>
              </a:extLst>
            </p:cNvPr>
            <p:cNvSpPr/>
            <p:nvPr/>
          </p:nvSpPr>
          <p:spPr>
            <a:xfrm>
              <a:off x="2574731" y="4508095"/>
              <a:ext cx="561667" cy="561667"/>
            </a:xfrm>
            <a:prstGeom prst="rect">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3" name="TextBox 142">
              <a:extLst>
                <a:ext uri="{FF2B5EF4-FFF2-40B4-BE49-F238E27FC236}">
                  <a16:creationId xmlns:a16="http://schemas.microsoft.com/office/drawing/2014/main" id="{323B48CA-9BEE-40C3-8A4D-5690FA1BC9ED}"/>
                </a:ext>
              </a:extLst>
            </p:cNvPr>
            <p:cNvSpPr txBox="1"/>
            <p:nvPr/>
          </p:nvSpPr>
          <p:spPr>
            <a:xfrm>
              <a:off x="2523464"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0</a:t>
              </a:r>
            </a:p>
          </p:txBody>
        </p:sp>
        <p:sp>
          <p:nvSpPr>
            <p:cNvPr id="144" name="Rectangle 143">
              <a:extLst>
                <a:ext uri="{FF2B5EF4-FFF2-40B4-BE49-F238E27FC236}">
                  <a16:creationId xmlns:a16="http://schemas.microsoft.com/office/drawing/2014/main" id="{9E9FDD74-5F6A-46BE-A007-ED7BFA5A6077}"/>
                </a:ext>
              </a:extLst>
            </p:cNvPr>
            <p:cNvSpPr/>
            <p:nvPr/>
          </p:nvSpPr>
          <p:spPr>
            <a:xfrm>
              <a:off x="329346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5" name="Rectangle 144">
              <a:extLst>
                <a:ext uri="{FF2B5EF4-FFF2-40B4-BE49-F238E27FC236}">
                  <a16:creationId xmlns:a16="http://schemas.microsoft.com/office/drawing/2014/main" id="{9A2B9A36-CEBF-4571-A09C-DB616EFAEE2D}"/>
                </a:ext>
              </a:extLst>
            </p:cNvPr>
            <p:cNvSpPr/>
            <p:nvPr/>
          </p:nvSpPr>
          <p:spPr>
            <a:xfrm>
              <a:off x="3377444" y="4508095"/>
              <a:ext cx="561667" cy="561667"/>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6" name="TextBox 145">
              <a:extLst>
                <a:ext uri="{FF2B5EF4-FFF2-40B4-BE49-F238E27FC236}">
                  <a16:creationId xmlns:a16="http://schemas.microsoft.com/office/drawing/2014/main" id="{01C43100-AE3A-48C2-B19F-AB064CC71C76}"/>
                </a:ext>
              </a:extLst>
            </p:cNvPr>
            <p:cNvSpPr txBox="1"/>
            <p:nvPr/>
          </p:nvSpPr>
          <p:spPr>
            <a:xfrm>
              <a:off x="332617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1</a:t>
              </a:r>
            </a:p>
          </p:txBody>
        </p:sp>
        <p:sp>
          <p:nvSpPr>
            <p:cNvPr id="147" name="Rectangle 146">
              <a:extLst>
                <a:ext uri="{FF2B5EF4-FFF2-40B4-BE49-F238E27FC236}">
                  <a16:creationId xmlns:a16="http://schemas.microsoft.com/office/drawing/2014/main" id="{AF4B6CBB-54AA-4AA7-8FA8-826F03E305A5}"/>
                </a:ext>
              </a:extLst>
            </p:cNvPr>
            <p:cNvSpPr/>
            <p:nvPr/>
          </p:nvSpPr>
          <p:spPr>
            <a:xfrm>
              <a:off x="411447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8" name="Rectangle 147">
              <a:extLst>
                <a:ext uri="{FF2B5EF4-FFF2-40B4-BE49-F238E27FC236}">
                  <a16:creationId xmlns:a16="http://schemas.microsoft.com/office/drawing/2014/main" id="{4E790399-5893-4E82-AB6B-0EF7D7E88E47}"/>
                </a:ext>
              </a:extLst>
            </p:cNvPr>
            <p:cNvSpPr/>
            <p:nvPr/>
          </p:nvSpPr>
          <p:spPr>
            <a:xfrm>
              <a:off x="4198453" y="4508095"/>
              <a:ext cx="561667" cy="561667"/>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9" name="TextBox 148">
              <a:extLst>
                <a:ext uri="{FF2B5EF4-FFF2-40B4-BE49-F238E27FC236}">
                  <a16:creationId xmlns:a16="http://schemas.microsoft.com/office/drawing/2014/main" id="{C6CCCB5C-6213-4CB1-907A-AD6C709411C6}"/>
                </a:ext>
              </a:extLst>
            </p:cNvPr>
            <p:cNvSpPr txBox="1"/>
            <p:nvPr/>
          </p:nvSpPr>
          <p:spPr>
            <a:xfrm>
              <a:off x="414718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2</a:t>
              </a:r>
            </a:p>
          </p:txBody>
        </p:sp>
        <p:sp>
          <p:nvSpPr>
            <p:cNvPr id="150" name="Rectangle 149">
              <a:extLst>
                <a:ext uri="{FF2B5EF4-FFF2-40B4-BE49-F238E27FC236}">
                  <a16:creationId xmlns:a16="http://schemas.microsoft.com/office/drawing/2014/main" id="{95C4ED4D-4CE5-4C8E-94C3-0993A04A0AA9}"/>
                </a:ext>
              </a:extLst>
            </p:cNvPr>
            <p:cNvSpPr/>
            <p:nvPr/>
          </p:nvSpPr>
          <p:spPr>
            <a:xfrm>
              <a:off x="491718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1" name="Rectangle 150">
              <a:extLst>
                <a:ext uri="{FF2B5EF4-FFF2-40B4-BE49-F238E27FC236}">
                  <a16:creationId xmlns:a16="http://schemas.microsoft.com/office/drawing/2014/main" id="{7EC8557F-594B-49DC-A0B1-CBF16FBBA22A}"/>
                </a:ext>
              </a:extLst>
            </p:cNvPr>
            <p:cNvSpPr/>
            <p:nvPr/>
          </p:nvSpPr>
          <p:spPr>
            <a:xfrm>
              <a:off x="5001166" y="4508095"/>
              <a:ext cx="561667" cy="561667"/>
            </a:xfrm>
            <a:prstGeom prst="rect">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2" name="TextBox 151">
              <a:extLst>
                <a:ext uri="{FF2B5EF4-FFF2-40B4-BE49-F238E27FC236}">
                  <a16:creationId xmlns:a16="http://schemas.microsoft.com/office/drawing/2014/main" id="{6220B6AB-9E02-426C-B8D9-A49F9714059B}"/>
                </a:ext>
              </a:extLst>
            </p:cNvPr>
            <p:cNvSpPr txBox="1"/>
            <p:nvPr/>
          </p:nvSpPr>
          <p:spPr>
            <a:xfrm>
              <a:off x="494989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3</a:t>
              </a:r>
            </a:p>
          </p:txBody>
        </p:sp>
        <p:sp>
          <p:nvSpPr>
            <p:cNvPr id="153" name="Rectangle 152">
              <a:extLst>
                <a:ext uri="{FF2B5EF4-FFF2-40B4-BE49-F238E27FC236}">
                  <a16:creationId xmlns:a16="http://schemas.microsoft.com/office/drawing/2014/main" id="{519619FD-88FF-44F1-9E4F-06748C9DC563}"/>
                </a:ext>
              </a:extLst>
            </p:cNvPr>
            <p:cNvSpPr/>
            <p:nvPr/>
          </p:nvSpPr>
          <p:spPr>
            <a:xfrm>
              <a:off x="571990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4" name="Rectangle 153">
              <a:extLst>
                <a:ext uri="{FF2B5EF4-FFF2-40B4-BE49-F238E27FC236}">
                  <a16:creationId xmlns:a16="http://schemas.microsoft.com/office/drawing/2014/main" id="{43246CF3-3E1D-4FC0-9E09-CC669FB99052}"/>
                </a:ext>
              </a:extLst>
            </p:cNvPr>
            <p:cNvSpPr/>
            <p:nvPr/>
          </p:nvSpPr>
          <p:spPr>
            <a:xfrm>
              <a:off x="5803877" y="4508095"/>
              <a:ext cx="561667" cy="561667"/>
            </a:xfrm>
            <a:prstGeom prst="rect">
              <a:avLst/>
            </a:pr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55" name="TextBox 154">
              <a:extLst>
                <a:ext uri="{FF2B5EF4-FFF2-40B4-BE49-F238E27FC236}">
                  <a16:creationId xmlns:a16="http://schemas.microsoft.com/office/drawing/2014/main" id="{3C273BD7-A567-4936-89EA-6710038764F9}"/>
                </a:ext>
              </a:extLst>
            </p:cNvPr>
            <p:cNvSpPr txBox="1"/>
            <p:nvPr/>
          </p:nvSpPr>
          <p:spPr>
            <a:xfrm>
              <a:off x="5752610"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4</a:t>
              </a:r>
            </a:p>
          </p:txBody>
        </p:sp>
        <p:sp>
          <p:nvSpPr>
            <p:cNvPr id="156" name="Rectangle 155">
              <a:extLst>
                <a:ext uri="{FF2B5EF4-FFF2-40B4-BE49-F238E27FC236}">
                  <a16:creationId xmlns:a16="http://schemas.microsoft.com/office/drawing/2014/main" id="{50840C26-0A0B-4548-8D8A-5A99FD1A8CD1}"/>
                </a:ext>
              </a:extLst>
            </p:cNvPr>
            <p:cNvSpPr/>
            <p:nvPr/>
          </p:nvSpPr>
          <p:spPr>
            <a:xfrm>
              <a:off x="652261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7" name="Rectangle 156">
              <a:extLst>
                <a:ext uri="{FF2B5EF4-FFF2-40B4-BE49-F238E27FC236}">
                  <a16:creationId xmlns:a16="http://schemas.microsoft.com/office/drawing/2014/main" id="{19AE28EC-24D0-47E6-A5B2-8015E814DA54}"/>
                </a:ext>
              </a:extLst>
            </p:cNvPr>
            <p:cNvSpPr/>
            <p:nvPr/>
          </p:nvSpPr>
          <p:spPr>
            <a:xfrm>
              <a:off x="6606590" y="4508095"/>
              <a:ext cx="561667" cy="561667"/>
            </a:xfrm>
            <a:prstGeom prst="rect">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8" name="TextBox 157">
              <a:extLst>
                <a:ext uri="{FF2B5EF4-FFF2-40B4-BE49-F238E27FC236}">
                  <a16:creationId xmlns:a16="http://schemas.microsoft.com/office/drawing/2014/main" id="{B28B1F36-E5ED-48E9-B768-9D46A5499CA0}"/>
                </a:ext>
              </a:extLst>
            </p:cNvPr>
            <p:cNvSpPr txBox="1"/>
            <p:nvPr/>
          </p:nvSpPr>
          <p:spPr>
            <a:xfrm>
              <a:off x="6555321"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5</a:t>
              </a:r>
            </a:p>
          </p:txBody>
        </p:sp>
        <p:sp>
          <p:nvSpPr>
            <p:cNvPr id="159" name="Rectangle 158">
              <a:extLst>
                <a:ext uri="{FF2B5EF4-FFF2-40B4-BE49-F238E27FC236}">
                  <a16:creationId xmlns:a16="http://schemas.microsoft.com/office/drawing/2014/main" id="{653AA8B5-0FEE-416A-A34C-90F76C38DCB1}"/>
                </a:ext>
              </a:extLst>
            </p:cNvPr>
            <p:cNvSpPr/>
            <p:nvPr/>
          </p:nvSpPr>
          <p:spPr>
            <a:xfrm>
              <a:off x="733004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0" name="Rectangle 159">
              <a:extLst>
                <a:ext uri="{FF2B5EF4-FFF2-40B4-BE49-F238E27FC236}">
                  <a16:creationId xmlns:a16="http://schemas.microsoft.com/office/drawing/2014/main" id="{91A3A84E-6F89-4871-804D-745C97E3EFFB}"/>
                </a:ext>
              </a:extLst>
            </p:cNvPr>
            <p:cNvSpPr/>
            <p:nvPr/>
          </p:nvSpPr>
          <p:spPr>
            <a:xfrm>
              <a:off x="7414021" y="4508095"/>
              <a:ext cx="561667" cy="561667"/>
            </a:xfrm>
            <a:prstGeom prst="rect">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1" name="TextBox 160">
              <a:extLst>
                <a:ext uri="{FF2B5EF4-FFF2-40B4-BE49-F238E27FC236}">
                  <a16:creationId xmlns:a16="http://schemas.microsoft.com/office/drawing/2014/main" id="{B54BE93F-41C6-411E-9BF0-E17634480AF3}"/>
                </a:ext>
              </a:extLst>
            </p:cNvPr>
            <p:cNvSpPr txBox="1"/>
            <p:nvPr/>
          </p:nvSpPr>
          <p:spPr>
            <a:xfrm>
              <a:off x="7362753"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6</a:t>
              </a:r>
            </a:p>
          </p:txBody>
        </p:sp>
        <p:sp>
          <p:nvSpPr>
            <p:cNvPr id="162" name="Rectangle 161">
              <a:extLst>
                <a:ext uri="{FF2B5EF4-FFF2-40B4-BE49-F238E27FC236}">
                  <a16:creationId xmlns:a16="http://schemas.microsoft.com/office/drawing/2014/main" id="{BD927D57-B396-4E07-B974-65D94B46B526}"/>
                </a:ext>
              </a:extLst>
            </p:cNvPr>
            <p:cNvSpPr/>
            <p:nvPr/>
          </p:nvSpPr>
          <p:spPr>
            <a:xfrm>
              <a:off x="813275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3" name="Rectangle 162">
              <a:extLst>
                <a:ext uri="{FF2B5EF4-FFF2-40B4-BE49-F238E27FC236}">
                  <a16:creationId xmlns:a16="http://schemas.microsoft.com/office/drawing/2014/main" id="{6056313E-78A9-4738-9CD1-2F8152891098}"/>
                </a:ext>
              </a:extLst>
            </p:cNvPr>
            <p:cNvSpPr/>
            <p:nvPr/>
          </p:nvSpPr>
          <p:spPr>
            <a:xfrm>
              <a:off x="8216734" y="4508095"/>
              <a:ext cx="561667" cy="561667"/>
            </a:xfrm>
            <a:prstGeom prst="rect">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4" name="TextBox 163">
              <a:extLst>
                <a:ext uri="{FF2B5EF4-FFF2-40B4-BE49-F238E27FC236}">
                  <a16:creationId xmlns:a16="http://schemas.microsoft.com/office/drawing/2014/main" id="{68991AFF-7F82-4490-8169-788EC3A95C7C}"/>
                </a:ext>
              </a:extLst>
            </p:cNvPr>
            <p:cNvSpPr txBox="1"/>
            <p:nvPr/>
          </p:nvSpPr>
          <p:spPr>
            <a:xfrm>
              <a:off x="8165466"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7</a:t>
              </a:r>
            </a:p>
          </p:txBody>
        </p:sp>
        <p:sp>
          <p:nvSpPr>
            <p:cNvPr id="165" name="Rectangle 164">
              <a:extLst>
                <a:ext uri="{FF2B5EF4-FFF2-40B4-BE49-F238E27FC236}">
                  <a16:creationId xmlns:a16="http://schemas.microsoft.com/office/drawing/2014/main" id="{1679FF4F-7D45-4ED6-8550-49CE9B4FD206}"/>
                </a:ext>
              </a:extLst>
            </p:cNvPr>
            <p:cNvSpPr/>
            <p:nvPr/>
          </p:nvSpPr>
          <p:spPr>
            <a:xfrm>
              <a:off x="893546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6" name="Rectangle 165">
              <a:extLst>
                <a:ext uri="{FF2B5EF4-FFF2-40B4-BE49-F238E27FC236}">
                  <a16:creationId xmlns:a16="http://schemas.microsoft.com/office/drawing/2014/main" id="{9A7D0582-EBF1-4C09-BF35-E5DA740CE1F1}"/>
                </a:ext>
              </a:extLst>
            </p:cNvPr>
            <p:cNvSpPr/>
            <p:nvPr/>
          </p:nvSpPr>
          <p:spPr>
            <a:xfrm>
              <a:off x="9019445" y="4508095"/>
              <a:ext cx="561667" cy="561667"/>
            </a:xfrm>
            <a:prstGeom prst="rect">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7" name="TextBox 166">
              <a:extLst>
                <a:ext uri="{FF2B5EF4-FFF2-40B4-BE49-F238E27FC236}">
                  <a16:creationId xmlns:a16="http://schemas.microsoft.com/office/drawing/2014/main" id="{883E9D5D-E31A-4CCE-9261-6623A1020E06}"/>
                </a:ext>
              </a:extLst>
            </p:cNvPr>
            <p:cNvSpPr txBox="1"/>
            <p:nvPr/>
          </p:nvSpPr>
          <p:spPr>
            <a:xfrm>
              <a:off x="896817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8</a:t>
              </a:r>
            </a:p>
          </p:txBody>
        </p:sp>
        <p:sp>
          <p:nvSpPr>
            <p:cNvPr id="168" name="Rectangle 167">
              <a:extLst>
                <a:ext uri="{FF2B5EF4-FFF2-40B4-BE49-F238E27FC236}">
                  <a16:creationId xmlns:a16="http://schemas.microsoft.com/office/drawing/2014/main" id="{459A393F-457C-427E-812C-65D2BA1C88D1}"/>
                </a:ext>
              </a:extLst>
            </p:cNvPr>
            <p:cNvSpPr/>
            <p:nvPr/>
          </p:nvSpPr>
          <p:spPr>
            <a:xfrm>
              <a:off x="973818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9" name="Rectangle 168">
              <a:extLst>
                <a:ext uri="{FF2B5EF4-FFF2-40B4-BE49-F238E27FC236}">
                  <a16:creationId xmlns:a16="http://schemas.microsoft.com/office/drawing/2014/main" id="{A050DFF9-F0E7-4306-8A8E-4BF1D69C376B}"/>
                </a:ext>
              </a:extLst>
            </p:cNvPr>
            <p:cNvSpPr/>
            <p:nvPr/>
          </p:nvSpPr>
          <p:spPr>
            <a:xfrm>
              <a:off x="9822158" y="4508095"/>
              <a:ext cx="561667" cy="561667"/>
            </a:xfrm>
            <a:prstGeom prst="rect">
              <a:avLst/>
            </a:prstGeom>
            <a:solidFill>
              <a:srgbClr val="7D38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0" name="TextBox 169">
              <a:extLst>
                <a:ext uri="{FF2B5EF4-FFF2-40B4-BE49-F238E27FC236}">
                  <a16:creationId xmlns:a16="http://schemas.microsoft.com/office/drawing/2014/main" id="{BF09C80D-BFA6-4770-81A3-464A27FDABD4}"/>
                </a:ext>
              </a:extLst>
            </p:cNvPr>
            <p:cNvSpPr txBox="1"/>
            <p:nvPr/>
          </p:nvSpPr>
          <p:spPr>
            <a:xfrm>
              <a:off x="977088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0</a:t>
              </a:r>
            </a:p>
          </p:txBody>
        </p:sp>
        <p:sp>
          <p:nvSpPr>
            <p:cNvPr id="171" name="Rectangle 170">
              <a:extLst>
                <a:ext uri="{FF2B5EF4-FFF2-40B4-BE49-F238E27FC236}">
                  <a16:creationId xmlns:a16="http://schemas.microsoft.com/office/drawing/2014/main" id="{253E9245-A7DE-47AB-AFEC-8A9222BFD68E}"/>
                </a:ext>
              </a:extLst>
            </p:cNvPr>
            <p:cNvSpPr/>
            <p:nvPr/>
          </p:nvSpPr>
          <p:spPr>
            <a:xfrm>
              <a:off x="10523273"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2" name="Rectangle 171">
              <a:extLst>
                <a:ext uri="{FF2B5EF4-FFF2-40B4-BE49-F238E27FC236}">
                  <a16:creationId xmlns:a16="http://schemas.microsoft.com/office/drawing/2014/main" id="{EB733438-FC62-436A-BA09-7FD68FE77E94}"/>
                </a:ext>
              </a:extLst>
            </p:cNvPr>
            <p:cNvSpPr/>
            <p:nvPr/>
          </p:nvSpPr>
          <p:spPr>
            <a:xfrm>
              <a:off x="10607251" y="4508095"/>
              <a:ext cx="561667" cy="561667"/>
            </a:xfrm>
            <a:prstGeom prst="rect">
              <a:avLst/>
            </a:prstGeom>
            <a:solidFill>
              <a:srgbClr val="4700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3" name="TextBox 172">
              <a:extLst>
                <a:ext uri="{FF2B5EF4-FFF2-40B4-BE49-F238E27FC236}">
                  <a16:creationId xmlns:a16="http://schemas.microsoft.com/office/drawing/2014/main" id="{F602FCCF-DB27-4517-BC25-118D8B41B29A}"/>
                </a:ext>
              </a:extLst>
            </p:cNvPr>
            <p:cNvSpPr txBox="1"/>
            <p:nvPr/>
          </p:nvSpPr>
          <p:spPr>
            <a:xfrm>
              <a:off x="1055598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1</a:t>
              </a:r>
            </a:p>
          </p:txBody>
        </p:sp>
        <p:sp>
          <p:nvSpPr>
            <p:cNvPr id="174" name="Rectangle 4">
              <a:extLst>
                <a:ext uri="{FF2B5EF4-FFF2-40B4-BE49-F238E27FC236}">
                  <a16:creationId xmlns:a16="http://schemas.microsoft.com/office/drawing/2014/main" id="{B8F77320-5043-4FC9-8E5D-76C0E1D0B5D1}"/>
                </a:ext>
              </a:extLst>
            </p:cNvPr>
            <p:cNvSpPr>
              <a:spLocks noChangeArrowheads="1"/>
            </p:cNvSpPr>
            <p:nvPr/>
          </p:nvSpPr>
          <p:spPr bwMode="auto">
            <a:xfrm>
              <a:off x="885307" y="4072408"/>
              <a:ext cx="5241421" cy="246221"/>
            </a:xfrm>
            <a:prstGeom prst="rect">
              <a:avLst/>
            </a:prstGeom>
            <a:noFill/>
            <a:ln>
              <a:noFill/>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pt-PT" sz="1600" dirty="0">
                  <a:latin typeface="Verdana" panose="020B0604030504040204" pitchFamily="34" charset="0"/>
                  <a:ea typeface="Verdana" panose="020B0604030504040204" pitchFamily="34" charset="0"/>
                  <a:cs typeface="Verdana" panose="020B0604030504040204" pitchFamily="34" charset="0"/>
                </a:rPr>
                <a:t>Colors for Infographics</a:t>
              </a:r>
            </a:p>
          </p:txBody>
        </p:sp>
      </p:grpSp>
    </p:spTree>
    <p:extLst>
      <p:ext uri="{BB962C8B-B14F-4D97-AF65-F5344CB8AC3E}">
        <p14:creationId xmlns:p14="http://schemas.microsoft.com/office/powerpoint/2010/main" val="28741680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0879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024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ome slides introducing AI in the hype era and difference between west east.</a:t>
            </a:r>
            <a:endParaRPr lang="pt-PT" dirty="0"/>
          </a:p>
        </p:txBody>
      </p:sp>
    </p:spTree>
    <p:extLst>
      <p:ext uri="{BB962C8B-B14F-4D97-AF65-F5344CB8AC3E}">
        <p14:creationId xmlns:p14="http://schemas.microsoft.com/office/powerpoint/2010/main" val="4077252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What is intelligence</a:t>
            </a:r>
          </a:p>
        </p:txBody>
      </p:sp>
      <p:sp>
        <p:nvSpPr>
          <p:cNvPr id="3" name="Text Placeholder 4">
            <a:extLst>
              <a:ext uri="{FF2B5EF4-FFF2-40B4-BE49-F238E27FC236}">
                <a16:creationId xmlns:a16="http://schemas.microsoft.com/office/drawing/2014/main" id="{A94B39FA-EE4C-4114-B495-71207AAC3ED8}"/>
              </a:ext>
            </a:extLst>
          </p:cNvPr>
          <p:cNvSpPr txBox="1">
            <a:spLocks/>
          </p:cNvSpPr>
          <p:nvPr/>
        </p:nvSpPr>
        <p:spPr>
          <a:xfrm>
            <a:off x="407988" y="3428999"/>
            <a:ext cx="5471988" cy="1698343"/>
          </a:xfrm>
          <a:prstGeom prst="rect">
            <a:avLst/>
          </a:prstGeom>
        </p:spPr>
        <p:txBody>
          <a:bodyPr vert="horz" lIns="91440" tIns="45720" rIns="91440" bIns="45720" rtlCol="0" anchor="b">
            <a:noAutofit/>
          </a:bodyPr>
          <a:lstStyle>
            <a:lvl1pPr marL="0" indent="0" algn="l" defTabSz="914400" rtl="0" eaLnBrk="1" latinLnBrk="0" hangingPunct="1">
              <a:lnSpc>
                <a:spcPts val="3000"/>
              </a:lnSpc>
              <a:spcBef>
                <a:spcPts val="1000"/>
              </a:spcBef>
              <a:buFont typeface="Arial" panose="020B0604020202020204" pitchFamily="34" charset="0"/>
              <a:buNone/>
              <a:defRPr sz="2600" kern="1200">
                <a:solidFill>
                  <a:schemeClr val="accent3"/>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6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uters vs Humans</a:t>
            </a:r>
          </a:p>
        </p:txBody>
      </p:sp>
    </p:spTree>
    <p:extLst>
      <p:ext uri="{BB962C8B-B14F-4D97-AF65-F5344CB8AC3E}">
        <p14:creationId xmlns:p14="http://schemas.microsoft.com/office/powerpoint/2010/main" val="1733622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at is intelligence ? </a:t>
            </a:r>
            <a:r>
              <a:rPr lang="sv-SE" altLang="sv-SE" i="1" dirty="0"/>
              <a:t>A cat that once sat on a hot stove will never again sit on a hot stove or on a cold one either</a:t>
            </a:r>
            <a:r>
              <a:rPr lang="sv-SE" altLang="sv-SE" dirty="0"/>
              <a:t>- Mark Twain.</a:t>
            </a:r>
          </a:p>
          <a:p>
            <a:pPr eaLnBrk="1" hangingPunct="1"/>
            <a:r>
              <a:rPr lang="sv-SE" altLang="sv-SE" dirty="0"/>
              <a:t>Ability to learn is the root of intelligence.</a:t>
            </a:r>
          </a:p>
          <a:p>
            <a:pPr eaLnBrk="1" hangingPunct="1"/>
            <a:endParaRPr lang="sv-SE" altLang="sv-SE"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Pictures of </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Sensitivity for new noice. </a:t>
            </a:r>
          </a:p>
          <a:p>
            <a:pPr lvl="1"/>
            <a:r>
              <a:rPr lang="sv-SE" altLang="sv-SE" dirty="0"/>
              <a:t>Living close to railway. </a:t>
            </a:r>
          </a:p>
          <a:p>
            <a:pPr lvl="1"/>
            <a:r>
              <a:rPr lang="sv-SE" altLang="sv-SE" dirty="0"/>
              <a:t>Animal afraid of camera shutter. </a:t>
            </a:r>
          </a:p>
          <a:p>
            <a:pPr lvl="1"/>
            <a:endParaRPr lang="sv-SE" altLang="sv-SE" dirty="0"/>
          </a:p>
          <a:p>
            <a:pPr eaLnBrk="1" hangingPunct="1"/>
            <a:r>
              <a:rPr lang="sv-SE" altLang="sv-SE" dirty="0"/>
              <a:t>How babies children learn</a:t>
            </a:r>
          </a:p>
        </p:txBody>
      </p:sp>
    </p:spTree>
    <p:extLst>
      <p:ext uri="{BB962C8B-B14F-4D97-AF65-F5344CB8AC3E}">
        <p14:creationId xmlns:p14="http://schemas.microsoft.com/office/powerpoint/2010/main" val="3300099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2853</Words>
  <Application>Microsoft Office PowerPoint</Application>
  <PresentationFormat>Widescreen</PresentationFormat>
  <Paragraphs>440</Paragraphs>
  <Slides>59</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7" baseType="lpstr">
      <vt:lpstr>Arial</vt:lpstr>
      <vt:lpstr>Calibri</vt:lpstr>
      <vt:lpstr>Calibri Light</vt:lpstr>
      <vt:lpstr>Trebuchet MS</vt:lpstr>
      <vt:lpstr>Verdana</vt:lpstr>
      <vt:lpstr>Wingdings</vt:lpstr>
      <vt:lpstr>Office Theme</vt:lpstr>
      <vt:lpstr>think-cell Slide</vt:lpstr>
      <vt:lpstr>Basic Python and introduction to  neural nets</vt:lpstr>
      <vt:lpstr>PowerPoint Presentation</vt:lpstr>
      <vt:lpstr>Industrial revolution </vt:lpstr>
      <vt:lpstr>Electrification from an architects perspective</vt:lpstr>
      <vt:lpstr>Skyscraper of the future  The secondary effects</vt:lpstr>
      <vt:lpstr>PowerPoint Presentation</vt:lpstr>
      <vt:lpstr>PowerPoint Presentation</vt:lpstr>
      <vt:lpstr>Background</vt:lpstr>
      <vt:lpstr>Pictures of </vt:lpstr>
      <vt:lpstr>Background (contd.)</vt:lpstr>
      <vt:lpstr>What is the difference between these tasks?</vt:lpstr>
      <vt:lpstr>For what kinds of task is pattern recognition important?</vt:lpstr>
      <vt:lpstr>Touring Test</vt:lpstr>
      <vt:lpstr>Chineese Room</vt:lpstr>
      <vt:lpstr>Magic of new methods</vt:lpstr>
      <vt:lpstr>From features to information…</vt:lpstr>
      <vt:lpstr>….using a cognitive approach</vt:lpstr>
      <vt:lpstr>PowerPoint Presentation</vt:lpstr>
      <vt:lpstr>From raw data to features</vt:lpstr>
      <vt:lpstr>Sensors</vt:lpstr>
      <vt:lpstr>From raw data to features</vt:lpstr>
      <vt:lpstr>PowerPoint Presentation</vt:lpstr>
      <vt:lpstr>Background</vt:lpstr>
      <vt:lpstr>Neural Nets</vt:lpstr>
      <vt:lpstr>Background</vt:lpstr>
      <vt:lpstr>PowerPoint Presentation</vt:lpstr>
      <vt:lpstr>Why python </vt:lpstr>
      <vt:lpstr>How python </vt:lpstr>
      <vt:lpstr>Syntax and naming</vt:lpstr>
      <vt:lpstr>Lets do some coding!</vt:lpstr>
      <vt:lpstr>From raw data to features</vt:lpstr>
      <vt:lpstr>Click to insert title</vt:lpstr>
      <vt:lpstr>Click to insert title</vt:lpstr>
      <vt:lpstr>Click to insert title</vt:lpstr>
      <vt:lpstr>Click to insert title (Work for 1 or 2 lines of title)</vt:lpstr>
      <vt:lpstr>Click to insert title (Work for 1 or 2 lines of title)</vt:lpstr>
      <vt:lpstr>Click to insert title (Work for 1 or 2 lines of title)</vt:lpstr>
      <vt:lpstr>Click to insert text (Work for 1 or 2 lines of title)</vt:lpstr>
      <vt:lpstr>Click to insert title (Work for 1 or 2 lines of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World map</vt:lpstr>
      <vt:lpstr>Shapes</vt:lpstr>
      <vt:lpstr>Illustration Components</vt:lpstr>
      <vt:lpstr>Illustration Components</vt:lpstr>
      <vt:lpstr>Color Palett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 Python and introduction to  neural nets</dc:title>
  <dc:creator>Johansson, Simon</dc:creator>
  <cp:lastModifiedBy>Johansson, Simon</cp:lastModifiedBy>
  <cp:revision>1</cp:revision>
  <dcterms:created xsi:type="dcterms:W3CDTF">2019-05-27T07:33:41Z</dcterms:created>
  <dcterms:modified xsi:type="dcterms:W3CDTF">2019-05-27T07:41:05Z</dcterms:modified>
</cp:coreProperties>
</file>